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2.xml" ContentType="application/vnd.openxmlformats-officedocument.them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  <p:sldMasterId id="2147483680" r:id="rId2"/>
  </p:sldMasterIdLst>
  <p:notesMasterIdLst>
    <p:notesMasterId r:id="rId33"/>
  </p:notesMasterIdLst>
  <p:sldIdLst>
    <p:sldId id="5816" r:id="rId3"/>
    <p:sldId id="5390" r:id="rId4"/>
    <p:sldId id="5834" r:id="rId5"/>
    <p:sldId id="5688" r:id="rId6"/>
    <p:sldId id="5452" r:id="rId7"/>
    <p:sldId id="5860" r:id="rId8"/>
    <p:sldId id="5838" r:id="rId9"/>
    <p:sldId id="5414" r:id="rId10"/>
    <p:sldId id="5865" r:id="rId11"/>
    <p:sldId id="5861" r:id="rId12"/>
    <p:sldId id="5862" r:id="rId13"/>
    <p:sldId id="5835" r:id="rId14"/>
    <p:sldId id="5451" r:id="rId15"/>
    <p:sldId id="5839" r:id="rId16"/>
    <p:sldId id="5842" r:id="rId17"/>
    <p:sldId id="5840" r:id="rId18"/>
    <p:sldId id="5859" r:id="rId19"/>
    <p:sldId id="5837" r:id="rId20"/>
    <p:sldId id="5857" r:id="rId21"/>
    <p:sldId id="5846" r:id="rId22"/>
    <p:sldId id="5847" r:id="rId23"/>
    <p:sldId id="5856" r:id="rId24"/>
    <p:sldId id="5858" r:id="rId25"/>
    <p:sldId id="5863" r:id="rId26"/>
    <p:sldId id="5845" r:id="rId27"/>
    <p:sldId id="5848" r:id="rId28"/>
    <p:sldId id="5850" r:id="rId29"/>
    <p:sldId id="5852" r:id="rId30"/>
    <p:sldId id="5457" r:id="rId31"/>
    <p:sldId id="310" r:id="rId32"/>
  </p:sldIdLst>
  <p:sldSz cx="12192000" cy="6858000"/>
  <p:notesSz cx="6858000" cy="9144000"/>
  <p:defaultTextStyle>
    <a:defPPr>
      <a:defRPr lang="en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Вступление" id="{F4E3F793-B618-3D41-BCE5-7AFB1AB15BE2}">
          <p14:sldIdLst>
            <p14:sldId id="5816"/>
            <p14:sldId id="5390"/>
          </p14:sldIdLst>
        </p14:section>
        <p14:section name="Основная часть" id="{3C5847D8-EDF5-B049-8E21-524305A66868}">
          <p14:sldIdLst>
            <p14:sldId id="5834"/>
            <p14:sldId id="5688"/>
            <p14:sldId id="5452"/>
            <p14:sldId id="5860"/>
            <p14:sldId id="5838"/>
            <p14:sldId id="5414"/>
            <p14:sldId id="5865"/>
            <p14:sldId id="5861"/>
            <p14:sldId id="5862"/>
            <p14:sldId id="5835"/>
            <p14:sldId id="5451"/>
            <p14:sldId id="5839"/>
            <p14:sldId id="5842"/>
            <p14:sldId id="5840"/>
            <p14:sldId id="5859"/>
            <p14:sldId id="5837"/>
            <p14:sldId id="5857"/>
            <p14:sldId id="5846"/>
            <p14:sldId id="5847"/>
            <p14:sldId id="5856"/>
            <p14:sldId id="5858"/>
            <p14:sldId id="5863"/>
            <p14:sldId id="5845"/>
            <p14:sldId id="5848"/>
            <p14:sldId id="5850"/>
            <p14:sldId id="5852"/>
            <p14:sldId id="5457"/>
          </p14:sldIdLst>
        </p14:section>
        <p14:section name="Заключение" id="{B824C011-0F52-084D-93A1-BB9413C4BDA8}">
          <p14:sldIdLst>
            <p14:sldId id="310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22A44"/>
    <a:srgbClr val="083A57"/>
    <a:srgbClr val="005AFF"/>
    <a:srgbClr val="F3F7FA"/>
    <a:srgbClr val="3ADE68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9199"/>
    <p:restoredTop sz="81442" autoAdjust="0"/>
  </p:normalViewPr>
  <p:slideViewPr>
    <p:cSldViewPr snapToGrid="0">
      <p:cViewPr varScale="1">
        <p:scale>
          <a:sx n="90" d="100"/>
          <a:sy n="90" d="100"/>
        </p:scale>
        <p:origin x="656" y="20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21" Type="http://schemas.openxmlformats.org/officeDocument/2006/relationships/slide" Target="slides/slide19.xml"/><Relationship Id="rId34" Type="http://schemas.openxmlformats.org/officeDocument/2006/relationships/presProps" Target="pres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viewProps" Target="viewProps.xml"/><Relationship Id="rId8" Type="http://schemas.openxmlformats.org/officeDocument/2006/relationships/slide" Target="slides/slide6.xml"/><Relationship Id="rId3" Type="http://schemas.openxmlformats.org/officeDocument/2006/relationships/slide" Target="slides/slid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R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6918601-FFA5-A549-8215-D33FD5312A35}" type="datetimeFigureOut">
              <a:rPr lang="en-RU" smtClean="0"/>
              <a:t>27.02.2025</a:t>
            </a:fld>
            <a:endParaRPr lang="en-R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R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C22150A-382B-F749-8703-69C6691C79AD}" type="slidenum">
              <a:rPr lang="en-RU" smtClean="0"/>
              <a:t>‹#›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36402406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tracing.o3.ru/graph?service=marketing-actions-api&amp;egress=1&amp;ingress=2" TargetMode="External"/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50C9ADD-5F9E-49DE-A1DB-0FC1C68088B0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0688870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Недавно у нас проходил эксперимент с ценами на товары, пользователь, попадая в ту или иную группу получает разные цены. Исходя из цены и других факторов пользователь принимает решение о покупке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22150A-382B-F749-8703-69C6691C79AD}" type="slidenum">
              <a:rPr lang="en-RU" smtClean="0"/>
              <a:t>10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401382351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>
                <a:solidFill>
                  <a:srgbClr val="C00000"/>
                </a:solidFill>
              </a:rPr>
              <a:t>Есть инструкция, как это сделать</a:t>
            </a:r>
          </a:p>
          <a:p>
            <a:r>
              <a:rPr lang="en-US" dirty="0">
                <a:solidFill>
                  <a:srgbClr val="C00000"/>
                </a:solidFill>
              </a:rPr>
              <a:t>QR </a:t>
            </a:r>
            <a:r>
              <a:rPr lang="ru-RU" dirty="0">
                <a:solidFill>
                  <a:srgbClr val="C00000"/>
                </a:solidFill>
              </a:rPr>
              <a:t>код на </a:t>
            </a:r>
            <a:r>
              <a:rPr lang="en-US" dirty="0">
                <a:solidFill>
                  <a:srgbClr val="C00000"/>
                </a:solidFill>
              </a:rPr>
              <a:t>confluence</a:t>
            </a:r>
            <a:endParaRPr lang="en-RU" dirty="0">
              <a:solidFill>
                <a:srgbClr val="C00000"/>
              </a:solidFill>
            </a:endParaRPr>
          </a:p>
          <a:p>
            <a:endParaRPr lang="en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22150A-382B-F749-8703-69C6691C79AD}" type="slidenum">
              <a:rPr lang="en-RU" smtClean="0"/>
              <a:t>11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193293574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6097E2E-478A-9F14-166D-A7C8BE2A5A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DE3A4D9-6A38-CC6B-8303-F14B5185ADF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EF1AE15-06E2-3607-9689-CB9BD46E149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Здесь хочется рассказать о том, из чего состояла и как функционировала </a:t>
            </a:r>
            <a:r>
              <a:rPr lang="en-US" dirty="0"/>
              <a:t>A/B </a:t>
            </a:r>
            <a:r>
              <a:rPr lang="ru-RU" dirty="0"/>
              <a:t>платформа до того, как мы перешли на бинарный протокол</a:t>
            </a:r>
            <a:br>
              <a:rPr lang="ru-RU" dirty="0"/>
            </a:br>
            <a:r>
              <a:rPr lang="ru-RU" dirty="0"/>
              <a:t>А также о том, что стало причинами перехода</a:t>
            </a:r>
            <a:endParaRPr lang="en-RU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B46365B-61F7-4B8E-8A7B-45550FF7AB9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22150A-382B-F749-8703-69C6691C79AD}" type="slidenum">
              <a:rPr lang="en-RU" smtClean="0"/>
              <a:t>12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378352054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b="0" i="0" u="none" strike="noStrike" dirty="0">
                <a:solidFill>
                  <a:srgbClr val="172B4D"/>
                </a:solidFill>
                <a:effectLst/>
                <a:latin typeface="-apple-system"/>
              </a:rPr>
              <a:t>A/B </a:t>
            </a:r>
            <a:r>
              <a:rPr lang="ru-RU" b="0" i="0" u="none" strike="noStrike" dirty="0">
                <a:solidFill>
                  <a:srgbClr val="172B4D"/>
                </a:solidFill>
                <a:effectLst/>
                <a:latin typeface="-apple-system"/>
              </a:rPr>
              <a:t>платформа состояла из 2-х сервисов </a:t>
            </a:r>
            <a:r>
              <a:rPr lang="en-GB" b="0" i="0" u="none" strike="noStrike" dirty="0">
                <a:solidFill>
                  <a:srgbClr val="172B4D"/>
                </a:solidFill>
                <a:effectLst/>
                <a:latin typeface="-apple-system"/>
              </a:rPr>
              <a:t>A/B-test-</a:t>
            </a:r>
            <a:r>
              <a:rPr lang="en-GB" b="0" i="0" u="none" strike="noStrike" dirty="0" err="1">
                <a:solidFill>
                  <a:srgbClr val="172B4D"/>
                </a:solidFill>
                <a:effectLst/>
                <a:latin typeface="-apple-system"/>
              </a:rPr>
              <a:t>api</a:t>
            </a:r>
            <a:r>
              <a:rPr lang="en-GB" b="0" i="0" u="none" strike="noStrike" dirty="0">
                <a:solidFill>
                  <a:srgbClr val="172B4D"/>
                </a:solidFill>
                <a:effectLst/>
                <a:latin typeface="-apple-system"/>
              </a:rPr>
              <a:t>, A/B-controller-</a:t>
            </a:r>
            <a:r>
              <a:rPr lang="en-GB" b="0" i="0" u="none" strike="noStrike" dirty="0" err="1">
                <a:solidFill>
                  <a:srgbClr val="172B4D"/>
                </a:solidFill>
                <a:effectLst/>
                <a:latin typeface="-apple-system"/>
              </a:rPr>
              <a:t>api</a:t>
            </a:r>
            <a:r>
              <a:rPr lang="en-GB" b="0" i="0" u="none" strike="noStrike" dirty="0">
                <a:solidFill>
                  <a:srgbClr val="172B4D"/>
                </a:solidFill>
                <a:effectLst/>
                <a:latin typeface="-apple-system"/>
              </a:rPr>
              <a:t>. </a:t>
            </a:r>
            <a:r>
              <a:rPr lang="ru-RU" b="0" i="0" u="none" strike="noStrike" dirty="0">
                <a:solidFill>
                  <a:srgbClr val="172B4D"/>
                </a:solidFill>
                <a:effectLst/>
                <a:latin typeface="-apple-system"/>
              </a:rPr>
              <a:t>Первый отвечал за собственно сплитование пользователей, то есть разделение пользователей на группы, а второй </a:t>
            </a:r>
            <a:r>
              <a:rPr lang="ru-RU" b="0" i="0" u="none" strike="noStrike" dirty="0">
                <a:solidFill>
                  <a:srgbClr val="333333"/>
                </a:solidFill>
                <a:effectLst/>
                <a:latin typeface="-apple-system"/>
              </a:rPr>
              <a:t>сервис - за справочник всех экспериментов. Взаимодействие этих двух сервисов построено через </a:t>
            </a:r>
            <a:r>
              <a:rPr lang="en-GB" b="0" i="0" u="none" strike="noStrike" dirty="0">
                <a:solidFill>
                  <a:srgbClr val="333333"/>
                </a:solidFill>
                <a:effectLst/>
                <a:latin typeface="-apple-system"/>
              </a:rPr>
              <a:t>ETCD (key-value </a:t>
            </a:r>
            <a:r>
              <a:rPr lang="ru-RU" b="0" i="0" u="none" strike="noStrike" dirty="0">
                <a:solidFill>
                  <a:srgbClr val="333333"/>
                </a:solidFill>
                <a:effectLst/>
                <a:latin typeface="-apple-system"/>
              </a:rPr>
              <a:t>хранилище) таким образом, что сервис </a:t>
            </a:r>
            <a:r>
              <a:rPr lang="en-GB" b="0" i="0" u="none" strike="noStrike" dirty="0">
                <a:solidFill>
                  <a:srgbClr val="333333"/>
                </a:solidFill>
                <a:effectLst/>
                <a:latin typeface="-apple-system"/>
              </a:rPr>
              <a:t>A/B-controller-</a:t>
            </a:r>
            <a:r>
              <a:rPr lang="en-GB" b="0" i="0" u="none" strike="noStrike" dirty="0" err="1">
                <a:solidFill>
                  <a:srgbClr val="333333"/>
                </a:solidFill>
                <a:effectLst/>
                <a:latin typeface="-apple-system"/>
              </a:rPr>
              <a:t>api</a:t>
            </a:r>
            <a:r>
              <a:rPr lang="en-GB" b="0" i="0" u="none" strike="noStrike" dirty="0">
                <a:solidFill>
                  <a:srgbClr val="333333"/>
                </a:solidFill>
                <a:effectLst/>
                <a:latin typeface="-apple-system"/>
              </a:rPr>
              <a:t> </a:t>
            </a:r>
            <a:r>
              <a:rPr lang="ru-RU" b="0" i="0" u="none" strike="noStrike" dirty="0">
                <a:solidFill>
                  <a:srgbClr val="333333"/>
                </a:solidFill>
                <a:effectLst/>
                <a:latin typeface="-apple-system"/>
              </a:rPr>
              <a:t>сохраняет данные о новом эксперименте в базу данных и добавляет их в </a:t>
            </a:r>
            <a:r>
              <a:rPr lang="en-GB" b="0" i="0" u="none" strike="noStrike" dirty="0" err="1">
                <a:solidFill>
                  <a:srgbClr val="333333"/>
                </a:solidFill>
                <a:effectLst/>
                <a:latin typeface="-apple-system"/>
              </a:rPr>
              <a:t>etcd</a:t>
            </a:r>
            <a:r>
              <a:rPr lang="en-GB" b="1" i="0" u="none" strike="noStrike" dirty="0">
                <a:solidFill>
                  <a:srgbClr val="333333"/>
                </a:solidFill>
                <a:effectLst/>
                <a:latin typeface="-apple-system"/>
              </a:rPr>
              <a:t> </a:t>
            </a:r>
            <a:r>
              <a:rPr lang="en-GB" b="0" i="0" u="none" strike="noStrike" dirty="0">
                <a:solidFill>
                  <a:srgbClr val="333333"/>
                </a:solidFill>
                <a:effectLst/>
                <a:latin typeface="-apple-system"/>
              </a:rPr>
              <a:t>(key-value storage). </a:t>
            </a:r>
            <a:r>
              <a:rPr lang="ru-RU" b="0" i="0" u="none" strike="noStrike" dirty="0">
                <a:solidFill>
                  <a:srgbClr val="333333"/>
                </a:solidFill>
                <a:effectLst/>
                <a:latin typeface="-apple-system"/>
              </a:rPr>
              <a:t>На изменения в </a:t>
            </a:r>
            <a:r>
              <a:rPr lang="en-GB" b="0" i="0" u="none" strike="noStrike" dirty="0" err="1">
                <a:solidFill>
                  <a:srgbClr val="333333"/>
                </a:solidFill>
                <a:effectLst/>
                <a:latin typeface="-apple-system"/>
              </a:rPr>
              <a:t>etcd</a:t>
            </a:r>
            <a:r>
              <a:rPr lang="ru-RU" b="0" i="0" u="none" strike="noStrike" dirty="0">
                <a:solidFill>
                  <a:srgbClr val="333333"/>
                </a:solidFill>
                <a:effectLst/>
                <a:latin typeface="-apple-system"/>
              </a:rPr>
              <a:t> подписан сервис </a:t>
            </a:r>
            <a:r>
              <a:rPr lang="en-GB" b="0" i="0" u="none" strike="noStrike" dirty="0">
                <a:solidFill>
                  <a:srgbClr val="333333"/>
                </a:solidFill>
                <a:effectLst/>
                <a:latin typeface="-apple-system"/>
              </a:rPr>
              <a:t>A/B-test-</a:t>
            </a:r>
            <a:r>
              <a:rPr lang="en-GB" b="0" i="0" u="none" strike="noStrike" dirty="0" err="1">
                <a:solidFill>
                  <a:srgbClr val="333333"/>
                </a:solidFill>
                <a:effectLst/>
                <a:latin typeface="-apple-system"/>
              </a:rPr>
              <a:t>api</a:t>
            </a:r>
            <a:r>
              <a:rPr lang="en-GB" b="0" i="0" u="none" strike="noStrike" dirty="0">
                <a:solidFill>
                  <a:srgbClr val="333333"/>
                </a:solidFill>
                <a:effectLst/>
                <a:latin typeface="-apple-system"/>
              </a:rPr>
              <a:t>, </a:t>
            </a:r>
            <a:r>
              <a:rPr lang="ru-RU" b="0" i="0" u="none" strike="noStrike" dirty="0">
                <a:solidFill>
                  <a:srgbClr val="333333"/>
                </a:solidFill>
                <a:effectLst/>
                <a:latin typeface="-apple-system"/>
              </a:rPr>
              <a:t>который отвечает за быстрый ответ на запросы бэкенда. Поскольку данный сервис подписан на все изменения, касающиеся экспериментов, он сохраняет информацию в локальный кэш. В локальном кэше оказывается информация обо всех экспериментах, текущих и будущих, по которым можно быстро отдать информацию о попадании в них пользователей. </a:t>
            </a:r>
            <a:endParaRPr lang="ru-RU" dirty="0"/>
          </a:p>
          <a:p>
            <a:endParaRPr lang="ru-RU" dirty="0"/>
          </a:p>
          <a:p>
            <a:r>
              <a:rPr lang="ru-RU" dirty="0"/>
              <a:t>Как добавляются эксперименты?</a:t>
            </a:r>
            <a:endParaRPr lang="en-RU" dirty="0"/>
          </a:p>
          <a:p>
            <a:r>
              <a:rPr lang="ru-RU" b="0" i="0" u="none" strike="noStrike" dirty="0">
                <a:solidFill>
                  <a:srgbClr val="333333"/>
                </a:solidFill>
                <a:effectLst/>
                <a:latin typeface="-apple-system"/>
              </a:rPr>
              <a:t>При добавлении эксперимента в платформу </a:t>
            </a:r>
            <a:r>
              <a:rPr lang="en-GB" b="0" i="0" u="none" strike="noStrike" dirty="0">
                <a:solidFill>
                  <a:srgbClr val="333333"/>
                </a:solidFill>
                <a:effectLst/>
                <a:latin typeface="-apple-system"/>
              </a:rPr>
              <a:t>A/B-</a:t>
            </a:r>
            <a:r>
              <a:rPr lang="ru-RU" b="0" i="0" u="none" strike="noStrike" dirty="0">
                <a:solidFill>
                  <a:srgbClr val="333333"/>
                </a:solidFill>
                <a:effectLst/>
                <a:latin typeface="-apple-system"/>
              </a:rPr>
              <a:t>тестов через веб-интерфейс запрос идёт в </a:t>
            </a:r>
            <a:r>
              <a:rPr lang="en-GB" b="0" i="0" u="none" strike="noStrike" dirty="0">
                <a:solidFill>
                  <a:srgbClr val="333333"/>
                </a:solidFill>
                <a:effectLst/>
                <a:latin typeface="-apple-system"/>
              </a:rPr>
              <a:t>A/B-</a:t>
            </a:r>
            <a:r>
              <a:rPr lang="ru-RU" b="0" i="0" u="none" strike="noStrike" dirty="0">
                <a:solidFill>
                  <a:srgbClr val="333333"/>
                </a:solidFill>
                <a:effectLst/>
                <a:latin typeface="-apple-system"/>
              </a:rPr>
              <a:t>контроллер — сервис, отвечающий за справочник всех экспериментов. Он сохраняет данные о новом эксперименте в базу данных и добавляет их в </a:t>
            </a:r>
            <a:r>
              <a:rPr lang="en-GB" dirty="0" err="1"/>
              <a:t>etcd</a:t>
            </a:r>
            <a:r>
              <a:rPr lang="en-GB" b="1" i="0" u="none" strike="noStrike" dirty="0">
                <a:solidFill>
                  <a:srgbClr val="333333"/>
                </a:solidFill>
                <a:effectLst/>
                <a:latin typeface="-apple-system"/>
              </a:rPr>
              <a:t> </a:t>
            </a:r>
            <a:r>
              <a:rPr lang="en-GB" b="0" i="0" u="none" strike="noStrike" dirty="0">
                <a:solidFill>
                  <a:srgbClr val="333333"/>
                </a:solidFill>
                <a:effectLst/>
                <a:latin typeface="-apple-system"/>
              </a:rPr>
              <a:t>(key-value storage). </a:t>
            </a:r>
            <a:r>
              <a:rPr lang="ru-RU" b="0" i="0" u="none" strike="noStrike" dirty="0">
                <a:solidFill>
                  <a:srgbClr val="333333"/>
                </a:solidFill>
                <a:effectLst/>
                <a:latin typeface="-apple-system"/>
              </a:rPr>
              <a:t>На изменения в </a:t>
            </a:r>
            <a:r>
              <a:rPr lang="en-GB" dirty="0" err="1"/>
              <a:t>etcd</a:t>
            </a:r>
            <a:r>
              <a:rPr lang="en-GB" b="0" i="0" u="none" strike="noStrike" dirty="0">
                <a:solidFill>
                  <a:srgbClr val="333333"/>
                </a:solidFill>
                <a:effectLst/>
                <a:latin typeface="-apple-system"/>
              </a:rPr>
              <a:t> </a:t>
            </a:r>
            <a:r>
              <a:rPr lang="ru-RU" b="0" i="0" u="none" strike="noStrike" dirty="0">
                <a:solidFill>
                  <a:srgbClr val="333333"/>
                </a:solidFill>
                <a:effectLst/>
                <a:latin typeface="-apple-system"/>
              </a:rPr>
              <a:t>подписан сервис </a:t>
            </a:r>
            <a:r>
              <a:rPr lang="en-GB" dirty="0"/>
              <a:t>A/B-test-</a:t>
            </a:r>
            <a:r>
              <a:rPr lang="en-GB" dirty="0" err="1"/>
              <a:t>api</a:t>
            </a:r>
            <a:r>
              <a:rPr lang="en-GB" b="0" i="0" u="none" strike="noStrike" dirty="0">
                <a:solidFill>
                  <a:srgbClr val="333333"/>
                </a:solidFill>
                <a:effectLst/>
                <a:latin typeface="-apple-system"/>
              </a:rPr>
              <a:t>, </a:t>
            </a:r>
            <a:r>
              <a:rPr lang="ru-RU" b="0" i="0" u="none" strike="noStrike" dirty="0">
                <a:solidFill>
                  <a:srgbClr val="333333"/>
                </a:solidFill>
                <a:effectLst/>
                <a:latin typeface="-apple-system"/>
              </a:rPr>
              <a:t>который отвечает за быстрый ответ на запросы бэкенда.   </a:t>
            </a:r>
            <a:endParaRPr lang="ru-RU" dirty="0"/>
          </a:p>
          <a:p>
            <a:endParaRPr lang="en-RU" dirty="0"/>
          </a:p>
          <a:p>
            <a:r>
              <a:rPr lang="ru-RU" dirty="0"/>
              <a:t>Зачем нужен </a:t>
            </a:r>
            <a:r>
              <a:rPr lang="en-RU" dirty="0"/>
              <a:t>ETCD</a:t>
            </a:r>
            <a:r>
              <a:rPr lang="ru-RU" dirty="0"/>
              <a:t>?</a:t>
            </a:r>
          </a:p>
          <a:p>
            <a:r>
              <a:rPr lang="ru-RU" b="0" i="0" u="none" strike="noStrike" dirty="0">
                <a:solidFill>
                  <a:srgbClr val="333333"/>
                </a:solidFill>
                <a:effectLst/>
                <a:latin typeface="-apple-system"/>
              </a:rPr>
              <a:t>Благодаря тому, что у сервиса </a:t>
            </a:r>
            <a:r>
              <a:rPr lang="en-GB" dirty="0"/>
              <a:t>A/B-test-</a:t>
            </a:r>
            <a:r>
              <a:rPr lang="en-GB" dirty="0" err="1"/>
              <a:t>api</a:t>
            </a:r>
            <a:r>
              <a:rPr lang="en-GB" b="0" i="0" u="none" strike="noStrike" dirty="0">
                <a:solidFill>
                  <a:srgbClr val="333333"/>
                </a:solidFill>
                <a:effectLst/>
                <a:latin typeface="-apple-system"/>
              </a:rPr>
              <a:t> </a:t>
            </a:r>
            <a:r>
              <a:rPr lang="ru-RU" b="0" i="0" u="none" strike="noStrike" dirty="0">
                <a:solidFill>
                  <a:srgbClr val="333333"/>
                </a:solidFill>
                <a:effectLst/>
                <a:latin typeface="-apple-system"/>
              </a:rPr>
              <a:t>всё находится в оперативке и он подписан на все изменения, касающиеся экспериментов, мы его можем легко горизонтально масштабировать и выдерживать </a:t>
            </a:r>
            <a:r>
              <a:rPr lang="ru-RU" b="1" i="0" u="none" strike="noStrike" dirty="0">
                <a:solidFill>
                  <a:srgbClr val="333333"/>
                </a:solidFill>
                <a:effectLst/>
                <a:latin typeface="-apple-system"/>
              </a:rPr>
              <a:t>любой </a:t>
            </a:r>
            <a:r>
              <a:rPr lang="en-GB" b="1" i="0" u="none" strike="noStrike" dirty="0">
                <a:solidFill>
                  <a:srgbClr val="333333"/>
                </a:solidFill>
                <a:effectLst/>
                <a:latin typeface="-apple-system"/>
              </a:rPr>
              <a:t>RPS</a:t>
            </a:r>
            <a:r>
              <a:rPr lang="en-GB" b="0" i="0" u="none" strike="noStrike" dirty="0">
                <a:solidFill>
                  <a:srgbClr val="333333"/>
                </a:solidFill>
                <a:effectLst/>
                <a:latin typeface="-apple-system"/>
              </a:rPr>
              <a:t>. </a:t>
            </a:r>
            <a:endParaRPr lang="en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22150A-382B-F749-8703-69C6691C79AD}" type="slidenum">
              <a:rPr lang="en-RU" smtClean="0"/>
              <a:t>13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375385172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4E201B3-4ACE-C464-B77F-E4DDED0C54B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53DB00E-5EDB-62EB-4C68-0F84AC7F8B8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69348E6-4A9A-AD6E-C18A-D5B0FD0ED93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>
              <a:spcBef>
                <a:spcPts val="750"/>
              </a:spcBef>
            </a:pPr>
            <a:r>
              <a:rPr lang="ru-RU" b="0" i="0" u="none" strike="noStrike" dirty="0">
                <a:solidFill>
                  <a:srgbClr val="000000"/>
                </a:solidFill>
                <a:effectLst/>
                <a:latin typeface="-apple-system"/>
              </a:rPr>
              <a:t>Все конфиги передавались в </a:t>
            </a:r>
            <a:r>
              <a:rPr lang="en-GB" b="0" i="0" u="none" strike="noStrike" dirty="0">
                <a:solidFill>
                  <a:srgbClr val="000000"/>
                </a:solidFill>
                <a:effectLst/>
                <a:latin typeface="-apple-system"/>
              </a:rPr>
              <a:t>header. </a:t>
            </a:r>
            <a:r>
              <a:rPr lang="ru-RU" b="0" i="0" u="none" strike="noStrike" dirty="0">
                <a:solidFill>
                  <a:srgbClr val="003366"/>
                </a:solidFill>
                <a:effectLst/>
                <a:latin typeface="-apple-system"/>
              </a:rPr>
              <a:t>Такой подход позволял минимизировать разработку со стороны пользователей платформы </a:t>
            </a:r>
            <a:r>
              <a:rPr lang="en-GB" b="0" i="0" u="none" strike="noStrike" dirty="0">
                <a:solidFill>
                  <a:srgbClr val="003366"/>
                </a:solidFill>
                <a:effectLst/>
                <a:latin typeface="-apple-system"/>
              </a:rPr>
              <a:t>A/B </a:t>
            </a:r>
            <a:r>
              <a:rPr lang="ru-RU" b="0" i="0" u="none" strike="noStrike" dirty="0">
                <a:solidFill>
                  <a:srgbClr val="003366"/>
                </a:solidFill>
                <a:effectLst/>
                <a:latin typeface="-apple-system"/>
              </a:rPr>
              <a:t>тестирования (т.е. никакого дополнительно кода, практически не нужно было писать, а тем более поддерживать какой-то контракт), а следовательно быстрее начать проводить тесты, которые позволят доказать или опровергнуть ту или иную гипотезу.</a:t>
            </a:r>
            <a:endParaRPr lang="en-US" b="0" i="0" u="none" strike="noStrike" dirty="0">
              <a:solidFill>
                <a:srgbClr val="003366"/>
              </a:solidFill>
              <a:effectLst/>
              <a:latin typeface="-apple-system"/>
            </a:endParaRPr>
          </a:p>
          <a:p>
            <a:pPr algn="l">
              <a:spcBef>
                <a:spcPts val="750"/>
              </a:spcBef>
            </a:pPr>
            <a:endParaRPr lang="ru-RU" b="0" i="0" u="none" strike="noStrike" dirty="0">
              <a:solidFill>
                <a:srgbClr val="172B4D"/>
              </a:solidFill>
              <a:effectLst/>
              <a:latin typeface="-apple-system"/>
            </a:endParaRPr>
          </a:p>
          <a:p>
            <a:pPr algn="l">
              <a:spcBef>
                <a:spcPts val="750"/>
              </a:spcBef>
            </a:pPr>
            <a:r>
              <a:rPr lang="ru-RU" b="0" i="0" u="none" strike="noStrike" dirty="0">
                <a:solidFill>
                  <a:srgbClr val="000000"/>
                </a:solidFill>
                <a:effectLst/>
                <a:latin typeface="-apple-system"/>
              </a:rPr>
              <a:t>Размер </a:t>
            </a:r>
            <a:r>
              <a:rPr lang="en-GB" b="0" i="0" u="none" strike="noStrike" dirty="0">
                <a:solidFill>
                  <a:srgbClr val="000000"/>
                </a:solidFill>
                <a:effectLst/>
                <a:latin typeface="-apple-system"/>
              </a:rPr>
              <a:t>header </a:t>
            </a:r>
            <a:r>
              <a:rPr lang="ru-RU" b="0" i="0" u="none" strike="noStrike" dirty="0">
                <a:solidFill>
                  <a:srgbClr val="000000"/>
                </a:solidFill>
                <a:effectLst/>
                <a:latin typeface="-apple-system"/>
              </a:rPr>
              <a:t>имеет стандартные ограничения от </a:t>
            </a:r>
            <a:r>
              <a:rPr lang="en-GB" b="0" i="0" u="none" strike="noStrike" dirty="0">
                <a:solidFill>
                  <a:srgbClr val="000000"/>
                </a:solidFill>
                <a:effectLst/>
                <a:latin typeface="-apple-system"/>
              </a:rPr>
              <a:t>nginx </a:t>
            </a:r>
            <a:r>
              <a:rPr lang="ru-RU" b="0" i="0" u="none" strike="noStrike" dirty="0">
                <a:solidFill>
                  <a:srgbClr val="000000"/>
                </a:solidFill>
                <a:effectLst/>
                <a:latin typeface="-apple-system"/>
              </a:rPr>
              <a:t>до 8 Кбайт. Также в </a:t>
            </a:r>
            <a:r>
              <a:rPr lang="en-GB" b="0" i="0" u="none" strike="noStrike" dirty="0">
                <a:solidFill>
                  <a:srgbClr val="000000"/>
                </a:solidFill>
                <a:effectLst/>
                <a:latin typeface="-apple-system"/>
              </a:rPr>
              <a:t>header </a:t>
            </a:r>
            <a:r>
              <a:rPr lang="ru-RU" b="0" i="0" u="none" strike="noStrike" dirty="0">
                <a:solidFill>
                  <a:srgbClr val="000000"/>
                </a:solidFill>
                <a:effectLst/>
                <a:latin typeface="-apple-system"/>
              </a:rPr>
              <a:t>передаются не только данные об </a:t>
            </a:r>
            <a:r>
              <a:rPr lang="en-GB" b="0" i="0" u="none" strike="noStrike" dirty="0">
                <a:solidFill>
                  <a:srgbClr val="000000"/>
                </a:solidFill>
                <a:effectLst/>
                <a:latin typeface="-apple-system"/>
              </a:rPr>
              <a:t>A/B </a:t>
            </a:r>
            <a:r>
              <a:rPr lang="ru-RU" b="0" i="0" u="none" strike="noStrike" dirty="0">
                <a:solidFill>
                  <a:srgbClr val="000000"/>
                </a:solidFill>
                <a:effectLst/>
                <a:latin typeface="-apple-system"/>
              </a:rPr>
              <a:t>тестах, но и другие метаданные, и один заголовок про </a:t>
            </a:r>
            <a:r>
              <a:rPr lang="en-GB" b="0" i="0" u="none" strike="noStrike" dirty="0">
                <a:solidFill>
                  <a:srgbClr val="000000"/>
                </a:solidFill>
                <a:effectLst/>
                <a:latin typeface="-apple-system"/>
              </a:rPr>
              <a:t>A/B </a:t>
            </a:r>
            <a:r>
              <a:rPr lang="ru-RU" b="0" i="0" u="none" strike="noStrike" dirty="0">
                <a:solidFill>
                  <a:srgbClr val="000000"/>
                </a:solidFill>
                <a:effectLst/>
                <a:latin typeface="-apple-system"/>
              </a:rPr>
              <a:t>эксперименты не может занимать более </a:t>
            </a:r>
            <a:r>
              <a:rPr lang="ru-RU" b="0" i="0" u="none" strike="noStrike" dirty="0">
                <a:solidFill>
                  <a:srgbClr val="333333"/>
                </a:solidFill>
                <a:effectLst/>
                <a:latin typeface="-apple-system"/>
              </a:rPr>
              <a:t>4 Кбайт. Раньше информация об </a:t>
            </a:r>
            <a:r>
              <a:rPr lang="en-GB" b="0" i="0" u="none" strike="noStrike" dirty="0">
                <a:solidFill>
                  <a:srgbClr val="333333"/>
                </a:solidFill>
                <a:effectLst/>
                <a:latin typeface="-apple-system"/>
              </a:rPr>
              <a:t>A/B </a:t>
            </a:r>
            <a:r>
              <a:rPr lang="ru-RU" b="0" i="0" u="none" strike="noStrike" dirty="0">
                <a:solidFill>
                  <a:srgbClr val="333333"/>
                </a:solidFill>
                <a:effectLst/>
                <a:latin typeface="-apple-system"/>
              </a:rPr>
              <a:t>тестах выглядела следующим образом (смотрим скрин)</a:t>
            </a:r>
            <a:endParaRPr lang="en-US" b="0" i="0" u="none" strike="noStrike" dirty="0">
              <a:solidFill>
                <a:srgbClr val="333333"/>
              </a:solidFill>
              <a:effectLst/>
              <a:latin typeface="-apple-system"/>
            </a:endParaRPr>
          </a:p>
          <a:p>
            <a:pPr algn="l">
              <a:spcBef>
                <a:spcPts val="750"/>
              </a:spcBef>
            </a:pPr>
            <a:endParaRPr lang="ru-RU" b="0" i="0" u="none" strike="noStrike" dirty="0">
              <a:solidFill>
                <a:srgbClr val="172B4D"/>
              </a:solidFill>
              <a:effectLst/>
              <a:latin typeface="-apple-system"/>
            </a:endParaRPr>
          </a:p>
          <a:p>
            <a:pPr algn="l">
              <a:spcBef>
                <a:spcPts val="750"/>
              </a:spcBef>
            </a:pPr>
            <a:r>
              <a:rPr lang="ru-RU" b="0" i="0" u="none" strike="noStrike" dirty="0">
                <a:solidFill>
                  <a:srgbClr val="333333"/>
                </a:solidFill>
                <a:effectLst/>
                <a:latin typeface="-apple-system"/>
              </a:rPr>
              <a:t>В </a:t>
            </a:r>
            <a:r>
              <a:rPr lang="en-GB" b="0" i="0" u="none" strike="noStrike" dirty="0">
                <a:solidFill>
                  <a:srgbClr val="333333"/>
                </a:solidFill>
                <a:effectLst/>
                <a:latin typeface="-apple-system"/>
              </a:rPr>
              <a:t>header </a:t>
            </a:r>
            <a:r>
              <a:rPr lang="ru-RU" b="0" i="0" u="none" strike="noStrike" dirty="0">
                <a:solidFill>
                  <a:srgbClr val="333333"/>
                </a:solidFill>
                <a:effectLst/>
                <a:latin typeface="-apple-system"/>
              </a:rPr>
              <a:t>мы передавали информацию обо всех экспериментах, которые проходили в </a:t>
            </a:r>
            <a:r>
              <a:rPr lang="en-GB" b="0" i="0" u="none" strike="noStrike" dirty="0">
                <a:solidFill>
                  <a:srgbClr val="333333"/>
                </a:solidFill>
                <a:effectLst/>
                <a:latin typeface="-apple-system"/>
              </a:rPr>
              <a:t>Ozon. </a:t>
            </a:r>
            <a:r>
              <a:rPr lang="ru-RU" b="0" i="0" u="none" strike="noStrike" dirty="0">
                <a:solidFill>
                  <a:srgbClr val="333333"/>
                </a:solidFill>
                <a:effectLst/>
                <a:latin typeface="-apple-system"/>
              </a:rPr>
              <a:t>И когда его размер превысил 4 Кбайт, мы превысили ограничение </a:t>
            </a:r>
            <a:r>
              <a:rPr lang="en-GB" b="0" i="0" u="none" strike="noStrike" dirty="0">
                <a:solidFill>
                  <a:srgbClr val="333333"/>
                </a:solidFill>
                <a:effectLst/>
                <a:latin typeface="-apple-system"/>
              </a:rPr>
              <a:t>Nginx — </a:t>
            </a:r>
            <a:r>
              <a:rPr lang="ru-RU" b="0" i="0" u="none" strike="noStrike" dirty="0">
                <a:solidFill>
                  <a:srgbClr val="333333"/>
                </a:solidFill>
                <a:effectLst/>
                <a:latin typeface="-apple-system"/>
              </a:rPr>
              <a:t>и на каждый запрос возвращалась ошибка. Это произошло на </a:t>
            </a:r>
            <a:r>
              <a:rPr lang="en-GB" b="0" i="0" u="none" strike="noStrike" dirty="0">
                <a:solidFill>
                  <a:srgbClr val="333333"/>
                </a:solidFill>
                <a:effectLst/>
                <a:latin typeface="-apple-system"/>
              </a:rPr>
              <a:t>stg - </a:t>
            </a:r>
            <a:r>
              <a:rPr lang="ru-RU" b="0" i="0" u="none" strike="noStrike" dirty="0">
                <a:solidFill>
                  <a:srgbClr val="333333"/>
                </a:solidFill>
                <a:effectLst/>
                <a:latin typeface="-apple-system"/>
              </a:rPr>
              <a:t>прод в тот раз не падал. </a:t>
            </a:r>
            <a:endParaRPr lang="ru-RU" b="0" i="0" u="none" strike="noStrike" dirty="0">
              <a:solidFill>
                <a:srgbClr val="172B4D"/>
              </a:solidFill>
              <a:effectLst/>
              <a:latin typeface="-apple-system"/>
            </a:endParaRPr>
          </a:p>
          <a:p>
            <a:endParaRPr lang="en-RU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D056A78-1836-02F6-B60E-F0606452747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22150A-382B-F749-8703-69C6691C79AD}" type="slidenum">
              <a:rPr lang="en-RU" smtClean="0"/>
              <a:t>14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397232344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8212B50-37F1-3D1F-3809-1E80466BB6D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52976DB-1055-727E-E508-63D957D0ABB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AFC6B0C-0481-297B-80DA-07D2A88A568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>
              <a:spcBef>
                <a:spcPts val="750"/>
              </a:spcBef>
            </a:pPr>
            <a:r>
              <a:rPr lang="ru-RU" b="0" i="0" u="none" strike="noStrike" dirty="0">
                <a:solidFill>
                  <a:srgbClr val="333333"/>
                </a:solidFill>
                <a:effectLst/>
                <a:latin typeface="-apple-system"/>
              </a:rPr>
              <a:t>В </a:t>
            </a:r>
            <a:r>
              <a:rPr lang="en-GB" b="0" i="0" u="none" strike="noStrike" dirty="0">
                <a:solidFill>
                  <a:srgbClr val="333333"/>
                </a:solidFill>
                <a:effectLst/>
                <a:latin typeface="-apple-system"/>
              </a:rPr>
              <a:t>header </a:t>
            </a:r>
            <a:r>
              <a:rPr lang="ru-RU" b="0" i="0" u="none" strike="noStrike" dirty="0">
                <a:solidFill>
                  <a:srgbClr val="333333"/>
                </a:solidFill>
                <a:effectLst/>
                <a:latin typeface="-apple-system"/>
              </a:rPr>
              <a:t>мы передавали информацию обо всех экспериментах, которые проходили в </a:t>
            </a:r>
            <a:r>
              <a:rPr lang="en-GB" b="0" i="0" u="none" strike="noStrike" dirty="0">
                <a:solidFill>
                  <a:srgbClr val="333333"/>
                </a:solidFill>
                <a:effectLst/>
                <a:latin typeface="-apple-system"/>
              </a:rPr>
              <a:t>Ozon. </a:t>
            </a:r>
            <a:r>
              <a:rPr lang="ru-RU" b="0" i="0" u="none" strike="noStrike" dirty="0">
                <a:solidFill>
                  <a:srgbClr val="333333"/>
                </a:solidFill>
                <a:effectLst/>
                <a:latin typeface="-apple-system"/>
              </a:rPr>
              <a:t>И когда его размер превысил 4 Кбайт, мы превысили ограничение </a:t>
            </a:r>
            <a:r>
              <a:rPr lang="en-GB" b="0" i="0" u="none" strike="noStrike" dirty="0">
                <a:solidFill>
                  <a:srgbClr val="333333"/>
                </a:solidFill>
                <a:effectLst/>
                <a:latin typeface="-apple-system"/>
              </a:rPr>
              <a:t>Nginx — </a:t>
            </a:r>
            <a:r>
              <a:rPr lang="ru-RU" b="0" i="0" u="none" strike="noStrike" dirty="0">
                <a:solidFill>
                  <a:srgbClr val="333333"/>
                </a:solidFill>
                <a:effectLst/>
                <a:latin typeface="-apple-system"/>
              </a:rPr>
              <a:t>и на каждый запрос возвращалась ошибка. Это произошло на </a:t>
            </a:r>
            <a:r>
              <a:rPr lang="en-GB" b="0" i="0" u="none" strike="noStrike" dirty="0">
                <a:solidFill>
                  <a:srgbClr val="333333"/>
                </a:solidFill>
                <a:effectLst/>
                <a:latin typeface="-apple-system"/>
              </a:rPr>
              <a:t>stg - </a:t>
            </a:r>
            <a:r>
              <a:rPr lang="ru-RU" b="0" i="0" u="none" strike="noStrike" dirty="0">
                <a:solidFill>
                  <a:srgbClr val="333333"/>
                </a:solidFill>
                <a:effectLst/>
                <a:latin typeface="-apple-system"/>
              </a:rPr>
              <a:t>прод в тот раз не падал. </a:t>
            </a:r>
            <a:endParaRPr lang="ru-RU" b="0" i="0" u="none" strike="noStrike" dirty="0">
              <a:solidFill>
                <a:srgbClr val="172B4D"/>
              </a:solidFill>
              <a:effectLst/>
              <a:latin typeface="-apple-system"/>
            </a:endParaRPr>
          </a:p>
          <a:p>
            <a:endParaRPr lang="ru-RU" dirty="0"/>
          </a:p>
          <a:p>
            <a:r>
              <a:rPr lang="ru-RU" b="0" i="0" u="none" strike="noStrike" dirty="0">
                <a:solidFill>
                  <a:srgbClr val="333333"/>
                </a:solidFill>
                <a:effectLst/>
                <a:latin typeface="-apple-system"/>
              </a:rPr>
              <a:t>Чтобы понять, почему размер сильно возрос, можно обратиться к предыдущему слайду. Если экспериментов становится много, то </a:t>
            </a:r>
            <a:r>
              <a:rPr lang="en-GB" b="0" i="0" u="none" strike="noStrike" dirty="0">
                <a:solidFill>
                  <a:srgbClr val="333333"/>
                </a:solidFill>
                <a:effectLst/>
                <a:latin typeface="-apple-system"/>
              </a:rPr>
              <a:t>JSON </a:t>
            </a:r>
            <a:r>
              <a:rPr lang="ru-RU" b="0" i="0" u="none" strike="noStrike" dirty="0">
                <a:solidFill>
                  <a:srgbClr val="333333"/>
                </a:solidFill>
                <a:effectLst/>
                <a:latin typeface="-apple-system"/>
              </a:rPr>
              <a:t>может набирать килобайтные размеры.</a:t>
            </a:r>
            <a:endParaRPr lang="en-RU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616651-E0DC-94AC-B2EB-33FA901713E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22150A-382B-F749-8703-69C6691C79AD}" type="slidenum">
              <a:rPr lang="en-RU" smtClean="0"/>
              <a:t>15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14359328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3BEB67B-F3F7-71EB-350F-F1A495555F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5F63230-13A6-4B94-051A-08EA4EB44D8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17E791B-CF34-4537-3357-A48D6128E78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>
              <a:spcBef>
                <a:spcPts val="750"/>
              </a:spcBef>
            </a:pPr>
            <a:r>
              <a:rPr lang="ru-RU" b="0" i="0" u="none" strike="noStrike" dirty="0">
                <a:solidFill>
                  <a:srgbClr val="003366"/>
                </a:solidFill>
                <a:effectLst/>
                <a:latin typeface="-apple-system"/>
              </a:rPr>
              <a:t>Нужно было придумать быстрое решение проблемы, что сделали:</a:t>
            </a:r>
          </a:p>
          <a:p>
            <a:pPr marL="171450" indent="-171450" algn="l">
              <a:spcBef>
                <a:spcPts val="750"/>
              </a:spcBef>
              <a:buFontTx/>
              <a:buChar char="-"/>
            </a:pPr>
            <a:r>
              <a:rPr lang="ru-RU" b="1" i="0" u="none" strike="noStrike" dirty="0">
                <a:solidFill>
                  <a:srgbClr val="333333"/>
                </a:solidFill>
                <a:effectLst/>
                <a:latin typeface="-apple-system"/>
              </a:rPr>
              <a:t>Вместо </a:t>
            </a:r>
            <a:r>
              <a:rPr lang="en-GB" b="1" i="0" u="none" strike="noStrike" dirty="0">
                <a:solidFill>
                  <a:srgbClr val="333333"/>
                </a:solidFill>
                <a:effectLst/>
                <a:latin typeface="-apple-system"/>
              </a:rPr>
              <a:t>JSON </a:t>
            </a:r>
            <a:r>
              <a:rPr lang="ru-RU" b="0" i="0" u="none" strike="noStrike" dirty="0">
                <a:solidFill>
                  <a:srgbClr val="333333"/>
                </a:solidFill>
                <a:effectLst/>
                <a:latin typeface="-apple-system"/>
              </a:rPr>
              <a:t>в </a:t>
            </a:r>
            <a:r>
              <a:rPr lang="en-GB" b="0" i="0" u="none" strike="noStrike" dirty="0">
                <a:solidFill>
                  <a:srgbClr val="333333"/>
                </a:solidFill>
                <a:effectLst/>
                <a:latin typeface="-apple-system"/>
              </a:rPr>
              <a:t>header </a:t>
            </a:r>
            <a:r>
              <a:rPr lang="ru-RU" b="0" i="0" u="none" strike="noStrike" dirty="0">
                <a:solidFill>
                  <a:srgbClr val="333333"/>
                </a:solidFill>
                <a:effectLst/>
                <a:latin typeface="-apple-system"/>
              </a:rPr>
              <a:t>передавать компактный </a:t>
            </a:r>
            <a:r>
              <a:rPr lang="en-GB" b="1" i="0" u="none" strike="noStrike" dirty="0">
                <a:solidFill>
                  <a:srgbClr val="333333"/>
                </a:solidFill>
                <a:effectLst/>
                <a:latin typeface="-apple-system"/>
              </a:rPr>
              <a:t>UUID</a:t>
            </a:r>
            <a:r>
              <a:rPr lang="ru-RU" b="1" i="0" u="none" strike="noStrike" dirty="0">
                <a:solidFill>
                  <a:srgbClr val="333333"/>
                </a:solidFill>
                <a:effectLst/>
                <a:latin typeface="-apple-system"/>
              </a:rPr>
              <a:t>, </a:t>
            </a:r>
            <a:r>
              <a:rPr lang="ru-RU" b="0" i="0" u="none" strike="noStrike" dirty="0">
                <a:solidFill>
                  <a:srgbClr val="333333"/>
                </a:solidFill>
                <a:effectLst/>
                <a:latin typeface="-apple-system"/>
              </a:rPr>
              <a:t>чтобы уменьшить размер заголовка</a:t>
            </a:r>
          </a:p>
          <a:p>
            <a:pPr marL="171450" indent="-171450" algn="l">
              <a:spcBef>
                <a:spcPts val="750"/>
              </a:spcBef>
              <a:buFontTx/>
              <a:buChar char="-"/>
            </a:pPr>
            <a:r>
              <a:rPr lang="ru-RU" b="0" i="0" u="none" strike="noStrike" dirty="0">
                <a:solidFill>
                  <a:srgbClr val="333333"/>
                </a:solidFill>
                <a:effectLst/>
                <a:latin typeface="-apple-system"/>
              </a:rPr>
              <a:t>Интеграция с </a:t>
            </a:r>
            <a:r>
              <a:rPr lang="en-GB" b="0" i="0" u="none" strike="noStrike" dirty="0" err="1">
                <a:solidFill>
                  <a:srgbClr val="003366"/>
                </a:solidFill>
                <a:effectLst/>
                <a:latin typeface="-apple-system"/>
              </a:rPr>
              <a:t>memcached</a:t>
            </a:r>
            <a:endParaRPr lang="en-US" b="0" i="0" u="none" strike="noStrike" dirty="0">
              <a:solidFill>
                <a:srgbClr val="003366"/>
              </a:solidFill>
              <a:effectLst/>
              <a:latin typeface="-apple-system"/>
            </a:endParaRPr>
          </a:p>
          <a:p>
            <a:pPr algn="l">
              <a:spcBef>
                <a:spcPts val="750"/>
              </a:spcBef>
            </a:pPr>
            <a:r>
              <a:rPr lang="ru-RU" b="0" i="0" u="none" strike="noStrike" dirty="0">
                <a:solidFill>
                  <a:srgbClr val="003366"/>
                </a:solidFill>
                <a:effectLst/>
                <a:latin typeface="-apple-system"/>
              </a:rPr>
              <a:t>Теперь на каждый запрос пользователя платформа не отдает все конфиги в виде </a:t>
            </a:r>
            <a:r>
              <a:rPr lang="en-GB" b="0" i="0" u="none" strike="noStrike" dirty="0" err="1">
                <a:solidFill>
                  <a:srgbClr val="003366"/>
                </a:solidFill>
                <a:effectLst/>
                <a:latin typeface="-apple-system"/>
              </a:rPr>
              <a:t>json</a:t>
            </a:r>
            <a:r>
              <a:rPr lang="en-GB" b="0" i="0" u="none" strike="noStrike" dirty="0">
                <a:solidFill>
                  <a:srgbClr val="003366"/>
                </a:solidFill>
                <a:effectLst/>
                <a:latin typeface="-apple-system"/>
              </a:rPr>
              <a:t>-</a:t>
            </a:r>
            <a:r>
              <a:rPr lang="ru-RU" b="0" i="0" u="none" strike="noStrike" dirty="0">
                <a:solidFill>
                  <a:srgbClr val="003366"/>
                </a:solidFill>
                <a:effectLst/>
                <a:latin typeface="-apple-system"/>
              </a:rPr>
              <a:t>а, а генерирует красивый и компактный </a:t>
            </a:r>
            <a:r>
              <a:rPr lang="en-GB" b="0" i="0" u="none" strike="noStrike" dirty="0">
                <a:solidFill>
                  <a:srgbClr val="003366"/>
                </a:solidFill>
                <a:effectLst/>
                <a:latin typeface="-apple-system"/>
              </a:rPr>
              <a:t>UUID. </a:t>
            </a:r>
            <a:r>
              <a:rPr lang="ru-RU" b="0" i="0" u="none" strike="noStrike" dirty="0">
                <a:solidFill>
                  <a:srgbClr val="003366"/>
                </a:solidFill>
                <a:effectLst/>
                <a:latin typeface="-apple-system"/>
              </a:rPr>
              <a:t>И по этому </a:t>
            </a:r>
            <a:r>
              <a:rPr lang="en-GB" b="0" i="0" u="none" strike="noStrike" dirty="0">
                <a:solidFill>
                  <a:srgbClr val="003366"/>
                </a:solidFill>
                <a:effectLst/>
                <a:latin typeface="-apple-system"/>
              </a:rPr>
              <a:t>UUID </a:t>
            </a:r>
            <a:r>
              <a:rPr lang="ru-RU" b="0" i="0" u="none" strike="noStrike" dirty="0">
                <a:solidFill>
                  <a:srgbClr val="003366"/>
                </a:solidFill>
                <a:effectLst/>
                <a:latin typeface="-apple-system"/>
              </a:rPr>
              <a:t>сохраняет конфиг в </a:t>
            </a:r>
            <a:r>
              <a:rPr lang="en-GB" b="0" i="0" u="none" strike="noStrike" dirty="0" err="1">
                <a:solidFill>
                  <a:srgbClr val="003366"/>
                </a:solidFill>
                <a:effectLst/>
                <a:latin typeface="-apple-system"/>
              </a:rPr>
              <a:t>memcached</a:t>
            </a:r>
            <a:r>
              <a:rPr lang="en-GB" b="0" i="0" u="none" strike="noStrike" dirty="0">
                <a:solidFill>
                  <a:srgbClr val="003366"/>
                </a:solidFill>
                <a:effectLst/>
                <a:latin typeface="-apple-system"/>
              </a:rPr>
              <a:t>. </a:t>
            </a:r>
            <a:r>
              <a:rPr lang="ru-RU" b="0" i="0" u="none" strike="noStrike" dirty="0">
                <a:solidFill>
                  <a:srgbClr val="003366"/>
                </a:solidFill>
                <a:effectLst/>
                <a:latin typeface="-apple-system"/>
              </a:rPr>
              <a:t>Когда бэкенд-сервису необходимо узнать, какие </a:t>
            </a:r>
            <a:r>
              <a:rPr lang="en-US" b="0" i="0" u="none" strike="noStrike" dirty="0">
                <a:solidFill>
                  <a:srgbClr val="003366"/>
                </a:solidFill>
                <a:effectLst/>
                <a:latin typeface="-apple-system"/>
              </a:rPr>
              <a:t>A/B</a:t>
            </a:r>
            <a:r>
              <a:rPr lang="ru-RU" b="0" i="0" u="none" strike="noStrike" dirty="0">
                <a:solidFill>
                  <a:srgbClr val="003366"/>
                </a:solidFill>
                <a:effectLst/>
                <a:latin typeface="-apple-system"/>
              </a:rPr>
              <a:t> эксперименты включены для пользователя, он идёт в </a:t>
            </a:r>
            <a:r>
              <a:rPr lang="en-GB" b="0" i="0" u="none" strike="noStrike" dirty="0">
                <a:solidFill>
                  <a:srgbClr val="003366"/>
                </a:solidFill>
                <a:effectLst/>
                <a:latin typeface="-apple-system"/>
              </a:rPr>
              <a:t>A/B-test-</a:t>
            </a:r>
            <a:r>
              <a:rPr lang="en-GB" b="0" i="0" u="none" strike="noStrike" dirty="0" err="1">
                <a:solidFill>
                  <a:srgbClr val="003366"/>
                </a:solidFill>
                <a:effectLst/>
                <a:latin typeface="-apple-system"/>
              </a:rPr>
              <a:t>api</a:t>
            </a:r>
            <a:r>
              <a:rPr lang="en-GB" b="0" i="0" u="none" strike="noStrike" dirty="0">
                <a:solidFill>
                  <a:srgbClr val="003366"/>
                </a:solidFill>
                <a:effectLst/>
                <a:latin typeface="-apple-system"/>
              </a:rPr>
              <a:t>, </a:t>
            </a:r>
            <a:r>
              <a:rPr lang="ru-RU" b="0" i="0" u="none" strike="noStrike" dirty="0">
                <a:solidFill>
                  <a:srgbClr val="003366"/>
                </a:solidFill>
                <a:effectLst/>
                <a:latin typeface="-apple-system"/>
              </a:rPr>
              <a:t>передавая туда </a:t>
            </a:r>
            <a:r>
              <a:rPr lang="en-GB" b="0" i="0" u="none" strike="noStrike" dirty="0">
                <a:solidFill>
                  <a:srgbClr val="003366"/>
                </a:solidFill>
                <a:effectLst/>
                <a:latin typeface="-apple-system"/>
              </a:rPr>
              <a:t>UUID. A/B-test-</a:t>
            </a:r>
            <a:r>
              <a:rPr lang="en-GB" b="0" i="0" u="none" strike="noStrike" dirty="0" err="1">
                <a:solidFill>
                  <a:srgbClr val="003366"/>
                </a:solidFill>
                <a:effectLst/>
                <a:latin typeface="-apple-system"/>
              </a:rPr>
              <a:t>api</a:t>
            </a:r>
            <a:r>
              <a:rPr lang="en-GB" b="0" i="0" u="none" strike="noStrike" dirty="0">
                <a:solidFill>
                  <a:srgbClr val="003366"/>
                </a:solidFill>
                <a:effectLst/>
                <a:latin typeface="-apple-system"/>
              </a:rPr>
              <a:t> </a:t>
            </a:r>
            <a:r>
              <a:rPr lang="ru-RU" b="0" i="0" u="none" strike="noStrike" dirty="0">
                <a:solidFill>
                  <a:srgbClr val="003366"/>
                </a:solidFill>
                <a:effectLst/>
                <a:latin typeface="-apple-system"/>
              </a:rPr>
              <a:t>в свою очередь идёт по этому ключу в </a:t>
            </a:r>
            <a:r>
              <a:rPr lang="en-GB" b="0" i="0" u="none" strike="noStrike" dirty="0">
                <a:solidFill>
                  <a:srgbClr val="003366"/>
                </a:solidFill>
                <a:effectLst/>
                <a:latin typeface="-apple-system"/>
              </a:rPr>
              <a:t>Memcached, </a:t>
            </a:r>
            <a:r>
              <a:rPr lang="ru-RU" b="0" i="0" u="none" strike="noStrike" dirty="0">
                <a:solidFill>
                  <a:srgbClr val="003366"/>
                </a:solidFill>
                <a:effectLst/>
                <a:latin typeface="-apple-system"/>
              </a:rPr>
              <a:t>получает </a:t>
            </a:r>
            <a:r>
              <a:rPr lang="en-GB" b="0" i="0" u="none" strike="noStrike" dirty="0">
                <a:solidFill>
                  <a:srgbClr val="003366"/>
                </a:solidFill>
                <a:effectLst/>
                <a:latin typeface="-apple-system"/>
              </a:rPr>
              <a:t>JSON </a:t>
            </a:r>
            <a:r>
              <a:rPr lang="ru-RU" b="0" i="0" u="none" strike="noStrike" dirty="0">
                <a:solidFill>
                  <a:srgbClr val="003366"/>
                </a:solidFill>
                <a:effectLst/>
                <a:latin typeface="-apple-system"/>
              </a:rPr>
              <a:t>и из него отдаёт набор включённых фичей для сервиса.</a:t>
            </a:r>
            <a:endParaRPr lang="en-US" b="0" i="0" u="none" strike="noStrike" dirty="0">
              <a:solidFill>
                <a:srgbClr val="003366"/>
              </a:solidFill>
              <a:effectLst/>
              <a:latin typeface="-apple-system"/>
            </a:endParaRPr>
          </a:p>
          <a:p>
            <a:pPr algn="l">
              <a:spcBef>
                <a:spcPts val="750"/>
              </a:spcBef>
            </a:pPr>
            <a:endParaRPr lang="ru-RU" b="0" i="0" u="none" strike="noStrike" dirty="0">
              <a:solidFill>
                <a:srgbClr val="172B4D"/>
              </a:solidFill>
              <a:effectLst/>
              <a:latin typeface="-apple-system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b="0" i="0" u="none" strike="noStrike" dirty="0">
                <a:solidFill>
                  <a:srgbClr val="172B4D"/>
                </a:solidFill>
                <a:effectLst/>
                <a:latin typeface="-apple-system"/>
              </a:rPr>
              <a:t>Так мы решили проблему большого </a:t>
            </a:r>
            <a:r>
              <a:rPr lang="en-GB" b="0" i="0" u="none" strike="noStrike" dirty="0">
                <a:solidFill>
                  <a:srgbClr val="172B4D"/>
                </a:solidFill>
                <a:effectLst/>
                <a:latin typeface="-apple-system"/>
              </a:rPr>
              <a:t>header — </a:t>
            </a:r>
            <a:r>
              <a:rPr lang="ru-RU" b="0" i="0" u="none" strike="noStrike" dirty="0">
                <a:solidFill>
                  <a:srgbClr val="172B4D"/>
                </a:solidFill>
                <a:effectLst/>
                <a:latin typeface="-apple-system"/>
              </a:rPr>
              <a:t>теперь его размер всегда фиксирован.</a:t>
            </a:r>
            <a:endParaRPr lang="en-RU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282BDE3-2DA8-9B5A-2F8F-6A4E4810605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22150A-382B-F749-8703-69C6691C79AD}" type="slidenum">
              <a:rPr lang="en-RU" smtClean="0"/>
              <a:t>16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364740649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1852F5C-AA19-E57F-8FAF-73E69EB5B9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C0009A9-F1D4-31AB-901C-6F54BE89C36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23F6EB0-2DAB-2ABB-B350-39B5DF46871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ts val="13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b="0" dirty="0">
                <a:solidFill>
                  <a:srgbClr val="CCCCCC"/>
                </a:solidFill>
                <a:effectLst/>
                <a:latin typeface="Menlo" panose="020B0609030804020204" pitchFamily="49" charset="0"/>
              </a:rPr>
              <a:t>У такой архитектуры с </a:t>
            </a:r>
            <a:r>
              <a:rPr lang="en-US" b="0" dirty="0">
                <a:solidFill>
                  <a:srgbClr val="CCCCCC"/>
                </a:solidFill>
                <a:effectLst/>
                <a:latin typeface="Menlo" panose="020B0609030804020204" pitchFamily="49" charset="0"/>
              </a:rPr>
              <a:t>memcached</a:t>
            </a:r>
            <a:r>
              <a:rPr lang="ru-RU" b="0" dirty="0">
                <a:solidFill>
                  <a:srgbClr val="CCCCCC"/>
                </a:solidFill>
                <a:effectLst/>
                <a:latin typeface="Menlo" panose="020B0609030804020204" pitchFamily="49" charset="0"/>
              </a:rPr>
              <a:t> так же есть свои недостатки. Причем некоторые из них не позволили бы развивать платформу такими темпами как за последние 1.5 - 2 года. Когда количество экспериментов росло кратно.</a:t>
            </a:r>
          </a:p>
          <a:p>
            <a:pPr>
              <a:lnSpc>
                <a:spcPts val="1350"/>
              </a:lnSpc>
            </a:pPr>
            <a:endParaRPr lang="ru-RU" dirty="0"/>
          </a:p>
          <a:p>
            <a:pPr marL="171450" indent="-171450" algn="l">
              <a:spcBef>
                <a:spcPts val="750"/>
              </a:spcBef>
              <a:buFontTx/>
              <a:buChar char="-"/>
            </a:pPr>
            <a:r>
              <a:rPr lang="ru-RU" b="0" i="0" u="none" strike="noStrike" dirty="0">
                <a:solidFill>
                  <a:srgbClr val="172B4D"/>
                </a:solidFill>
                <a:effectLst/>
                <a:latin typeface="-apple-system"/>
              </a:rPr>
              <a:t>дополнительный </a:t>
            </a:r>
            <a:r>
              <a:rPr lang="en-GB" b="0" i="0" u="none" strike="noStrike" dirty="0">
                <a:solidFill>
                  <a:srgbClr val="172B4D"/>
                </a:solidFill>
                <a:effectLst/>
                <a:latin typeface="-apple-system"/>
              </a:rPr>
              <a:t>RPS </a:t>
            </a:r>
            <a:r>
              <a:rPr lang="ru-RU" b="0" i="0" u="none" strike="noStrike" dirty="0">
                <a:solidFill>
                  <a:srgbClr val="172B4D"/>
                </a:solidFill>
                <a:effectLst/>
                <a:latin typeface="-apple-system"/>
              </a:rPr>
              <a:t>сервисов второго уровня; </a:t>
            </a:r>
            <a:endParaRPr lang="en-US" b="0" i="0" u="none" strike="noStrike" dirty="0">
              <a:solidFill>
                <a:srgbClr val="172B4D"/>
              </a:solidFill>
              <a:effectLst/>
              <a:latin typeface="-apple-system"/>
            </a:endParaRPr>
          </a:p>
          <a:p>
            <a:pPr marL="171450" indent="-171450" algn="l">
              <a:spcBef>
                <a:spcPts val="750"/>
              </a:spcBef>
              <a:buFontTx/>
              <a:buChar char="-"/>
            </a:pPr>
            <a:r>
              <a:rPr lang="ru-RU" b="0" i="0" u="none" strike="noStrike" dirty="0">
                <a:solidFill>
                  <a:srgbClr val="172B4D"/>
                </a:solidFill>
                <a:effectLst/>
                <a:latin typeface="-apple-system"/>
              </a:rPr>
              <a:t>дополнительная зависимость архитектуры от </a:t>
            </a:r>
            <a:r>
              <a:rPr lang="en-GB" b="0" i="0" u="none" strike="noStrike" dirty="0">
                <a:solidFill>
                  <a:srgbClr val="172B4D"/>
                </a:solidFill>
                <a:effectLst/>
                <a:latin typeface="-apple-system"/>
              </a:rPr>
              <a:t>Memcached, </a:t>
            </a:r>
            <a:r>
              <a:rPr lang="ru-RU" b="0" i="0" u="none" strike="noStrike" dirty="0">
                <a:solidFill>
                  <a:srgbClr val="172B4D"/>
                </a:solidFill>
                <a:effectLst/>
                <a:latin typeface="-apple-system"/>
              </a:rPr>
              <a:t>который на стресс-тестах нужно масштабировать. </a:t>
            </a:r>
            <a:endParaRPr lang="en-US" b="0" i="0" u="none" strike="noStrike" dirty="0">
              <a:solidFill>
                <a:srgbClr val="172B4D"/>
              </a:solidFill>
              <a:effectLst/>
              <a:latin typeface="-apple-system"/>
            </a:endParaRPr>
          </a:p>
          <a:p>
            <a:pPr marL="171450" indent="-171450" algn="l">
              <a:spcBef>
                <a:spcPts val="750"/>
              </a:spcBef>
              <a:buFontTx/>
              <a:buChar char="-"/>
            </a:pPr>
            <a:r>
              <a:rPr lang="ru-RU" b="0" i="0" u="none" strike="noStrike" dirty="0">
                <a:solidFill>
                  <a:srgbClr val="172B4D"/>
                </a:solidFill>
                <a:effectLst/>
                <a:latin typeface="-apple-system"/>
              </a:rPr>
              <a:t>Бол</a:t>
            </a:r>
            <a:r>
              <a:rPr lang="ru-RU" dirty="0">
                <a:solidFill>
                  <a:srgbClr val="FFFFFF"/>
                </a:solidFill>
                <a:effectLst/>
                <a:latin typeface="Arial" panose="020B0604020202020204" pitchFamily="34" charset="0"/>
              </a:rPr>
              <a:t>ьшой </a:t>
            </a:r>
            <a:r>
              <a:rPr lang="ru-RU" dirty="0" err="1">
                <a:solidFill>
                  <a:srgbClr val="FFFFFF"/>
                </a:solidFill>
                <a:effectLst/>
                <a:latin typeface="Arial" panose="020B0604020202020204" pitchFamily="34" charset="0"/>
              </a:rPr>
              <a:t>оверхед</a:t>
            </a:r>
            <a:r>
              <a:rPr lang="ru-RU" dirty="0">
                <a:solidFill>
                  <a:srgbClr val="FFFFFF"/>
                </a:solidFill>
                <a:effectLst/>
                <a:latin typeface="Arial" panose="020B0604020202020204" pitchFamily="34" charset="0"/>
              </a:rPr>
              <a:t> на ответ, т.к. помимо конфига для текущего сервиса приходится доставать конфиг всех сервисов и доставать из него только нужное</a:t>
            </a:r>
            <a:endParaRPr lang="ru-RU" b="0" i="0" u="none" strike="noStrike" dirty="0">
              <a:solidFill>
                <a:srgbClr val="172B4D"/>
              </a:solidFill>
              <a:effectLst/>
              <a:latin typeface="-apple-system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531CF1B-80E7-3320-A7AD-758BBA4074F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22150A-382B-F749-8703-69C6691C79AD}" type="slidenum">
              <a:rPr lang="en-RU" smtClean="0"/>
              <a:t>17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13003411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FEBD9A-E017-6A98-52FD-AF59DA1F0F0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3B721DA-FE75-9285-4C09-54EEA0152FB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03B58ED-36A2-E6BC-30B3-328B8A38BDF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RU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EC11CAA-2400-0F0A-46F6-9721E59E1CB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22150A-382B-F749-8703-69C6691C79AD}" type="slidenum">
              <a:rPr lang="en-RU" smtClean="0"/>
              <a:t>18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79193274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ts val="1350"/>
              </a:lnSpc>
            </a:pPr>
            <a:r>
              <a:rPr lang="ru-RU" b="0" dirty="0">
                <a:solidFill>
                  <a:srgbClr val="CCCCCC"/>
                </a:solidFill>
                <a:effectLst/>
                <a:latin typeface="Menlo" panose="020B0609030804020204" pitchFamily="49" charset="0"/>
              </a:rPr>
              <a:t>Перед тем, как перейти к описаниям структуры бинарного протокола, хочется немного рассказать о том, для каких сервисов этот бин протокол делали – делали для тех </a:t>
            </a:r>
            <a:endParaRPr lang="en-US" b="0" dirty="0">
              <a:solidFill>
                <a:srgbClr val="CCCCCC"/>
              </a:solidFill>
              <a:effectLst/>
              <a:latin typeface="Menlo" panose="020B0609030804020204" pitchFamily="49" charset="0"/>
            </a:endParaRPr>
          </a:p>
          <a:p>
            <a:pPr>
              <a:lnSpc>
                <a:spcPts val="1350"/>
              </a:lnSpc>
            </a:pPr>
            <a:r>
              <a:rPr lang="ru-RU" b="0" dirty="0">
                <a:solidFill>
                  <a:srgbClr val="CCCCCC"/>
                </a:solidFill>
                <a:effectLst/>
                <a:latin typeface="Menlo" panose="020B0609030804020204" pitchFamily="49" charset="0"/>
              </a:rPr>
              <a:t>Под сервисом 2-го мы понимаем сервис в который </a:t>
            </a:r>
            <a:r>
              <a:rPr lang="en-GB" b="0" dirty="0">
                <a:solidFill>
                  <a:srgbClr val="CCCCCC"/>
                </a:solidFill>
                <a:effectLst/>
                <a:latin typeface="Menlo" panose="020B0609030804020204" pitchFamily="49" charset="0"/>
              </a:rPr>
              <a:t>composer-</a:t>
            </a:r>
            <a:r>
              <a:rPr lang="en-GB" b="0" dirty="0" err="1">
                <a:solidFill>
                  <a:srgbClr val="CCCCCC"/>
                </a:solidFill>
                <a:effectLst/>
                <a:latin typeface="Menlo" panose="020B0609030804020204" pitchFamily="49" charset="0"/>
              </a:rPr>
              <a:t>api</a:t>
            </a:r>
            <a:r>
              <a:rPr lang="en-GB" b="0" dirty="0">
                <a:solidFill>
                  <a:srgbClr val="CCCCCC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ru-RU" b="0" dirty="0">
                <a:solidFill>
                  <a:srgbClr val="CCCCCC"/>
                </a:solidFill>
                <a:effectLst/>
                <a:latin typeface="Menlo" panose="020B0609030804020204" pitchFamily="49" charset="0"/>
              </a:rPr>
              <a:t>идет не напрямую через свою идеологию </a:t>
            </a:r>
            <a:r>
              <a:rPr lang="ru-RU" b="0" dirty="0" err="1">
                <a:solidFill>
                  <a:srgbClr val="CCCCCC"/>
                </a:solidFill>
                <a:effectLst/>
                <a:latin typeface="Menlo" panose="020B0609030804020204" pitchFamily="49" charset="0"/>
              </a:rPr>
              <a:t>резолв</a:t>
            </a:r>
            <a:r>
              <a:rPr lang="ru-RU" b="0" dirty="0">
                <a:solidFill>
                  <a:srgbClr val="CCCCCC"/>
                </a:solidFill>
                <a:effectLst/>
                <a:latin typeface="Menlo" panose="020B0609030804020204" pitchFamily="49" charset="0"/>
              </a:rPr>
              <a:t> параметров, а через </a:t>
            </a:r>
            <a:r>
              <a:rPr lang="en-GB" b="0" dirty="0">
                <a:solidFill>
                  <a:srgbClr val="CCCCCC"/>
                </a:solidFill>
                <a:effectLst/>
                <a:latin typeface="Menlo" panose="020B0609030804020204" pitchFamily="49" charset="0"/>
              </a:rPr>
              <a:t>N </a:t>
            </a:r>
            <a:r>
              <a:rPr lang="ru-RU" b="0" dirty="0">
                <a:solidFill>
                  <a:srgbClr val="CCCCCC"/>
                </a:solidFill>
                <a:effectLst/>
                <a:latin typeface="Menlo" panose="020B0609030804020204" pitchFamily="49" charset="0"/>
              </a:rPr>
              <a:t>запросов. Т.е. если совсем упростить, то это сервисы в которые идут сервисы, находящиеся на 1-ом уровне от </a:t>
            </a:r>
            <a:r>
              <a:rPr lang="en-GB" b="0" dirty="0">
                <a:solidFill>
                  <a:srgbClr val="CCCCCC"/>
                </a:solidFill>
                <a:effectLst/>
                <a:latin typeface="Menlo" panose="020B0609030804020204" pitchFamily="49" charset="0"/>
              </a:rPr>
              <a:t>composer-</a:t>
            </a:r>
            <a:r>
              <a:rPr lang="en-GB" b="0" dirty="0" err="1">
                <a:solidFill>
                  <a:srgbClr val="CCCCCC"/>
                </a:solidFill>
                <a:effectLst/>
                <a:latin typeface="Menlo" panose="020B0609030804020204" pitchFamily="49" charset="0"/>
              </a:rPr>
              <a:t>api</a:t>
            </a:r>
            <a:r>
              <a:rPr lang="en-GB" b="0" dirty="0">
                <a:solidFill>
                  <a:srgbClr val="CCCCCC"/>
                </a:solidFill>
                <a:effectLst/>
                <a:latin typeface="Menlo" panose="020B0609030804020204" pitchFamily="49" charset="0"/>
              </a:rPr>
              <a:t>. </a:t>
            </a:r>
            <a:r>
              <a:rPr lang="ru-RU" b="0" dirty="0">
                <a:solidFill>
                  <a:srgbClr val="CCCCCC"/>
                </a:solidFill>
                <a:effectLst/>
                <a:latin typeface="Menlo" panose="020B0609030804020204" pitchFamily="49" charset="0"/>
              </a:rPr>
              <a:t>Давайте рассмотрим на примере.</a:t>
            </a:r>
          </a:p>
          <a:p>
            <a:pPr>
              <a:lnSpc>
                <a:spcPts val="1350"/>
              </a:lnSpc>
            </a:pPr>
            <a:r>
              <a:rPr lang="ru-RU" b="0" dirty="0">
                <a:solidFill>
                  <a:srgbClr val="CCCCCC"/>
                </a:solidFill>
                <a:effectLst/>
                <a:latin typeface="Menlo" panose="020B0609030804020204" pitchFamily="49" charset="0"/>
              </a:rPr>
              <a:t>На борде </a:t>
            </a:r>
            <a:r>
              <a:rPr lang="en-GB" b="0" i="0" dirty="0">
                <a:solidFill>
                  <a:srgbClr val="0052CC"/>
                </a:solidFill>
                <a:effectLst/>
                <a:latin typeface="-apple-system"/>
                <a:hlinkClick r:id="rId3"/>
              </a:rPr>
              <a:t>Dependency graph </a:t>
            </a:r>
            <a:r>
              <a:rPr lang="ru-RU" b="0" i="0" dirty="0">
                <a:solidFill>
                  <a:srgbClr val="0052CC"/>
                </a:solidFill>
                <a:effectLst/>
                <a:latin typeface="-apple-system"/>
                <a:hlinkClick r:id="rId3"/>
              </a:rPr>
              <a:t>в </a:t>
            </a:r>
            <a:r>
              <a:rPr lang="en-GB" b="0" i="0" dirty="0">
                <a:solidFill>
                  <a:srgbClr val="0052CC"/>
                </a:solidFill>
                <a:effectLst/>
                <a:latin typeface="-apple-system"/>
                <a:hlinkClick r:id="rId3"/>
              </a:rPr>
              <a:t>Tracing</a:t>
            </a:r>
            <a:r>
              <a:rPr lang="ru-RU" b="0" dirty="0">
                <a:solidFill>
                  <a:srgbClr val="CCCCCC"/>
                </a:solidFill>
                <a:effectLst/>
                <a:latin typeface="Menlo" panose="020B0609030804020204" pitchFamily="49" charset="0"/>
              </a:rPr>
              <a:t>. В ней выбираем сервис, который хотим проанализировать, в данном случае это </a:t>
            </a:r>
            <a:r>
              <a:rPr lang="en-US" b="0" dirty="0">
                <a:solidFill>
                  <a:srgbClr val="CCCCCC"/>
                </a:solidFill>
                <a:effectLst/>
                <a:latin typeface="Menlo" panose="020B0609030804020204" pitchFamily="49" charset="0"/>
              </a:rPr>
              <a:t>marketing-actions-</a:t>
            </a:r>
            <a:r>
              <a:rPr lang="en-US" b="0" dirty="0" err="1">
                <a:solidFill>
                  <a:srgbClr val="CCCCCC"/>
                </a:solidFill>
                <a:effectLst/>
                <a:latin typeface="Menlo" panose="020B0609030804020204" pitchFamily="49" charset="0"/>
              </a:rPr>
              <a:t>api</a:t>
            </a:r>
            <a:r>
              <a:rPr lang="en-GB" b="0" dirty="0">
                <a:solidFill>
                  <a:srgbClr val="CCCCCC"/>
                </a:solidFill>
                <a:effectLst/>
                <a:latin typeface="Menlo" panose="020B0609030804020204" pitchFamily="49" charset="0"/>
              </a:rPr>
              <a:t>. </a:t>
            </a:r>
            <a:r>
              <a:rPr lang="ru-RU" b="0" dirty="0">
                <a:solidFill>
                  <a:srgbClr val="CCCCCC"/>
                </a:solidFill>
                <a:effectLst/>
                <a:latin typeface="Menlo" panose="020B0609030804020204" pitchFamily="49" charset="0"/>
              </a:rPr>
              <a:t>Выставляем глубину запросов </a:t>
            </a:r>
            <a:r>
              <a:rPr lang="en-GB" b="0" dirty="0" err="1">
                <a:solidFill>
                  <a:srgbClr val="CCCCCC"/>
                </a:solidFill>
                <a:effectLst/>
                <a:latin typeface="Menlo" panose="020B0609030804020204" pitchFamily="49" charset="0"/>
              </a:rPr>
              <a:t>Dephth</a:t>
            </a:r>
            <a:r>
              <a:rPr lang="en-GB" b="0" dirty="0">
                <a:solidFill>
                  <a:srgbClr val="CCCCCC"/>
                </a:solidFill>
                <a:effectLst/>
                <a:latin typeface="Menlo" panose="020B0609030804020204" pitchFamily="49" charset="0"/>
              </a:rPr>
              <a:t> ingress = 7 </a:t>
            </a:r>
            <a:r>
              <a:rPr lang="ru-RU" b="0" dirty="0">
                <a:solidFill>
                  <a:srgbClr val="CCCCCC"/>
                </a:solidFill>
                <a:effectLst/>
                <a:latin typeface="Menlo" panose="020B0609030804020204" pitchFamily="49" charset="0"/>
              </a:rPr>
              <a:t>и смотрим на каком уровне от </a:t>
            </a:r>
            <a:r>
              <a:rPr lang="en-GB" b="0" dirty="0">
                <a:solidFill>
                  <a:srgbClr val="CCCCCC"/>
                </a:solidFill>
                <a:effectLst/>
                <a:latin typeface="Menlo" panose="020B0609030804020204" pitchFamily="49" charset="0"/>
              </a:rPr>
              <a:t>composer-</a:t>
            </a:r>
            <a:r>
              <a:rPr lang="en-GB" b="0" dirty="0" err="1">
                <a:solidFill>
                  <a:srgbClr val="CCCCCC"/>
                </a:solidFill>
                <a:effectLst/>
                <a:latin typeface="Menlo" panose="020B0609030804020204" pitchFamily="49" charset="0"/>
              </a:rPr>
              <a:t>api</a:t>
            </a:r>
            <a:r>
              <a:rPr lang="en-GB" b="0" dirty="0">
                <a:solidFill>
                  <a:srgbClr val="CCCCCC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ru-RU" b="0" dirty="0">
                <a:solidFill>
                  <a:srgbClr val="CCCCCC"/>
                </a:solidFill>
                <a:effectLst/>
                <a:latin typeface="Menlo" panose="020B0609030804020204" pitchFamily="49" charset="0"/>
              </a:rPr>
              <a:t>находится интересующий сервис. На представленном слайде выделен путь, где этот сервис находится как раз на 2-ом уровне, т.к. на первом находится </a:t>
            </a:r>
            <a:r>
              <a:rPr lang="en-GB" b="0" dirty="0" err="1">
                <a:solidFill>
                  <a:srgbClr val="CCCCCC"/>
                </a:solidFill>
                <a:effectLst/>
                <a:latin typeface="Menlo" panose="020B0609030804020204" pitchFamily="49" charset="0"/>
              </a:rPr>
              <a:t>pdp-api</a:t>
            </a:r>
            <a:r>
              <a:rPr lang="en-GB" b="0" dirty="0">
                <a:solidFill>
                  <a:srgbClr val="CCCCCC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ru-RU" b="0" dirty="0">
                <a:solidFill>
                  <a:srgbClr val="CCCCCC"/>
                </a:solidFill>
                <a:effectLst/>
                <a:latin typeface="Menlo" panose="020B0609030804020204" pitchFamily="49" charset="0"/>
              </a:rPr>
              <a:t>и другие сервисы, которые обращаются к </a:t>
            </a:r>
            <a:r>
              <a:rPr lang="en-US" b="0" dirty="0">
                <a:solidFill>
                  <a:srgbClr val="CCCCCC"/>
                </a:solidFill>
                <a:effectLst/>
                <a:latin typeface="Menlo" panose="020B0609030804020204" pitchFamily="49" charset="0"/>
              </a:rPr>
              <a:t>marketing-actions</a:t>
            </a:r>
            <a:endParaRPr lang="en-GB" b="0" dirty="0">
              <a:solidFill>
                <a:srgbClr val="CCCCCC"/>
              </a:solidFill>
              <a:effectLst/>
              <a:latin typeface="Menlo" panose="020B0609030804020204" pitchFamily="49" charset="0"/>
            </a:endParaRPr>
          </a:p>
          <a:p>
            <a:endParaRPr lang="en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22150A-382B-F749-8703-69C6691C79AD}" type="slidenum">
              <a:rPr lang="en-RU" smtClean="0"/>
              <a:t>19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40294264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22150A-382B-F749-8703-69C6691C79AD}" type="slidenum">
              <a:rPr lang="en-RU" smtClean="0"/>
              <a:t>2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342808877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70B55D6-9342-7B44-3B28-FF8A54B937D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DC80B17-4FC8-7D92-B0A0-5D572A18476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C034F33-FD65-ABA4-453B-CA6A754BFE6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ts val="1350"/>
              </a:lnSpc>
            </a:pPr>
            <a:r>
              <a:rPr lang="ru-RU" dirty="0"/>
              <a:t>Теперь давайте посмотрим, что происходит с точки зрения </a:t>
            </a:r>
            <a:r>
              <a:rPr lang="ru-RU" dirty="0" err="1"/>
              <a:t>взамодействия</a:t>
            </a:r>
            <a:r>
              <a:rPr lang="ru-RU" dirty="0"/>
              <a:t> сервисов, </a:t>
            </a:r>
            <a:r>
              <a:rPr lang="ru-RU" b="0" dirty="0">
                <a:solidFill>
                  <a:srgbClr val="CCCCCC"/>
                </a:solidFill>
                <a:effectLst/>
                <a:latin typeface="Menlo" panose="020B0609030804020204" pitchFamily="49" charset="0"/>
              </a:rPr>
              <a:t>рассмотрим как бинарный ключ доезжает до сервисов 2-го уровня.</a:t>
            </a:r>
          </a:p>
          <a:p>
            <a:pPr>
              <a:lnSpc>
                <a:spcPts val="1350"/>
              </a:lnSpc>
            </a:pPr>
            <a:endParaRPr lang="ru-RU" dirty="0"/>
          </a:p>
          <a:p>
            <a:pPr>
              <a:lnSpc>
                <a:spcPts val="1350"/>
              </a:lnSpc>
            </a:pPr>
            <a:r>
              <a:rPr lang="ru-RU" b="0" i="0" u="none" strike="noStrike" dirty="0">
                <a:solidFill>
                  <a:srgbClr val="333333"/>
                </a:solidFill>
                <a:effectLst/>
                <a:latin typeface="-apple-system"/>
              </a:rPr>
              <a:t>Когда бэкенд-сервису необходимо узнать, какие фичи включены для пользователя, он смотрит, есть ли данные по бинарному ключу в кэше? Если есть, сразу берёт их, если нет — идёт в </a:t>
            </a:r>
            <a:r>
              <a:rPr lang="en-GB" dirty="0"/>
              <a:t>A/B-test-</a:t>
            </a:r>
            <a:r>
              <a:rPr lang="en-GB" dirty="0" err="1"/>
              <a:t>api</a:t>
            </a:r>
            <a:r>
              <a:rPr lang="en-GB" b="0" i="0" u="none" strike="noStrike" dirty="0">
                <a:solidFill>
                  <a:srgbClr val="333333"/>
                </a:solidFill>
                <a:effectLst/>
                <a:latin typeface="-apple-system"/>
              </a:rPr>
              <a:t> </a:t>
            </a:r>
            <a:r>
              <a:rPr lang="ru-RU" b="0" i="0" u="none" strike="noStrike" dirty="0">
                <a:solidFill>
                  <a:srgbClr val="333333"/>
                </a:solidFill>
                <a:effectLst/>
                <a:latin typeface="-apple-system"/>
              </a:rPr>
              <a:t>с </a:t>
            </a:r>
            <a:r>
              <a:rPr lang="en-GB" b="0" i="0" u="none" strike="noStrike" dirty="0">
                <a:solidFill>
                  <a:srgbClr val="333333"/>
                </a:solidFill>
                <a:effectLst/>
                <a:latin typeface="-apple-system"/>
              </a:rPr>
              <a:t>binary key, </a:t>
            </a:r>
            <a:r>
              <a:rPr lang="ru-RU" b="0" i="0" u="none" strike="noStrike" dirty="0">
                <a:solidFill>
                  <a:srgbClr val="333333"/>
                </a:solidFill>
                <a:effectLst/>
                <a:latin typeface="-apple-system"/>
              </a:rPr>
              <a:t>получает набор включённых для пользователя фич и сохраняет их в кэш. Таким образом, если с таким же бинарным ключом придёт ещё один запрос, результат возьмём из кэша. </a:t>
            </a:r>
            <a:endParaRPr lang="en-RU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67289B8-5FC1-425E-852B-128977BA4CB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22150A-382B-F749-8703-69C6691C79AD}" type="slidenum">
              <a:rPr lang="en-RU" smtClean="0"/>
              <a:t>20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353270263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7AD60E-AEAC-B51E-C929-07DABE2252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8E09DB2-1061-34AC-23D4-2688A08748D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1C4B844-3516-A349-9D07-F39DCE9B2C6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ts val="1350"/>
              </a:lnSpc>
            </a:pPr>
            <a:r>
              <a:rPr lang="ru-RU" dirty="0"/>
              <a:t>Теперь давайте посмотрим на примере </a:t>
            </a:r>
            <a:r>
              <a:rPr lang="en-US" dirty="0"/>
              <a:t>UML </a:t>
            </a:r>
            <a:r>
              <a:rPr lang="en-US" dirty="0" err="1"/>
              <a:t>д</a:t>
            </a:r>
            <a:r>
              <a:rPr lang="ru-RU" dirty="0" err="1"/>
              <a:t>иаграммы</a:t>
            </a:r>
            <a:r>
              <a:rPr lang="ru-RU" dirty="0"/>
              <a:t>, как сервис второго уровня получает конфиги. </a:t>
            </a:r>
            <a:r>
              <a:rPr lang="ru-RU" b="0" i="0" u="none" strike="noStrike" dirty="0">
                <a:solidFill>
                  <a:srgbClr val="333333"/>
                </a:solidFill>
                <a:effectLst/>
                <a:latin typeface="-apple-system"/>
              </a:rPr>
              <a:t>Для сервисов первого уровня мы передаём явным образом набор включённых фич в </a:t>
            </a:r>
            <a:r>
              <a:rPr lang="en-GB" b="0" i="0" u="none" strike="noStrike" dirty="0">
                <a:solidFill>
                  <a:srgbClr val="333333"/>
                </a:solidFill>
                <a:effectLst/>
                <a:latin typeface="-apple-system"/>
              </a:rPr>
              <a:t>body </a:t>
            </a:r>
            <a:r>
              <a:rPr lang="ru-RU" b="0" i="0" u="none" strike="noStrike" dirty="0">
                <a:solidFill>
                  <a:srgbClr val="333333"/>
                </a:solidFill>
                <a:effectLst/>
                <a:latin typeface="-apple-system"/>
              </a:rPr>
              <a:t>для каждого сервиса.</a:t>
            </a:r>
            <a:br>
              <a:rPr lang="ru-RU" dirty="0"/>
            </a:br>
            <a:endParaRPr lang="ru-RU" dirty="0"/>
          </a:p>
          <a:p>
            <a:pPr>
              <a:lnSpc>
                <a:spcPts val="1350"/>
              </a:lnSpc>
            </a:pPr>
            <a:r>
              <a:rPr lang="ru-RU" b="0" i="0" u="none" strike="noStrike" dirty="0">
                <a:solidFill>
                  <a:srgbClr val="333333"/>
                </a:solidFill>
                <a:effectLst/>
                <a:latin typeface="-apple-system"/>
              </a:rPr>
              <a:t>Когда бэкенд-сервису необходимо узнать, какие фичи включены для пользователя, он смотрит, есть ли данные по бинарному ключу в кэше? Если есть, сразу берёт их, если нет — идёт в </a:t>
            </a:r>
            <a:r>
              <a:rPr lang="en-GB" dirty="0"/>
              <a:t>A/B-test-</a:t>
            </a:r>
            <a:r>
              <a:rPr lang="en-GB" dirty="0" err="1"/>
              <a:t>api</a:t>
            </a:r>
            <a:r>
              <a:rPr lang="en-GB" b="0" i="0" u="none" strike="noStrike" dirty="0">
                <a:solidFill>
                  <a:srgbClr val="333333"/>
                </a:solidFill>
                <a:effectLst/>
                <a:latin typeface="-apple-system"/>
              </a:rPr>
              <a:t> </a:t>
            </a:r>
            <a:r>
              <a:rPr lang="ru-RU" b="0" i="0" u="none" strike="noStrike" dirty="0">
                <a:solidFill>
                  <a:srgbClr val="333333"/>
                </a:solidFill>
                <a:effectLst/>
                <a:latin typeface="-apple-system"/>
              </a:rPr>
              <a:t>с </a:t>
            </a:r>
            <a:r>
              <a:rPr lang="en-GB" b="0" i="0" u="none" strike="noStrike" dirty="0">
                <a:solidFill>
                  <a:srgbClr val="333333"/>
                </a:solidFill>
                <a:effectLst/>
                <a:latin typeface="-apple-system"/>
              </a:rPr>
              <a:t>binary key, </a:t>
            </a:r>
            <a:r>
              <a:rPr lang="ru-RU" b="0" i="0" u="none" strike="noStrike" dirty="0">
                <a:solidFill>
                  <a:srgbClr val="333333"/>
                </a:solidFill>
                <a:effectLst/>
                <a:latin typeface="-apple-system"/>
              </a:rPr>
              <a:t>получает набор включённых для пользователя фич и сохраняет их в кэш. Таким образом, если с таким же бинарным ключом придёт ещё один запрос, результат возьмём из кэша. </a:t>
            </a:r>
            <a:endParaRPr lang="en-RU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3D8DA5-A9BE-1022-4C5F-5743E62A525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22150A-382B-F749-8703-69C6691C79AD}" type="slidenum">
              <a:rPr lang="en-RU" smtClean="0"/>
              <a:t>21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283416819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b="0" i="0" u="none" strike="noStrike" dirty="0">
                <a:solidFill>
                  <a:srgbClr val="333333"/>
                </a:solidFill>
                <a:effectLst/>
                <a:latin typeface="-apple-system"/>
              </a:rPr>
              <a:t>Давайте теперь посмотрим, как этот </a:t>
            </a:r>
            <a:r>
              <a:rPr lang="en-US" b="0" i="0" u="none" strike="noStrike" dirty="0">
                <a:solidFill>
                  <a:srgbClr val="333333"/>
                </a:solidFill>
                <a:effectLst/>
                <a:latin typeface="-apple-system"/>
              </a:rPr>
              <a:t>resolve param </a:t>
            </a:r>
            <a:r>
              <a:rPr lang="en-GB" b="1" i="0" dirty="0">
                <a:solidFill>
                  <a:srgbClr val="001A34"/>
                </a:solidFill>
                <a:effectLst/>
                <a:latin typeface="jetbrains_monoregular"/>
              </a:rPr>
              <a:t>A/</a:t>
            </a:r>
            <a:r>
              <a:rPr lang="en-GB" b="1" i="0" dirty="0" err="1">
                <a:solidFill>
                  <a:srgbClr val="001A34"/>
                </a:solidFill>
                <a:effectLst/>
                <a:latin typeface="jetbrains_monoregular"/>
              </a:rPr>
              <a:t>Bgroup.binary.cache.key</a:t>
            </a:r>
            <a:r>
              <a:rPr lang="en-GB" b="1" i="0" dirty="0">
                <a:solidFill>
                  <a:srgbClr val="001A34"/>
                </a:solidFill>
                <a:effectLst/>
                <a:latin typeface="jetbrains_monoregular"/>
              </a:rPr>
              <a:t> </a:t>
            </a:r>
            <a:r>
              <a:rPr lang="ru-RU" b="0" i="0" u="none" strike="noStrike" dirty="0">
                <a:solidFill>
                  <a:srgbClr val="333333"/>
                </a:solidFill>
                <a:effectLst/>
                <a:latin typeface="-apple-system"/>
              </a:rPr>
              <a:t>выглядит в заголовках </a:t>
            </a:r>
            <a:r>
              <a:rPr lang="en-US" b="0" i="0" u="none" strike="noStrike" dirty="0">
                <a:solidFill>
                  <a:srgbClr val="333333"/>
                </a:solidFill>
                <a:effectLst/>
                <a:latin typeface="-apple-system"/>
              </a:rPr>
              <a:t>composer</a:t>
            </a:r>
            <a:endParaRPr lang="ru-RU" b="0" i="0" u="none" strike="noStrike" dirty="0">
              <a:solidFill>
                <a:srgbClr val="172B4D"/>
              </a:solidFill>
              <a:effectLst/>
              <a:latin typeface="-apple-system"/>
            </a:endParaRPr>
          </a:p>
          <a:p>
            <a:endParaRPr lang="en-RU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b="0" i="0" u="none" strike="noStrike" dirty="0">
                <a:solidFill>
                  <a:srgbClr val="003366"/>
                </a:solidFill>
                <a:effectLst/>
                <a:latin typeface="-apple-system"/>
              </a:rPr>
              <a:t>Бинарный протокол - это НЕ протокол в классическом его понимание. Это всего</a:t>
            </a:r>
            <a:r>
              <a:rPr lang="en-US" b="0" i="0" u="none" strike="noStrike" dirty="0">
                <a:solidFill>
                  <a:srgbClr val="003366"/>
                </a:solidFill>
                <a:effectLst/>
                <a:latin typeface="-apple-system"/>
              </a:rPr>
              <a:t>-</a:t>
            </a:r>
            <a:r>
              <a:rPr lang="ru-RU" b="0" i="0" u="none" strike="noStrike" dirty="0" err="1">
                <a:solidFill>
                  <a:srgbClr val="003366"/>
                </a:solidFill>
                <a:effectLst/>
                <a:latin typeface="-apple-system"/>
              </a:rPr>
              <a:t>навсего</a:t>
            </a:r>
            <a:r>
              <a:rPr lang="ru-RU" b="0" i="0" u="none" strike="noStrike" dirty="0">
                <a:solidFill>
                  <a:srgbClr val="003366"/>
                </a:solidFill>
                <a:effectLst/>
                <a:latin typeface="-apple-system"/>
              </a:rPr>
              <a:t> дополнительный хедер в </a:t>
            </a:r>
            <a:r>
              <a:rPr lang="en-GB" b="0" i="0" u="none" strike="noStrike" dirty="0">
                <a:solidFill>
                  <a:srgbClr val="003366"/>
                </a:solidFill>
                <a:effectLst/>
                <a:latin typeface="-apple-system"/>
              </a:rPr>
              <a:t>HTTP </a:t>
            </a:r>
            <a:r>
              <a:rPr lang="ru-RU" b="0" i="0" u="none" strike="noStrike" dirty="0">
                <a:solidFill>
                  <a:srgbClr val="003366"/>
                </a:solidFill>
                <a:effectLst/>
                <a:latin typeface="-apple-system"/>
              </a:rPr>
              <a:t>запросе.</a:t>
            </a:r>
            <a:r>
              <a:rPr lang="en-US" b="0" i="0" u="none" strike="noStrike" dirty="0">
                <a:solidFill>
                  <a:srgbClr val="172B4D"/>
                </a:solidFill>
                <a:effectLst/>
                <a:latin typeface="-apple-system"/>
              </a:rPr>
              <a:t> </a:t>
            </a:r>
            <a:r>
              <a:rPr lang="ru-RU" b="0" i="0" u="none" strike="noStrike" dirty="0">
                <a:solidFill>
                  <a:srgbClr val="172B4D"/>
                </a:solidFill>
                <a:effectLst/>
                <a:latin typeface="-apple-system"/>
              </a:rPr>
              <a:t>Цель бинарного протокола — в как можно более сжатом виде представить информацию об экспериментах, в которые попал пользователь.  </a:t>
            </a:r>
            <a:endParaRPr lang="en-US" b="0" i="0" u="none" strike="noStrike" dirty="0">
              <a:solidFill>
                <a:srgbClr val="172B4D"/>
              </a:solidFill>
              <a:effectLst/>
              <a:latin typeface="-apple-system"/>
            </a:endParaRPr>
          </a:p>
          <a:p>
            <a:endParaRPr lang="en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22150A-382B-F749-8703-69C6691C79AD}" type="slidenum">
              <a:rPr lang="en-RU" smtClean="0"/>
              <a:t>22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413669459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b="0" i="0" u="none" strike="noStrike" dirty="0">
                <a:solidFill>
                  <a:srgbClr val="003366"/>
                </a:solidFill>
                <a:effectLst/>
                <a:latin typeface="-apple-system"/>
              </a:rPr>
              <a:t>Именно в таком формате сейчас конфиги экспериментов долетают до конечных сервисов</a:t>
            </a:r>
            <a:r>
              <a:rPr lang="en-US" b="0" i="0" u="none" strike="noStrike" dirty="0">
                <a:solidFill>
                  <a:srgbClr val="003366"/>
                </a:solidFill>
                <a:effectLst/>
                <a:latin typeface="-apple-system"/>
              </a:rPr>
              <a:t>. </a:t>
            </a:r>
            <a:r>
              <a:rPr lang="ru-RU" b="0" i="0" u="none" strike="noStrike" dirty="0">
                <a:solidFill>
                  <a:srgbClr val="172B4D"/>
                </a:solidFill>
                <a:effectLst/>
                <a:latin typeface="-apple-system"/>
              </a:rPr>
              <a:t>Реализация данного протокола даёт возможность использовать его как уникальный идентификатор включённых для пользователя экспериментов, то есть в качестве ключа кэша для клиентов бэкенда. Это позволяет нам реализовать кэш для клиентов бэкенда второго уровня, чтобы значительно уменьшить </a:t>
            </a:r>
            <a:r>
              <a:rPr lang="en-GB" b="0" i="0" u="none" strike="noStrike" dirty="0">
                <a:solidFill>
                  <a:srgbClr val="172B4D"/>
                </a:solidFill>
                <a:effectLst/>
                <a:latin typeface="-apple-system"/>
              </a:rPr>
              <a:t>RPS. </a:t>
            </a:r>
            <a:endParaRPr lang="ru-RU" b="0" i="0" u="none" strike="noStrike" dirty="0">
              <a:solidFill>
                <a:srgbClr val="172B4D"/>
              </a:solidFill>
              <a:effectLst/>
              <a:latin typeface="-apple-system"/>
            </a:endParaRPr>
          </a:p>
          <a:p>
            <a:endParaRPr lang="en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22150A-382B-F749-8703-69C6691C79AD}" type="slidenum">
              <a:rPr lang="en-RU" smtClean="0"/>
              <a:t>23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155902406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BB3443C-255B-1B2A-1B27-01FBA1B146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A5E2963-FDF1-C4F4-3772-A2FA80318D5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85F32FC-5215-9463-C597-0038DFCB605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ts val="1350"/>
              </a:lnSpc>
            </a:pPr>
            <a:r>
              <a:rPr lang="ru-RU" b="0" dirty="0">
                <a:solidFill>
                  <a:srgbClr val="CCCCCC"/>
                </a:solidFill>
                <a:effectLst/>
                <a:latin typeface="Menlo" panose="020B0609030804020204" pitchFamily="49" charset="0"/>
              </a:rPr>
              <a:t>Теперь давайте посмотрим, а что же собой представляет хедер, который сервис </a:t>
            </a:r>
            <a:r>
              <a:rPr lang="en-GB" b="0" dirty="0">
                <a:solidFill>
                  <a:srgbClr val="CCCCCC"/>
                </a:solidFill>
                <a:effectLst/>
                <a:latin typeface="Menlo" panose="020B0609030804020204" pitchFamily="49" charset="0"/>
              </a:rPr>
              <a:t>A/B-test-</a:t>
            </a:r>
            <a:r>
              <a:rPr lang="en-GB" b="0" dirty="0" err="1">
                <a:solidFill>
                  <a:srgbClr val="CCCCCC"/>
                </a:solidFill>
                <a:effectLst/>
                <a:latin typeface="Menlo" panose="020B0609030804020204" pitchFamily="49" charset="0"/>
              </a:rPr>
              <a:t>api</a:t>
            </a:r>
            <a:r>
              <a:rPr lang="en-GB" b="0" dirty="0">
                <a:solidFill>
                  <a:srgbClr val="CCCCCC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ru-RU" b="0" dirty="0">
                <a:solidFill>
                  <a:srgbClr val="CCCCCC"/>
                </a:solidFill>
                <a:effectLst/>
                <a:latin typeface="Menlo" panose="020B0609030804020204" pitchFamily="49" charset="0"/>
              </a:rPr>
              <a:t>отдает на любой запрос </a:t>
            </a:r>
            <a:r>
              <a:rPr lang="en-GB" b="0" dirty="0">
                <a:solidFill>
                  <a:srgbClr val="CCCCCC"/>
                </a:solidFill>
                <a:effectLst/>
                <a:latin typeface="Menlo" panose="020B0609030804020204" pitchFamily="49" charset="0"/>
              </a:rPr>
              <a:t>composer-</a:t>
            </a:r>
            <a:r>
              <a:rPr lang="en-GB" b="0" dirty="0" err="1">
                <a:solidFill>
                  <a:srgbClr val="CCCCCC"/>
                </a:solidFill>
                <a:effectLst/>
                <a:latin typeface="Menlo" panose="020B0609030804020204" pitchFamily="49" charset="0"/>
              </a:rPr>
              <a:t>api</a:t>
            </a:r>
            <a:r>
              <a:rPr lang="en-GB" b="0" dirty="0">
                <a:solidFill>
                  <a:srgbClr val="CCCCCC"/>
                </a:solidFill>
                <a:effectLst/>
                <a:latin typeface="Menlo" panose="020B0609030804020204" pitchFamily="49" charset="0"/>
              </a:rPr>
              <a:t>. </a:t>
            </a:r>
            <a:r>
              <a:rPr lang="ru-RU" b="0" dirty="0">
                <a:solidFill>
                  <a:srgbClr val="CCCCCC"/>
                </a:solidFill>
                <a:effectLst/>
                <a:latin typeface="Menlo" panose="020B0609030804020204" pitchFamily="49" charset="0"/>
              </a:rPr>
              <a:t>Итак, структура его такова</a:t>
            </a:r>
          </a:p>
          <a:p>
            <a:pPr>
              <a:lnSpc>
                <a:spcPts val="1350"/>
              </a:lnSpc>
            </a:pPr>
            <a:br>
              <a:rPr lang="ru-RU" dirty="0"/>
            </a:br>
            <a:r>
              <a:rPr lang="ru-RU" b="0" dirty="0">
                <a:solidFill>
                  <a:srgbClr val="CCCCCC"/>
                </a:solidFill>
                <a:effectLst/>
                <a:latin typeface="Menlo" panose="020B0609030804020204" pitchFamily="49" charset="0"/>
              </a:rPr>
              <a:t>Тут важная часть ключа - это ревизия. Именно она позволяет поддерживать кеш на клиенте всегда в актуальном состоянии. То есть любое изменение </a:t>
            </a:r>
            <a:r>
              <a:rPr lang="en-US" b="0" dirty="0">
                <a:solidFill>
                  <a:srgbClr val="CCCCCC"/>
                </a:solidFill>
                <a:effectLst/>
                <a:latin typeface="Menlo" panose="020B0609030804020204" pitchFamily="49" charset="0"/>
              </a:rPr>
              <a:t>A/B </a:t>
            </a:r>
            <a:r>
              <a:rPr lang="ru-RU" b="0" dirty="0">
                <a:solidFill>
                  <a:srgbClr val="CCCCCC"/>
                </a:solidFill>
                <a:effectLst/>
                <a:latin typeface="Menlo" panose="020B0609030804020204" pitchFamily="49" charset="0"/>
              </a:rPr>
              <a:t>эксперимента влияет на обновление ревизии, что в свою очередь влечет за собой перестроение бин ключа.</a:t>
            </a:r>
          </a:p>
          <a:p>
            <a:pPr>
              <a:lnSpc>
                <a:spcPts val="1350"/>
              </a:lnSpc>
            </a:pPr>
            <a:endParaRPr lang="ru-RU" dirty="0"/>
          </a:p>
          <a:p>
            <a:pPr>
              <a:lnSpc>
                <a:spcPts val="1350"/>
              </a:lnSpc>
            </a:pPr>
            <a:r>
              <a:rPr lang="ru-RU" dirty="0"/>
              <a:t>Еще один важный момент касается вариантов, </a:t>
            </a:r>
            <a:r>
              <a:rPr lang="ru-RU" dirty="0" err="1"/>
              <a:t>варинт</a:t>
            </a:r>
            <a:r>
              <a:rPr lang="ru-RU" dirty="0"/>
              <a:t> должен быть создан на идущий </a:t>
            </a:r>
            <a:r>
              <a:rPr lang="en-US" dirty="0"/>
              <a:t>A/B </a:t>
            </a:r>
            <a:r>
              <a:rPr lang="ru-RU" dirty="0"/>
              <a:t>тест (не </a:t>
            </a:r>
            <a:r>
              <a:rPr lang="ru-RU" dirty="0" err="1"/>
              <a:t>завершеный</a:t>
            </a:r>
            <a:r>
              <a:rPr lang="ru-RU" dirty="0"/>
              <a:t> и не </a:t>
            </a:r>
            <a:r>
              <a:rPr lang="ru-RU" dirty="0" err="1"/>
              <a:t>остановлленый</a:t>
            </a:r>
            <a:r>
              <a:rPr lang="ru-RU" dirty="0"/>
              <a:t>), на ФД (не обязательно активный!! Это важно)</a:t>
            </a:r>
            <a:endParaRPr lang="en-RU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735C086-A83D-0583-62AE-2C128D23599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22150A-382B-F749-8703-69C6691C79AD}" type="slidenum">
              <a:rPr lang="en-RU" smtClean="0"/>
              <a:t>24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722131299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302B2DA-8BE2-1C41-2938-AD233249ED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79D71EF-F245-C570-17FE-19C76C22141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951F000-D6FF-A064-81AF-BF7ADFC5366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ts val="1350"/>
              </a:lnSpc>
            </a:pPr>
            <a:r>
              <a:rPr lang="ru-RU" b="0" dirty="0">
                <a:solidFill>
                  <a:srgbClr val="CCCCCC"/>
                </a:solidFill>
                <a:effectLst/>
                <a:latin typeface="Menlo" panose="020B0609030804020204" pitchFamily="49" charset="0"/>
              </a:rPr>
              <a:t>Теперь давайте посмотрим, а что же собой представляет хедер, который сервис </a:t>
            </a:r>
            <a:r>
              <a:rPr lang="en-GB" b="0" dirty="0">
                <a:solidFill>
                  <a:srgbClr val="CCCCCC"/>
                </a:solidFill>
                <a:effectLst/>
                <a:latin typeface="Menlo" panose="020B0609030804020204" pitchFamily="49" charset="0"/>
              </a:rPr>
              <a:t>A/B-test-</a:t>
            </a:r>
            <a:r>
              <a:rPr lang="en-GB" b="0" dirty="0" err="1">
                <a:solidFill>
                  <a:srgbClr val="CCCCCC"/>
                </a:solidFill>
                <a:effectLst/>
                <a:latin typeface="Menlo" panose="020B0609030804020204" pitchFamily="49" charset="0"/>
              </a:rPr>
              <a:t>api</a:t>
            </a:r>
            <a:r>
              <a:rPr lang="en-GB" b="0" dirty="0">
                <a:solidFill>
                  <a:srgbClr val="CCCCCC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ru-RU" b="0" dirty="0">
                <a:solidFill>
                  <a:srgbClr val="CCCCCC"/>
                </a:solidFill>
                <a:effectLst/>
                <a:latin typeface="Menlo" panose="020B0609030804020204" pitchFamily="49" charset="0"/>
              </a:rPr>
              <a:t>отдает на любой запрос </a:t>
            </a:r>
            <a:r>
              <a:rPr lang="en-GB" b="0" dirty="0">
                <a:solidFill>
                  <a:srgbClr val="CCCCCC"/>
                </a:solidFill>
                <a:effectLst/>
                <a:latin typeface="Menlo" panose="020B0609030804020204" pitchFamily="49" charset="0"/>
              </a:rPr>
              <a:t>composer-</a:t>
            </a:r>
            <a:r>
              <a:rPr lang="en-GB" b="0" dirty="0" err="1">
                <a:solidFill>
                  <a:srgbClr val="CCCCCC"/>
                </a:solidFill>
                <a:effectLst/>
                <a:latin typeface="Menlo" panose="020B0609030804020204" pitchFamily="49" charset="0"/>
              </a:rPr>
              <a:t>api</a:t>
            </a:r>
            <a:r>
              <a:rPr lang="en-GB" b="0" dirty="0">
                <a:solidFill>
                  <a:srgbClr val="CCCCCC"/>
                </a:solidFill>
                <a:effectLst/>
                <a:latin typeface="Menlo" panose="020B0609030804020204" pitchFamily="49" charset="0"/>
              </a:rPr>
              <a:t>. </a:t>
            </a:r>
            <a:r>
              <a:rPr lang="ru-RU" b="0" dirty="0">
                <a:solidFill>
                  <a:srgbClr val="CCCCCC"/>
                </a:solidFill>
                <a:effectLst/>
                <a:latin typeface="Menlo" panose="020B0609030804020204" pitchFamily="49" charset="0"/>
              </a:rPr>
              <a:t>Итак, структура его такова</a:t>
            </a:r>
          </a:p>
          <a:p>
            <a:pPr>
              <a:lnSpc>
                <a:spcPts val="1350"/>
              </a:lnSpc>
            </a:pPr>
            <a:br>
              <a:rPr lang="ru-RU" dirty="0"/>
            </a:br>
            <a:r>
              <a:rPr lang="ru-RU" b="0" dirty="0">
                <a:solidFill>
                  <a:srgbClr val="CCCCCC"/>
                </a:solidFill>
                <a:effectLst/>
                <a:latin typeface="Menlo" panose="020B0609030804020204" pitchFamily="49" charset="0"/>
              </a:rPr>
              <a:t>Тут важная часть ключа - это ревизия. Именно она позволяет поддерживать кеш на клиенте всегда в актуальном состоянии. То есть любое изменение </a:t>
            </a:r>
            <a:r>
              <a:rPr lang="en-US" b="0" dirty="0">
                <a:solidFill>
                  <a:srgbClr val="CCCCCC"/>
                </a:solidFill>
                <a:effectLst/>
                <a:latin typeface="Menlo" panose="020B0609030804020204" pitchFamily="49" charset="0"/>
              </a:rPr>
              <a:t>A/B </a:t>
            </a:r>
            <a:r>
              <a:rPr lang="ru-RU" b="0" dirty="0">
                <a:solidFill>
                  <a:srgbClr val="CCCCCC"/>
                </a:solidFill>
                <a:effectLst/>
                <a:latin typeface="Menlo" panose="020B0609030804020204" pitchFamily="49" charset="0"/>
              </a:rPr>
              <a:t>эксперимента влияет на обновление ревизии, что в свою очередь влечет за собой перестроение бин ключа.</a:t>
            </a:r>
          </a:p>
          <a:p>
            <a:pPr>
              <a:lnSpc>
                <a:spcPts val="1350"/>
              </a:lnSpc>
            </a:pPr>
            <a:endParaRPr lang="en-US" b="0" dirty="0">
              <a:solidFill>
                <a:srgbClr val="CCCCCC"/>
              </a:solidFill>
              <a:effectLst/>
              <a:latin typeface="Menlo" panose="020B0609030804020204" pitchFamily="49" charset="0"/>
            </a:endParaRPr>
          </a:p>
          <a:p>
            <a:pPr>
              <a:lnSpc>
                <a:spcPts val="1350"/>
              </a:lnSpc>
            </a:pPr>
            <a:r>
              <a:rPr lang="ru-RU" b="0" dirty="0">
                <a:solidFill>
                  <a:srgbClr val="CCCCCC"/>
                </a:solidFill>
                <a:effectLst/>
                <a:latin typeface="Menlo" panose="020B0609030804020204" pitchFamily="49" charset="0"/>
              </a:rPr>
              <a:t>Хочется отметить, что кодирование осуществляется по каждому сервису отдельно.</a:t>
            </a:r>
          </a:p>
          <a:p>
            <a:pPr>
              <a:lnSpc>
                <a:spcPts val="1350"/>
              </a:lnSpc>
            </a:pPr>
            <a:br>
              <a:rPr lang="ru-RU" b="0" dirty="0">
                <a:solidFill>
                  <a:srgbClr val="CCCCCC"/>
                </a:solidFill>
                <a:effectLst/>
                <a:latin typeface="Menlo" panose="020B0609030804020204" pitchFamily="49" charset="0"/>
              </a:rPr>
            </a:br>
            <a:r>
              <a:rPr lang="ru-RU" b="0" dirty="0">
                <a:solidFill>
                  <a:srgbClr val="CCCCCC"/>
                </a:solidFill>
                <a:effectLst/>
                <a:latin typeface="Menlo" panose="020B0609030804020204" pitchFamily="49" charset="0"/>
              </a:rPr>
              <a:t>Да, важный момент, это то что порядок сервисов в бинарном ключе строго регламентирован</a:t>
            </a:r>
            <a:r>
              <a:rPr lang="en-US" b="0" dirty="0">
                <a:solidFill>
                  <a:srgbClr val="CCCCCC"/>
                </a:solidFill>
                <a:effectLst/>
                <a:latin typeface="Menlo" panose="020B0609030804020204" pitchFamily="49" charset="0"/>
              </a:rPr>
              <a:t>.</a:t>
            </a:r>
            <a:r>
              <a:rPr lang="ru-RU" b="0" dirty="0">
                <a:solidFill>
                  <a:srgbClr val="CCCCCC"/>
                </a:solidFill>
                <a:effectLst/>
                <a:latin typeface="Menlo" panose="020B0609030804020204" pitchFamily="49" charset="0"/>
              </a:rPr>
              <a:t> Это значит что все сервисы в ключе расположены в порядке возрастания своего идентификатора. Это позволяет по большей части декодировать ключ не полностью, а только лишь малую его часть.</a:t>
            </a:r>
          </a:p>
          <a:p>
            <a:pPr>
              <a:lnSpc>
                <a:spcPts val="1350"/>
              </a:lnSpc>
            </a:pPr>
            <a:endParaRPr lang="en-RU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6E075B-3F7F-7D72-B0FC-684C0E9985F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22150A-382B-F749-8703-69C6691C79AD}" type="slidenum">
              <a:rPr lang="en-RU" smtClean="0"/>
              <a:t>25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1515874016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A449094-3F1B-AAE8-A278-E4D7234F5CE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B7072AF-BBEA-B54D-35FE-0CC1CEBEE88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E107CFC-ED9E-2449-DC14-896C52942CD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ts val="1350"/>
              </a:lnSpc>
            </a:pPr>
            <a:endParaRPr lang="en-RU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B3B9623-FC03-2E1D-C427-4F8F5112F89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22150A-382B-F749-8703-69C6691C79AD}" type="slidenum">
              <a:rPr lang="en-RU" smtClean="0"/>
              <a:t>26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4127357816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0EB5E60-F125-5ED1-D183-CCA5CC3D79C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2D5452E-48F3-3058-C8BD-E362D28813B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61A544C-5F17-099E-8299-4FE9EA40A22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ts val="1350"/>
              </a:lnSpc>
            </a:pPr>
            <a:r>
              <a:rPr lang="ru-RU" dirty="0"/>
              <a:t>По хронологии инцидента упали заказы, потому что перестал работать поиск. Определили, что проблема связана с </a:t>
            </a:r>
            <a:r>
              <a:rPr lang="ru-RU" dirty="0" err="1"/>
              <a:t>парсингом</a:t>
            </a:r>
            <a:r>
              <a:rPr lang="ru-RU" dirty="0"/>
              <a:t> бинарного протокола. Так как релизов в этот день в </a:t>
            </a:r>
            <a:r>
              <a:rPr lang="en-US" dirty="0"/>
              <a:t>A/B </a:t>
            </a:r>
            <a:r>
              <a:rPr lang="ru-RU" dirty="0"/>
              <a:t>платформе не было, то откатка релизов не помогла бы.</a:t>
            </a:r>
          </a:p>
          <a:p>
            <a:pPr>
              <a:lnSpc>
                <a:spcPts val="1350"/>
              </a:lnSpc>
            </a:pPr>
            <a:r>
              <a:rPr lang="ru-RU" dirty="0"/>
              <a:t>Мы не понимали, что конкретно произошло и как бинарный протокол мог сломаться. Проблема была в том, что из-за особенностей построения бинарного ключа, в котором сервисы располагаются последовательно, после того, как библиотеки пытались обработать часть бинарного ключа по каждому сервиса и натыкались на сервис </a:t>
            </a:r>
            <a:r>
              <a:rPr lang="en-US" dirty="0"/>
              <a:t>account,</a:t>
            </a:r>
            <a:r>
              <a:rPr lang="ru-RU" dirty="0"/>
              <a:t> кол-во вариантов</a:t>
            </a:r>
            <a:r>
              <a:rPr lang="en-US" dirty="0"/>
              <a:t> </a:t>
            </a:r>
            <a:r>
              <a:rPr lang="ru-RU" dirty="0"/>
              <a:t>в котором не помещалось в протокол, они не могли обработать бин ключ для всех последующих сервисов корректно. </a:t>
            </a:r>
          </a:p>
          <a:p>
            <a:pPr>
              <a:lnSpc>
                <a:spcPts val="1350"/>
              </a:lnSpc>
            </a:pPr>
            <a:endParaRPr lang="en-RU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44D1549-DC6B-270E-EB0C-AC33FF97540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22150A-382B-F749-8703-69C6691C79AD}" type="slidenum">
              <a:rPr lang="en-RU" smtClean="0"/>
              <a:t>27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3278388711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F2B3C93-AF71-055F-17F3-EE8EBDB984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2C1E2EF-D166-BB68-5421-9B76DE48D94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11D9073-AA32-6BF5-91FE-E636F58E1D5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ts val="13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>
                <a:solidFill>
                  <a:srgbClr val="FFFFFF"/>
                </a:solidFill>
                <a:effectLst/>
                <a:latin typeface="Arial" panose="020B0604020202020204" pitchFamily="34" charset="0"/>
              </a:rPr>
              <a:t>Алерты на переполнение разрядов бинарного ключа. Теперь при приближении к макс доступному значению мы получаем алерт и можем предпринять шаги для его устранения заранее</a:t>
            </a:r>
          </a:p>
          <a:p>
            <a:pPr marL="171450" marR="0" lvl="0" indent="-171450" algn="l" defTabSz="914400" rtl="0" eaLnBrk="1" fontAlgn="auto" latinLnBrk="0" hangingPunct="1">
              <a:lnSpc>
                <a:spcPts val="13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b="0" i="0" u="none" strike="noStrike" dirty="0">
                <a:solidFill>
                  <a:srgbClr val="333333"/>
                </a:solidFill>
                <a:effectLst/>
                <a:latin typeface="-apple-system"/>
              </a:rPr>
              <a:t>кол-во вариантов не больше 1000 (1023 макс)</a:t>
            </a:r>
          </a:p>
          <a:p>
            <a:pPr marL="171450" marR="0" lvl="0" indent="-171450" algn="l" defTabSz="914400" rtl="0" eaLnBrk="1" fontAlgn="auto" latinLnBrk="0" hangingPunct="1">
              <a:lnSpc>
                <a:spcPts val="13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b="0" i="0" u="none" strike="noStrike" dirty="0">
                <a:solidFill>
                  <a:srgbClr val="333333"/>
                </a:solidFill>
                <a:effectLst/>
                <a:latin typeface="-apple-system"/>
              </a:rPr>
              <a:t>максимальный ид сервиса не превышает 8000 (8191 макс)</a:t>
            </a:r>
          </a:p>
          <a:p>
            <a:pPr marL="171450" marR="0" lvl="0" indent="-171450" algn="l" defTabSz="914400" rtl="0" eaLnBrk="1" fontAlgn="auto" latinLnBrk="0" hangingPunct="1">
              <a:lnSpc>
                <a:spcPts val="13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b="0" i="0" u="none" strike="noStrike" dirty="0">
                <a:solidFill>
                  <a:srgbClr val="333333"/>
                </a:solidFill>
                <a:effectLst/>
                <a:latin typeface="-apple-system"/>
              </a:rPr>
              <a:t>Запрет на создание вариантов в сервисе, если новый вариант сломает ограничение</a:t>
            </a:r>
          </a:p>
          <a:p>
            <a:pPr marL="171450" marR="0" lvl="0" indent="-171450" algn="l" defTabSz="914400" rtl="0" eaLnBrk="1" fontAlgn="auto" latinLnBrk="0" hangingPunct="1">
              <a:lnSpc>
                <a:spcPts val="13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ru-RU" b="0" i="0" u="none" strike="noStrike" dirty="0">
              <a:solidFill>
                <a:srgbClr val="333333"/>
              </a:solidFill>
              <a:effectLst/>
              <a:latin typeface="-apple-system"/>
            </a:endParaRPr>
          </a:p>
          <a:p>
            <a:pPr marL="171450" marR="0" lvl="0" indent="-171450" algn="l" defTabSz="914400" rtl="0" eaLnBrk="1" fontAlgn="auto" latinLnBrk="0" hangingPunct="1">
              <a:lnSpc>
                <a:spcPts val="13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ru-RU" b="0" i="0" u="none" strike="noStrike" dirty="0">
              <a:solidFill>
                <a:srgbClr val="333333"/>
              </a:solidFill>
              <a:effectLst/>
              <a:latin typeface="-apple-system"/>
            </a:endParaRPr>
          </a:p>
          <a:p>
            <a:pPr marL="0" marR="0" lvl="0" indent="0" algn="l" defTabSz="914400" rtl="0" eaLnBrk="1" fontAlgn="auto" latinLnBrk="0" hangingPunct="1">
              <a:lnSpc>
                <a:spcPts val="13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200" dirty="0">
              <a:solidFill>
                <a:srgbClr val="FFFFFF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DEF7DF-2AE0-7D9F-4BE2-5C14867FE66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22150A-382B-F749-8703-69C6691C79AD}" type="slidenum">
              <a:rPr lang="en-RU" smtClean="0"/>
              <a:t>28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1254409687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1495DDC-1E37-ACB9-A123-E5642A1473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4CF528C-F2D3-E532-5E3C-52D794D0121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E738341-D18A-5A93-EAFB-DB432C3FDFC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RU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57A9717-EA50-2980-5FD7-8706F1FDCDA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22150A-382B-F749-8703-69C6691C79AD}" type="slidenum">
              <a:rPr lang="en-RU" smtClean="0"/>
              <a:t>29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147176865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b="0" i="0" u="none" strike="noStrike" dirty="0">
                <a:solidFill>
                  <a:srgbClr val="151515"/>
                </a:solidFill>
                <a:effectLst/>
                <a:latin typeface="IBM Plex Sans" panose="020F0502020204030204" pitchFamily="34" charset="0"/>
              </a:rPr>
              <a:t>В начале хочется кратко рассказать про то, что такое </a:t>
            </a:r>
            <a:r>
              <a:rPr lang="en-US" b="0" i="0" u="none" strike="noStrike" dirty="0">
                <a:solidFill>
                  <a:srgbClr val="151515"/>
                </a:solidFill>
                <a:effectLst/>
                <a:latin typeface="IBM Plex Sans" panose="020F0502020204030204" pitchFamily="34" charset="0"/>
              </a:rPr>
              <a:t>A/B </a:t>
            </a:r>
            <a:r>
              <a:rPr lang="ru-RU" b="0" i="0" u="none" strike="noStrike" dirty="0">
                <a:solidFill>
                  <a:srgbClr val="151515"/>
                </a:solidFill>
                <a:effectLst/>
                <a:latin typeface="IBM Plex Sans" panose="020F0502020204030204" pitchFamily="34" charset="0"/>
              </a:rPr>
              <a:t>тесты и чем мы занимаемся в </a:t>
            </a:r>
            <a:r>
              <a:rPr lang="en-US" b="0" i="0" u="none" strike="noStrike" dirty="0">
                <a:solidFill>
                  <a:srgbClr val="151515"/>
                </a:solidFill>
                <a:effectLst/>
                <a:latin typeface="IBM Plex Sans" panose="020F0502020204030204" pitchFamily="34" charset="0"/>
              </a:rPr>
              <a:t>A/B </a:t>
            </a:r>
            <a:r>
              <a:rPr lang="ru-RU" b="0" i="0" u="none" strike="noStrike" dirty="0">
                <a:solidFill>
                  <a:srgbClr val="151515"/>
                </a:solidFill>
                <a:effectLst/>
                <a:latin typeface="IBM Plex Sans" panose="020F0502020204030204" pitchFamily="34" charset="0"/>
              </a:rPr>
              <a:t>платформе</a:t>
            </a:r>
            <a:endParaRPr lang="en-GB" b="0" i="0" u="none" strike="noStrike" dirty="0">
              <a:solidFill>
                <a:srgbClr val="151515"/>
              </a:solidFill>
              <a:effectLst/>
              <a:latin typeface="IBM Plex Sans" panose="020F0502020204030204" pitchFamily="34" charset="0"/>
            </a:endParaRPr>
          </a:p>
          <a:p>
            <a:r>
              <a:rPr lang="en-GB" b="0" i="0" u="none" strike="noStrike" dirty="0">
                <a:solidFill>
                  <a:srgbClr val="151515"/>
                </a:solidFill>
                <a:effectLst/>
                <a:latin typeface="IBM Plex Sans" panose="020F0502020204030204" pitchFamily="34" charset="0"/>
              </a:rPr>
              <a:t>A/B </a:t>
            </a:r>
            <a:r>
              <a:rPr lang="ru-RU" b="0" i="0" u="none" strike="noStrike" dirty="0">
                <a:solidFill>
                  <a:srgbClr val="151515"/>
                </a:solidFill>
                <a:effectLst/>
                <a:latin typeface="IBM Plex Sans" panose="020F0502020204030204" pitchFamily="34" charset="0"/>
              </a:rPr>
              <a:t>тестирование – очень мощный инструмент развития продукта, который часто позволяет обойти конкурентов, которые принимают решения менее качественно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22150A-382B-F749-8703-69C6691C79AD}" type="slidenum">
              <a:rPr lang="en-RU" smtClean="0"/>
              <a:t>3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149818190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ru-RU" dirty="0"/>
              <a:t>Выводы добавить, зачем был доклад – какие мы шаги предприняли после инцидента</a:t>
            </a:r>
          </a:p>
          <a:p>
            <a:pPr marL="171450" indent="-171450">
              <a:buFontTx/>
              <a:buChar char="-"/>
            </a:pPr>
            <a:r>
              <a:rPr lang="ru-RU" dirty="0"/>
              <a:t>Добавить в начало – что я хочу рассказать, </a:t>
            </a:r>
            <a:endParaRPr lang="en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22150A-382B-F749-8703-69C6691C79AD}" type="slidenum">
              <a:rPr lang="en-RU" smtClean="0"/>
              <a:t>30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421445565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b="1" i="0" u="none" strike="noStrike" dirty="0">
                <a:solidFill>
                  <a:srgbClr val="151515"/>
                </a:solidFill>
                <a:effectLst/>
                <a:latin typeface="IBM Plex Sans" panose="020B0503050203000203" pitchFamily="34" charset="0"/>
              </a:rPr>
              <a:t>A/B </a:t>
            </a:r>
            <a:r>
              <a:rPr lang="ru-RU" b="1" i="0" u="none" strike="noStrike" dirty="0">
                <a:solidFill>
                  <a:srgbClr val="151515"/>
                </a:solidFill>
                <a:effectLst/>
                <a:latin typeface="IBM Plex Sans" panose="020B0503050203000203" pitchFamily="34" charset="0"/>
              </a:rPr>
              <a:t>тест</a:t>
            </a:r>
            <a:r>
              <a:rPr lang="ru-RU" b="0" i="0" u="none" strike="noStrike" dirty="0">
                <a:solidFill>
                  <a:srgbClr val="151515"/>
                </a:solidFill>
                <a:effectLst/>
                <a:latin typeface="IBM Plex Sans" panose="020B0503050203000203" pitchFamily="34" charset="0"/>
              </a:rPr>
              <a:t> это один из способов принять продуктовое решение</a:t>
            </a:r>
          </a:p>
          <a:p>
            <a:r>
              <a:rPr lang="ru-RU" b="0" i="0" u="none" strike="noStrike" dirty="0">
                <a:solidFill>
                  <a:srgbClr val="151515"/>
                </a:solidFill>
                <a:effectLst/>
                <a:latin typeface="IBM Plex Sans" panose="020B0503050203000203" pitchFamily="34" charset="0"/>
              </a:rPr>
              <a:t>Одна из важных характеристик </a:t>
            </a:r>
            <a:r>
              <a:rPr lang="en-US" b="0" i="0" u="none" strike="noStrike" dirty="0">
                <a:solidFill>
                  <a:srgbClr val="151515"/>
                </a:solidFill>
                <a:effectLst/>
                <a:latin typeface="IBM Plex Sans" panose="020B0503050203000203" pitchFamily="34" charset="0"/>
              </a:rPr>
              <a:t>A/B – </a:t>
            </a:r>
            <a:r>
              <a:rPr lang="ru-RU" b="0" i="0" u="none" strike="noStrike" dirty="0">
                <a:solidFill>
                  <a:srgbClr val="151515"/>
                </a:solidFill>
                <a:effectLst/>
                <a:latin typeface="IBM Plex Sans" panose="020B0503050203000203" pitchFamily="34" charset="0"/>
              </a:rPr>
              <a:t>это случайное распределение – самое важное при измерении эффекта изменений в продукте</a:t>
            </a:r>
          </a:p>
          <a:p>
            <a:endParaRPr lang="ru-RU" b="0" i="0" u="none" strike="noStrike" dirty="0">
              <a:solidFill>
                <a:srgbClr val="151515"/>
              </a:solidFill>
              <a:effectLst/>
              <a:latin typeface="IBM Plex Sans" panose="020B0503050203000203" pitchFamily="34" charset="0"/>
            </a:endParaRPr>
          </a:p>
          <a:p>
            <a:r>
              <a:rPr lang="ru-RU" b="0" i="0" u="none" strike="noStrike" dirty="0">
                <a:solidFill>
                  <a:srgbClr val="151515"/>
                </a:solidFill>
                <a:effectLst/>
                <a:latin typeface="IBM Plex Sans" panose="020B0503050203000203" pitchFamily="34" charset="0"/>
              </a:rPr>
              <a:t>Ключевой механизм </a:t>
            </a:r>
            <a:r>
              <a:rPr lang="en-GB" b="0" i="0" u="none" strike="noStrike" dirty="0">
                <a:solidFill>
                  <a:srgbClr val="151515"/>
                </a:solidFill>
                <a:effectLst/>
                <a:latin typeface="IBM Plex Sans" panose="020B0503050203000203" pitchFamily="34" charset="0"/>
              </a:rPr>
              <a:t>A/B </a:t>
            </a:r>
            <a:r>
              <a:rPr lang="ru-RU" b="0" i="0" u="none" strike="noStrike" dirty="0">
                <a:solidFill>
                  <a:srgbClr val="151515"/>
                </a:solidFill>
                <a:effectLst/>
                <a:latin typeface="IBM Plex Sans" panose="020B0503050203000203" pitchFamily="34" charset="0"/>
              </a:rPr>
              <a:t>экспериментирования – </a:t>
            </a:r>
            <a:r>
              <a:rPr lang="ru-RU" b="1" i="0" u="none" strike="noStrike" dirty="0">
                <a:solidFill>
                  <a:srgbClr val="151515"/>
                </a:solidFill>
                <a:effectLst/>
                <a:latin typeface="IBM Plex Sans" panose="020B0503050203000203" pitchFamily="34" charset="0"/>
              </a:rPr>
              <a:t>случайный выбор</a:t>
            </a:r>
            <a:r>
              <a:rPr lang="ru-RU" b="0" i="0" u="none" strike="noStrike" dirty="0">
                <a:solidFill>
                  <a:srgbClr val="151515"/>
                </a:solidFill>
                <a:effectLst/>
                <a:latin typeface="IBM Plex Sans" panose="020B0503050203000203" pitchFamily="34" charset="0"/>
              </a:rPr>
              <a:t> варианта для каждого пользователя. И это супер важно. Потому что мы не можем достоверно измерить большинство внешних факторов, такие как действия наших конкурентов или тренды рынка. </a:t>
            </a:r>
            <a:r>
              <a:rPr lang="ru-RU" b="1" i="0" u="none" strike="noStrike" dirty="0">
                <a:solidFill>
                  <a:srgbClr val="151515"/>
                </a:solidFill>
                <a:effectLst/>
                <a:latin typeface="IBM Plex Sans" panose="020B0503050203000203" pitchFamily="34" charset="0"/>
              </a:rPr>
              <a:t>Статистическая значимость </a:t>
            </a:r>
            <a:r>
              <a:rPr lang="ru-RU" b="0" i="0" u="none" strike="noStrike" dirty="0">
                <a:solidFill>
                  <a:srgbClr val="151515"/>
                </a:solidFill>
                <a:effectLst/>
                <a:latin typeface="IBM Plex Sans" panose="020B0503050203000203" pitchFamily="34" charset="0"/>
              </a:rPr>
              <a:t>помогает проверить, была ли разница между двумя вариантами случайной. Она никак не помогает исключить влияние внешних факторов.</a:t>
            </a:r>
            <a:endParaRPr lang="en-RU" dirty="0"/>
          </a:p>
          <a:p>
            <a:endParaRPr lang="ru-RU" dirty="0"/>
          </a:p>
          <a:p>
            <a:r>
              <a:rPr lang="ru-RU" dirty="0"/>
              <a:t>Вопрос в зал: Попробуйте теперь дать определение </a:t>
            </a:r>
            <a:r>
              <a:rPr lang="en-US" dirty="0"/>
              <a:t>A/B т</a:t>
            </a:r>
            <a:r>
              <a:rPr lang="ru-RU" dirty="0" err="1"/>
              <a:t>еста</a:t>
            </a:r>
            <a:endParaRPr lang="en-RU" dirty="0"/>
          </a:p>
          <a:p>
            <a:endParaRPr lang="en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22150A-382B-F749-8703-69C6691C79AD}" type="slidenum">
              <a:rPr lang="en-RU" smtClean="0"/>
              <a:t>4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55829371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ru-RU" b="0" i="0" u="none" strike="noStrike" dirty="0">
                <a:solidFill>
                  <a:srgbClr val="151515"/>
                </a:solidFill>
                <a:effectLst/>
                <a:latin typeface="IBM Plex Sans" panose="020B0503050203000203" pitchFamily="34" charset="0"/>
              </a:rPr>
              <a:t>Корректный научный термин для </a:t>
            </a:r>
            <a:r>
              <a:rPr lang="en-GB" b="0" i="0" u="none" strike="noStrike" dirty="0">
                <a:solidFill>
                  <a:srgbClr val="151515"/>
                </a:solidFill>
                <a:effectLst/>
                <a:latin typeface="IBM Plex Sans" panose="020B0503050203000203" pitchFamily="34" charset="0"/>
              </a:rPr>
              <a:t>A/B </a:t>
            </a:r>
            <a:r>
              <a:rPr lang="ru-RU" b="0" i="0" u="none" strike="noStrike" dirty="0">
                <a:solidFill>
                  <a:srgbClr val="151515"/>
                </a:solidFill>
                <a:effectLst/>
                <a:latin typeface="IBM Plex Sans" panose="020B0503050203000203" pitchFamily="34" charset="0"/>
              </a:rPr>
              <a:t>теста - </a:t>
            </a:r>
            <a:r>
              <a:rPr lang="ru-RU" b="1" i="0" u="none" strike="noStrike" dirty="0">
                <a:solidFill>
                  <a:srgbClr val="151515"/>
                </a:solidFill>
                <a:effectLst/>
                <a:latin typeface="IBM Plex Sans" panose="020B0503050203000203" pitchFamily="34" charset="0"/>
              </a:rPr>
              <a:t>рандомизированный контролируемый эксперимент, </a:t>
            </a:r>
            <a:r>
              <a:rPr lang="en-GB" b="1" i="0" u="none" strike="noStrike" dirty="0">
                <a:solidFill>
                  <a:srgbClr val="151515"/>
                </a:solidFill>
                <a:effectLst/>
                <a:latin typeface="IBM Plex Sans" panose="020B0503050203000203" pitchFamily="34" charset="0"/>
              </a:rPr>
              <a:t>Randomised Controlled Experiment</a:t>
            </a:r>
            <a:r>
              <a:rPr lang="en-GB" b="0" i="0" u="none" strike="noStrike" dirty="0">
                <a:solidFill>
                  <a:srgbClr val="151515"/>
                </a:solidFill>
                <a:effectLst/>
                <a:latin typeface="IBM Plex Sans" panose="020B0503050203000203" pitchFamily="34" charset="0"/>
              </a:rPr>
              <a:t>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22150A-382B-F749-8703-69C6691C79AD}" type="slidenum">
              <a:rPr lang="en-RU" smtClean="0"/>
              <a:t>5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139112938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>
              <a:buFont typeface="Arial" panose="020B0604020202020204" pitchFamily="34" charset="0"/>
              <a:buChar char="•"/>
            </a:pPr>
            <a:r>
              <a:rPr lang="ru-RU" b="1" i="0" u="none" strike="noStrike" dirty="0">
                <a:solidFill>
                  <a:srgbClr val="151515"/>
                </a:solidFill>
                <a:effectLst/>
                <a:latin typeface="IBM Plex Sans" panose="020B0503050203000203" pitchFamily="34" charset="0"/>
              </a:rPr>
              <a:t>Рандомизированный</a:t>
            </a:r>
            <a:r>
              <a:rPr lang="ru-RU" b="0" i="0" u="none" strike="noStrike" dirty="0">
                <a:solidFill>
                  <a:srgbClr val="151515"/>
                </a:solidFill>
                <a:effectLst/>
                <a:latin typeface="IBM Plex Sans" panose="020B0503050203000203" pitchFamily="34" charset="0"/>
              </a:rPr>
              <a:t> означает что каждый участник попадает в группу (</a:t>
            </a:r>
            <a:r>
              <a:rPr lang="en-GB" b="0" i="0" u="none" strike="noStrike" dirty="0">
                <a:solidFill>
                  <a:srgbClr val="151515"/>
                </a:solidFill>
                <a:effectLst/>
                <a:latin typeface="IBM Plex Sans" panose="020B0503050203000203" pitchFamily="34" charset="0"/>
              </a:rPr>
              <a:t>aka </a:t>
            </a:r>
            <a:r>
              <a:rPr lang="ru-RU" b="0" i="0" u="none" strike="noStrike" dirty="0">
                <a:solidFill>
                  <a:srgbClr val="151515"/>
                </a:solidFill>
                <a:effectLst/>
                <a:latin typeface="IBM Plex Sans" panose="020B0503050203000203" pitchFamily="34" charset="0"/>
              </a:rPr>
              <a:t>вариант) А или В случайным образом, то есть вероятность попасть в любую из групп для каждого посетителя – одинаковая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ru-RU" b="1" i="0" u="none" strike="noStrike" dirty="0">
                <a:solidFill>
                  <a:srgbClr val="151515"/>
                </a:solidFill>
                <a:effectLst/>
                <a:latin typeface="IBM Plex Sans" panose="020B0503050203000203" pitchFamily="34" charset="0"/>
              </a:rPr>
              <a:t>Контролируемый</a:t>
            </a:r>
            <a:r>
              <a:rPr lang="ru-RU" b="0" i="0" u="none" strike="noStrike" dirty="0">
                <a:solidFill>
                  <a:srgbClr val="151515"/>
                </a:solidFill>
                <a:effectLst/>
                <a:latin typeface="IBM Plex Sans" panose="020B0503050203000203" pitchFamily="34" charset="0"/>
              </a:rPr>
              <a:t> означает что мы полностью определяем то, что увидят участники из группы А и группы В во время тестирования.</a:t>
            </a:r>
          </a:p>
          <a:p>
            <a:pPr algn="l"/>
            <a:r>
              <a:rPr lang="ru-RU" b="1" i="0" u="none" strike="noStrike" dirty="0">
                <a:solidFill>
                  <a:srgbClr val="151515"/>
                </a:solidFill>
                <a:effectLst/>
                <a:latin typeface="IBM Plex Sans" panose="020B0503050203000203" pitchFamily="34" charset="0"/>
              </a:rPr>
              <a:t>Как случайная выборка помогает исключить внешние факторы</a:t>
            </a:r>
            <a:endParaRPr lang="ru-RU" b="0" i="0" u="none" strike="noStrike" dirty="0">
              <a:solidFill>
                <a:srgbClr val="151515"/>
              </a:solidFill>
              <a:effectLst/>
              <a:latin typeface="IBM Plex Sans" panose="020B0503050203000203" pitchFamily="34" charset="0"/>
            </a:endParaRPr>
          </a:p>
          <a:p>
            <a:pPr algn="l"/>
            <a:r>
              <a:rPr lang="ru-RU" b="0" i="0" u="none" strike="noStrike" dirty="0">
                <a:solidFill>
                  <a:srgbClr val="151515"/>
                </a:solidFill>
                <a:effectLst/>
                <a:latin typeface="IBM Plex Sans" panose="020B0503050203000203" pitchFamily="34" charset="0"/>
              </a:rPr>
              <a:t>Это, пожалуй, самое важное в этой теме. Когда вариант, который будет показан каждому участнику теста, на самом деле случайный – это означает, что вероятность попасть в </a:t>
            </a:r>
            <a:r>
              <a:rPr lang="ru-RU" b="1" i="0" u="none" strike="noStrike" dirty="0">
                <a:solidFill>
                  <a:srgbClr val="151515"/>
                </a:solidFill>
                <a:effectLst/>
                <a:latin typeface="IBM Plex Sans" panose="020B0503050203000203" pitchFamily="34" charset="0"/>
              </a:rPr>
              <a:t>группу А</a:t>
            </a:r>
            <a:r>
              <a:rPr lang="ru-RU" b="0" i="0" u="none" strike="noStrike" dirty="0">
                <a:solidFill>
                  <a:srgbClr val="151515"/>
                </a:solidFill>
                <a:effectLst/>
                <a:latin typeface="IBM Plex Sans" panose="020B0503050203000203" pitchFamily="34" charset="0"/>
              </a:rPr>
              <a:t> или </a:t>
            </a:r>
            <a:r>
              <a:rPr lang="ru-RU" b="1" i="0" u="none" strike="noStrike" dirty="0">
                <a:solidFill>
                  <a:srgbClr val="151515"/>
                </a:solidFill>
                <a:effectLst/>
                <a:latin typeface="IBM Plex Sans" panose="020B0503050203000203" pitchFamily="34" charset="0"/>
              </a:rPr>
              <a:t>группу В</a:t>
            </a:r>
            <a:r>
              <a:rPr lang="ru-RU" b="0" i="0" u="none" strike="noStrike" dirty="0">
                <a:solidFill>
                  <a:srgbClr val="151515"/>
                </a:solidFill>
                <a:effectLst/>
                <a:latin typeface="IBM Plex Sans" panose="020B0503050203000203" pitchFamily="34" charset="0"/>
              </a:rPr>
              <a:t>, </a:t>
            </a:r>
            <a:r>
              <a:rPr lang="ru-RU" b="1" i="0" u="none" strike="noStrike" dirty="0">
                <a:solidFill>
                  <a:srgbClr val="151515"/>
                </a:solidFill>
                <a:effectLst/>
                <a:latin typeface="IBM Plex Sans" panose="020B0503050203000203" pitchFamily="34" charset="0"/>
              </a:rPr>
              <a:t>не зависит</a:t>
            </a:r>
            <a:r>
              <a:rPr lang="ru-RU" b="0" i="0" u="none" strike="noStrike" dirty="0">
                <a:solidFill>
                  <a:srgbClr val="151515"/>
                </a:solidFill>
                <a:effectLst/>
                <a:latin typeface="IBM Plex Sans" panose="020B0503050203000203" pitchFamily="34" charset="0"/>
              </a:rPr>
              <a:t> от свойств пользователя или других факторов среды.</a:t>
            </a:r>
          </a:p>
          <a:p>
            <a:pPr algn="l"/>
            <a:r>
              <a:rPr lang="ru-RU" b="0" i="0" u="none" strike="noStrike" dirty="0">
                <a:solidFill>
                  <a:srgbClr val="151515"/>
                </a:solidFill>
                <a:effectLst/>
                <a:latin typeface="IBM Plex Sans" panose="020B0503050203000203" pitchFamily="34" charset="0"/>
              </a:rPr>
              <a:t>Благодаря тому, что </a:t>
            </a:r>
            <a:r>
              <a:rPr lang="ru-RU" b="1" i="0" u="none" strike="noStrike" dirty="0">
                <a:solidFill>
                  <a:srgbClr val="151515"/>
                </a:solidFill>
                <a:effectLst/>
                <a:latin typeface="IBM Plex Sans" panose="020B0503050203000203" pitchFamily="34" charset="0"/>
              </a:rPr>
              <a:t>нет корреляции</a:t>
            </a:r>
            <a:r>
              <a:rPr lang="ru-RU" b="0" i="0" u="none" strike="noStrike" dirty="0">
                <a:solidFill>
                  <a:srgbClr val="151515"/>
                </a:solidFill>
                <a:effectLst/>
                <a:latin typeface="IBM Plex Sans" panose="020B0503050203000203" pitchFamily="34" charset="0"/>
              </a:rPr>
              <a:t>, мы можем ожидать, что все параметры пользователей будут распределены абсолютно одинаково в обеих группах.</a:t>
            </a:r>
          </a:p>
          <a:p>
            <a:r>
              <a:rPr lang="en-GB" b="1" i="0" u="none" strike="noStrike" dirty="0">
                <a:solidFill>
                  <a:srgbClr val="151515"/>
                </a:solidFill>
                <a:effectLst/>
                <a:latin typeface="IBM Plex Sans" panose="020B0503050203000203" pitchFamily="34" charset="0"/>
              </a:rPr>
              <a:t>A/B </a:t>
            </a:r>
            <a:r>
              <a:rPr lang="ru-RU" b="1" i="0" u="none" strike="noStrike" dirty="0">
                <a:solidFill>
                  <a:srgbClr val="151515"/>
                </a:solidFill>
                <a:effectLst/>
                <a:latin typeface="IBM Plex Sans" panose="020B0503050203000203" pitchFamily="34" charset="0"/>
              </a:rPr>
              <a:t>тестирование</a:t>
            </a:r>
            <a:r>
              <a:rPr lang="ru-RU" b="0" i="0" u="none" strike="noStrike" dirty="0">
                <a:solidFill>
                  <a:srgbClr val="151515"/>
                </a:solidFill>
                <a:effectLst/>
                <a:latin typeface="IBM Plex Sans" panose="020B0503050203000203" pitchFamily="34" charset="0"/>
              </a:rPr>
              <a:t> даёт более надёжные выводы</a:t>
            </a:r>
            <a:endParaRPr lang="en-RU" dirty="0"/>
          </a:p>
          <a:p>
            <a:endParaRPr lang="en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22150A-382B-F749-8703-69C6691C79AD}" type="slidenum">
              <a:rPr lang="en-RU" smtClean="0"/>
              <a:t>6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194347120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A4FF526-8C57-357B-0C7F-3B3A9B187E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073A869-5A0E-F6B3-499E-7041A69FB92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19DABDB-300E-12DB-C4B7-AA44B5CB66A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>
              <a:spcBef>
                <a:spcPts val="750"/>
              </a:spcBef>
            </a:pPr>
            <a:r>
              <a:rPr lang="ru-RU" b="0" i="0" u="none" strike="noStrike" dirty="0">
                <a:solidFill>
                  <a:srgbClr val="172B4D"/>
                </a:solidFill>
                <a:effectLst/>
                <a:latin typeface="-apple-system"/>
              </a:rPr>
              <a:t>В сервисе </a:t>
            </a:r>
            <a:r>
              <a:rPr lang="en-GB" b="0" i="0" u="none" strike="noStrike" dirty="0">
                <a:solidFill>
                  <a:srgbClr val="172B4D"/>
                </a:solidFill>
                <a:effectLst/>
                <a:latin typeface="-apple-system"/>
              </a:rPr>
              <a:t>A/B-test-</a:t>
            </a:r>
            <a:r>
              <a:rPr lang="en-GB" b="0" i="0" u="none" strike="noStrike" dirty="0" err="1">
                <a:solidFill>
                  <a:srgbClr val="172B4D"/>
                </a:solidFill>
                <a:effectLst/>
                <a:latin typeface="-apple-system"/>
              </a:rPr>
              <a:t>api</a:t>
            </a:r>
            <a:r>
              <a:rPr lang="en-GB" b="0" i="0" u="none" strike="noStrike" dirty="0">
                <a:solidFill>
                  <a:srgbClr val="172B4D"/>
                </a:solidFill>
                <a:effectLst/>
                <a:latin typeface="-apple-system"/>
              </a:rPr>
              <a:t> </a:t>
            </a:r>
            <a:r>
              <a:rPr lang="ru-RU" b="0" i="0" u="none" strike="noStrike" dirty="0">
                <a:solidFill>
                  <a:srgbClr val="172B4D"/>
                </a:solidFill>
                <a:effectLst/>
                <a:latin typeface="-apple-system"/>
              </a:rPr>
              <a:t>в каждом эксперименте мы можем определять динамически А/</a:t>
            </a:r>
            <a:r>
              <a:rPr lang="en-GB" b="0" i="0" u="none" strike="noStrike" dirty="0">
                <a:solidFill>
                  <a:srgbClr val="172B4D"/>
                </a:solidFill>
                <a:effectLst/>
                <a:latin typeface="-apple-system"/>
              </a:rPr>
              <a:t>B-</a:t>
            </a:r>
            <a:r>
              <a:rPr lang="ru-RU" b="0" i="0" u="none" strike="noStrike" dirty="0">
                <a:solidFill>
                  <a:srgbClr val="172B4D"/>
                </a:solidFill>
                <a:effectLst/>
                <a:latin typeface="-apple-system"/>
              </a:rPr>
              <a:t>группу для пользователя. Вычислять её как хеш-функцию от идентификатора пользователя, подмешивая </a:t>
            </a:r>
            <a:r>
              <a:rPr lang="en-GB" b="0" i="0" u="none" strike="noStrike" dirty="0">
                <a:solidFill>
                  <a:srgbClr val="172B4D"/>
                </a:solidFill>
                <a:effectLst/>
                <a:latin typeface="-apple-system"/>
              </a:rPr>
              <a:t>salt</a:t>
            </a:r>
            <a:r>
              <a:rPr lang="ru-RU" b="0" i="0" u="none" strike="noStrike" dirty="0">
                <a:solidFill>
                  <a:srgbClr val="172B4D"/>
                </a:solidFill>
                <a:effectLst/>
                <a:latin typeface="-apple-system"/>
              </a:rPr>
              <a:t> (она одинакова для всех пользователей одного слоя, не относится к </a:t>
            </a:r>
            <a:r>
              <a:rPr lang="ru-RU" b="0" i="0" u="none" strike="noStrike" dirty="0" err="1">
                <a:solidFill>
                  <a:srgbClr val="172B4D"/>
                </a:solidFill>
                <a:effectLst/>
                <a:latin typeface="-apple-system"/>
              </a:rPr>
              <a:t>пользователлю</a:t>
            </a:r>
            <a:r>
              <a:rPr lang="ru-RU" b="0" i="0" u="none" strike="noStrike" dirty="0">
                <a:solidFill>
                  <a:srgbClr val="172B4D"/>
                </a:solidFill>
                <a:effectLst/>
                <a:latin typeface="-apple-system"/>
              </a:rPr>
              <a:t>)</a:t>
            </a:r>
            <a:r>
              <a:rPr lang="en-GB" b="0" i="0" u="none" strike="noStrike" dirty="0">
                <a:solidFill>
                  <a:srgbClr val="172B4D"/>
                </a:solidFill>
                <a:effectLst/>
                <a:latin typeface="-apple-system"/>
              </a:rPr>
              <a:t>: A/</a:t>
            </a:r>
            <a:r>
              <a:rPr lang="en-GB" b="0" i="0" u="none" strike="noStrike" dirty="0" err="1">
                <a:solidFill>
                  <a:srgbClr val="172B4D"/>
                </a:solidFill>
                <a:effectLst/>
                <a:latin typeface="-apple-system"/>
              </a:rPr>
              <a:t>BGroup</a:t>
            </a:r>
            <a:r>
              <a:rPr lang="en-GB" b="0" i="0" u="none" strike="noStrike" dirty="0">
                <a:solidFill>
                  <a:srgbClr val="172B4D"/>
                </a:solidFill>
                <a:effectLst/>
                <a:latin typeface="-apple-system"/>
              </a:rPr>
              <a:t> = hash(</a:t>
            </a:r>
            <a:r>
              <a:rPr lang="en-GB" b="0" i="0" u="none" strike="noStrike" dirty="0" err="1">
                <a:solidFill>
                  <a:srgbClr val="172B4D"/>
                </a:solidFill>
                <a:effectLst/>
                <a:latin typeface="-apple-system"/>
              </a:rPr>
              <a:t>userID</a:t>
            </a:r>
            <a:r>
              <a:rPr lang="en-GB" b="0" i="0" u="none" strike="noStrike" dirty="0">
                <a:solidFill>
                  <a:srgbClr val="172B4D"/>
                </a:solidFill>
                <a:effectLst/>
                <a:latin typeface="-apple-system"/>
              </a:rPr>
              <a:t> + salt) %100 </a:t>
            </a:r>
          </a:p>
          <a:p>
            <a:pPr algn="l">
              <a:spcBef>
                <a:spcPts val="750"/>
              </a:spcBef>
            </a:pPr>
            <a:r>
              <a:rPr lang="ru-RU" b="0" i="0" u="none" strike="noStrike" dirty="0">
                <a:solidFill>
                  <a:srgbClr val="172B4D"/>
                </a:solidFill>
                <a:effectLst/>
                <a:latin typeface="-apple-system"/>
              </a:rPr>
              <a:t>Это позволяет также делать в </a:t>
            </a:r>
            <a:r>
              <a:rPr lang="en-GB" b="0" i="0" u="none" strike="noStrike" dirty="0">
                <a:solidFill>
                  <a:srgbClr val="172B4D"/>
                </a:solidFill>
                <a:effectLst/>
                <a:latin typeface="-apple-system"/>
              </a:rPr>
              <a:t>A/B-</a:t>
            </a:r>
            <a:r>
              <a:rPr lang="ru-RU" b="0" i="0" u="none" strike="noStrike" dirty="0">
                <a:solidFill>
                  <a:srgbClr val="172B4D"/>
                </a:solidFill>
                <a:effectLst/>
                <a:latin typeface="-apple-system"/>
              </a:rPr>
              <a:t>тестах слои и равномерно размазывать пользователей между всеми экспериментами. </a:t>
            </a:r>
          </a:p>
          <a:p>
            <a:pPr algn="l">
              <a:spcBef>
                <a:spcPts val="750"/>
              </a:spcBef>
            </a:pPr>
            <a:endParaRPr lang="ru-RU" b="0" i="0" u="none" strike="noStrike" dirty="0">
              <a:solidFill>
                <a:srgbClr val="172B4D"/>
              </a:solidFill>
              <a:effectLst/>
              <a:latin typeface="-apple-system"/>
            </a:endParaRPr>
          </a:p>
          <a:p>
            <a:pPr algn="l">
              <a:spcBef>
                <a:spcPts val="750"/>
              </a:spcBef>
            </a:pPr>
            <a:r>
              <a:rPr lang="ru-RU" b="0" i="0" u="none" strike="noStrike" dirty="0">
                <a:solidFill>
                  <a:srgbClr val="172B4D"/>
                </a:solidFill>
                <a:effectLst/>
                <a:latin typeface="-apple-system"/>
              </a:rPr>
              <a:t>Здесь я пишу именно про слой, потому что </a:t>
            </a:r>
            <a:r>
              <a:rPr lang="en-US" b="0" i="0" u="none" strike="noStrike" dirty="0">
                <a:solidFill>
                  <a:srgbClr val="172B4D"/>
                </a:solidFill>
                <a:effectLst/>
                <a:latin typeface="-apple-system"/>
              </a:rPr>
              <a:t>A/B </a:t>
            </a:r>
            <a:r>
              <a:rPr lang="ru-RU" b="0" i="0" u="none" strike="noStrike" dirty="0">
                <a:solidFill>
                  <a:srgbClr val="172B4D"/>
                </a:solidFill>
                <a:effectLst/>
                <a:latin typeface="-apple-system"/>
              </a:rPr>
              <a:t>платформа оперирует слоями экспериментов. Слой создается при создании эксперимента (</a:t>
            </a:r>
            <a:r>
              <a:rPr lang="en-GB" b="0" i="0" u="none" strike="noStrike" dirty="0">
                <a:solidFill>
                  <a:srgbClr val="172B4D"/>
                </a:solidFill>
                <a:effectLst/>
                <a:latin typeface="-apple-system"/>
              </a:rPr>
              <a:t>A/B </a:t>
            </a:r>
            <a:r>
              <a:rPr lang="ru-RU" b="0" i="0" u="none" strike="noStrike" dirty="0">
                <a:solidFill>
                  <a:srgbClr val="172B4D"/>
                </a:solidFill>
                <a:effectLst/>
                <a:latin typeface="-apple-system"/>
              </a:rPr>
              <a:t>теста или Фича-деплоя) с одноименным названием и таргетингом. Слой состоит из так называемых </a:t>
            </a:r>
            <a:r>
              <a:rPr lang="ru-RU" b="0" i="0" u="none" strike="noStrike" dirty="0" err="1">
                <a:solidFill>
                  <a:srgbClr val="172B4D"/>
                </a:solidFill>
                <a:effectLst/>
                <a:latin typeface="-apple-system"/>
              </a:rPr>
              <a:t>бакетов</a:t>
            </a:r>
            <a:r>
              <a:rPr lang="ru-RU" b="0" i="0" u="none" strike="noStrike" dirty="0">
                <a:solidFill>
                  <a:srgbClr val="172B4D"/>
                </a:solidFill>
                <a:effectLst/>
                <a:latin typeface="-apple-system"/>
              </a:rPr>
              <a:t> от 0 до 99, в которые и распределяются пользователи путем </a:t>
            </a:r>
            <a:r>
              <a:rPr lang="ru-RU" b="0" i="0" u="none" strike="noStrike" dirty="0" err="1">
                <a:solidFill>
                  <a:srgbClr val="172B4D"/>
                </a:solidFill>
                <a:effectLst/>
                <a:latin typeface="-apple-system"/>
              </a:rPr>
              <a:t>сплитования</a:t>
            </a:r>
            <a:r>
              <a:rPr lang="ru-RU" b="0" i="0" u="none" strike="noStrike" dirty="0">
                <a:solidFill>
                  <a:srgbClr val="172B4D"/>
                </a:solidFill>
                <a:effectLst/>
                <a:latin typeface="-apple-system"/>
              </a:rPr>
              <a:t>. </a:t>
            </a:r>
          </a:p>
          <a:p>
            <a:pPr algn="l">
              <a:spcBef>
                <a:spcPts val="750"/>
              </a:spcBef>
            </a:pPr>
            <a:endParaRPr lang="ru-RU" b="0" i="0" u="none" strike="noStrike" dirty="0">
              <a:solidFill>
                <a:srgbClr val="172B4D"/>
              </a:solidFill>
              <a:effectLst/>
              <a:latin typeface="-apple-system"/>
            </a:endParaRPr>
          </a:p>
          <a:p>
            <a:pPr algn="l">
              <a:spcBef>
                <a:spcPts val="750"/>
              </a:spcBef>
            </a:pPr>
            <a:r>
              <a:rPr lang="ru-RU" b="1" i="0" u="none" strike="noStrike" dirty="0">
                <a:solidFill>
                  <a:srgbClr val="172B4D"/>
                </a:solidFill>
                <a:effectLst/>
                <a:latin typeface="-apple-system"/>
              </a:rPr>
              <a:t>Слой  - это выборка аудитории</a:t>
            </a:r>
            <a:r>
              <a:rPr lang="ru-RU" b="0" i="0" u="none" strike="noStrike" dirty="0">
                <a:solidFill>
                  <a:srgbClr val="172B4D"/>
                </a:solidFill>
                <a:effectLst/>
                <a:latin typeface="-apple-system"/>
              </a:rPr>
              <a:t>, на которую запущено несколько непересекающихся экспериментов. </a:t>
            </a:r>
            <a:r>
              <a:rPr lang="ru-RU" b="0" i="0" u="none" strike="noStrike" dirty="0" err="1">
                <a:solidFill>
                  <a:srgbClr val="172B4D"/>
                </a:solidFill>
                <a:effectLst/>
                <a:latin typeface="-apple-system"/>
              </a:rPr>
              <a:t>По-умолчанию</a:t>
            </a:r>
            <a:r>
              <a:rPr lang="ru-RU" b="0" i="0" u="none" strike="noStrike" dirty="0">
                <a:solidFill>
                  <a:srgbClr val="172B4D"/>
                </a:solidFill>
                <a:effectLst/>
                <a:latin typeface="-apple-system"/>
              </a:rPr>
              <a:t> один эксперимент – один слой.</a:t>
            </a:r>
          </a:p>
          <a:p>
            <a:endParaRPr lang="en-RU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B506162-54A3-2411-23E3-C6F7A66D184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22150A-382B-F749-8703-69C6691C79AD}" type="slidenum">
              <a:rPr lang="en-RU" smtClean="0"/>
              <a:t>7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165483474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b="0" i="0" u="none" strike="noStrike" dirty="0">
                <a:solidFill>
                  <a:srgbClr val="151515"/>
                </a:solidFill>
                <a:effectLst/>
                <a:latin typeface="IBM Plex Sans" panose="020B0503050203000203" pitchFamily="34" charset="0"/>
              </a:rPr>
              <a:t>Провести </a:t>
            </a:r>
            <a:r>
              <a:rPr lang="en-GB" b="0" i="0" u="none" strike="noStrike" dirty="0">
                <a:solidFill>
                  <a:srgbClr val="151515"/>
                </a:solidFill>
                <a:effectLst/>
                <a:latin typeface="IBM Plex Sans" panose="020B0503050203000203" pitchFamily="34" charset="0"/>
              </a:rPr>
              <a:t>A/B </a:t>
            </a:r>
            <a:r>
              <a:rPr lang="ru-RU" b="0" i="0" u="none" strike="noStrike" dirty="0">
                <a:solidFill>
                  <a:srgbClr val="151515"/>
                </a:solidFill>
                <a:effectLst/>
                <a:latin typeface="IBM Plex Sans" panose="020B0503050203000203" pitchFamily="34" charset="0"/>
              </a:rPr>
              <a:t>тест - та еще головная боль с точки зрения разработки. Если нет какого-то централизованного инструмента для того, чтобы проводить </a:t>
            </a:r>
            <a:r>
              <a:rPr lang="en-US" b="0" i="0" u="none" strike="noStrike" dirty="0">
                <a:solidFill>
                  <a:srgbClr val="151515"/>
                </a:solidFill>
                <a:effectLst/>
                <a:latin typeface="IBM Plex Sans" panose="020B0503050203000203" pitchFamily="34" charset="0"/>
              </a:rPr>
              <a:t>A/B </a:t>
            </a:r>
            <a:r>
              <a:rPr lang="ru-RU" b="0" i="0" u="none" strike="noStrike" dirty="0">
                <a:solidFill>
                  <a:srgbClr val="151515"/>
                </a:solidFill>
                <a:effectLst/>
                <a:latin typeface="IBM Plex Sans" panose="020B0503050203000203" pitchFamily="34" charset="0"/>
              </a:rPr>
              <a:t>с двумя версиями страницы нужно: создать вторую версию страницы с другой картинкой. Прикрутить </a:t>
            </a:r>
            <a:r>
              <a:rPr lang="ru-RU" b="0" i="0" u="none" strike="noStrike" dirty="0" err="1">
                <a:solidFill>
                  <a:srgbClr val="151515"/>
                </a:solidFill>
                <a:effectLst/>
                <a:latin typeface="IBM Plex Sans" panose="020B0503050203000203" pitchFamily="34" charset="0"/>
              </a:rPr>
              <a:t>рандомайзер</a:t>
            </a:r>
            <a:r>
              <a:rPr lang="ru-RU" b="0" i="0" u="none" strike="noStrike" dirty="0">
                <a:solidFill>
                  <a:srgbClr val="151515"/>
                </a:solidFill>
                <a:effectLst/>
                <a:latin typeface="IBM Plex Sans" panose="020B0503050203000203" pitchFamily="34" charset="0"/>
              </a:rPr>
              <a:t>, чтобы выбрать, какой вариант показывать каждому пользователю. Отслеживать метрики отдельно для каждой группы, чтобы посчитать результаты. – это тяжело и дорого</a:t>
            </a:r>
          </a:p>
          <a:p>
            <a:r>
              <a:rPr lang="ru-RU" b="0" i="0" u="none" strike="noStrike" dirty="0">
                <a:solidFill>
                  <a:srgbClr val="333333"/>
                </a:solidFill>
                <a:effectLst/>
                <a:latin typeface="-apple-system"/>
              </a:rPr>
              <a:t>Наша платформа А/</a:t>
            </a:r>
            <a:r>
              <a:rPr lang="en-GB" b="0" i="0" u="none" strike="noStrike" dirty="0">
                <a:solidFill>
                  <a:srgbClr val="333333"/>
                </a:solidFill>
                <a:effectLst/>
                <a:latin typeface="-apple-system"/>
              </a:rPr>
              <a:t>B-</a:t>
            </a:r>
            <a:r>
              <a:rPr lang="ru-RU" b="0" i="0" u="none" strike="noStrike" dirty="0">
                <a:solidFill>
                  <a:srgbClr val="333333"/>
                </a:solidFill>
                <a:effectLst/>
                <a:latin typeface="-apple-system"/>
              </a:rPr>
              <a:t>тестов делится на 2 части:</a:t>
            </a:r>
          </a:p>
          <a:p>
            <a:pPr algn="l">
              <a:spcBef>
                <a:spcPts val="2400"/>
              </a:spcBef>
              <a:buFont typeface="+mj-lt"/>
              <a:buAutoNum type="arabicPeriod"/>
            </a:pPr>
            <a:r>
              <a:rPr lang="ru-RU" b="1" i="0" u="none" strike="noStrike" dirty="0">
                <a:solidFill>
                  <a:srgbClr val="333333"/>
                </a:solidFill>
                <a:effectLst/>
                <a:latin typeface="-apple-system"/>
              </a:rPr>
              <a:t>Платформа </a:t>
            </a:r>
            <a:r>
              <a:rPr lang="ru-RU" b="1" i="0" u="none" strike="noStrike" dirty="0" err="1">
                <a:solidFill>
                  <a:srgbClr val="333333"/>
                </a:solidFill>
                <a:effectLst/>
                <a:latin typeface="-apple-system"/>
              </a:rPr>
              <a:t>сплитования</a:t>
            </a:r>
            <a:r>
              <a:rPr lang="ru-RU" b="1" i="0" u="none" strike="noStrike" dirty="0">
                <a:solidFill>
                  <a:srgbClr val="333333"/>
                </a:solidFill>
                <a:effectLst/>
                <a:latin typeface="-apple-system"/>
              </a:rPr>
              <a:t> пользователей.</a:t>
            </a:r>
            <a:r>
              <a:rPr lang="ru-RU" b="0" i="0" u="none" strike="noStrike" dirty="0">
                <a:solidFill>
                  <a:srgbClr val="333333"/>
                </a:solidFill>
                <a:effectLst/>
                <a:latin typeface="-apple-system"/>
              </a:rPr>
              <a:t> Она предоставляет возможность в </a:t>
            </a:r>
            <a:r>
              <a:rPr lang="ru-RU" b="0" i="0" u="none" strike="noStrike" dirty="0" err="1">
                <a:solidFill>
                  <a:srgbClr val="333333"/>
                </a:solidFill>
                <a:effectLst/>
                <a:latin typeface="-apple-system"/>
              </a:rPr>
              <a:t>реалтайме</a:t>
            </a:r>
            <a:r>
              <a:rPr lang="ru-RU" b="0" i="0" u="none" strike="noStrike" dirty="0">
                <a:solidFill>
                  <a:srgbClr val="333333"/>
                </a:solidFill>
                <a:effectLst/>
                <a:latin typeface="-apple-system"/>
              </a:rPr>
              <a:t> делить пользователей на группы (тестовую и контрольную), определять, в какие эксперименты попал пользователь, возвращая включённые для него фичи. Система </a:t>
            </a:r>
            <a:r>
              <a:rPr lang="ru-RU" b="0" i="0" u="none" strike="noStrike" dirty="0" err="1">
                <a:solidFill>
                  <a:srgbClr val="333333"/>
                </a:solidFill>
                <a:effectLst/>
                <a:latin typeface="-apple-system"/>
              </a:rPr>
              <a:t>сплитования</a:t>
            </a:r>
            <a:r>
              <a:rPr lang="ru-RU" b="0" i="0" u="none" strike="noStrike" dirty="0">
                <a:solidFill>
                  <a:srgbClr val="333333"/>
                </a:solidFill>
                <a:effectLst/>
                <a:latin typeface="-apple-system"/>
              </a:rPr>
              <a:t> пользователей обеспечивает выдерживание большого </a:t>
            </a:r>
            <a:r>
              <a:rPr lang="en-GB" b="0" i="0" u="none" strike="noStrike" dirty="0">
                <a:solidFill>
                  <a:srgbClr val="333333"/>
                </a:solidFill>
                <a:effectLst/>
                <a:latin typeface="-apple-system"/>
              </a:rPr>
              <a:t>RPS, </a:t>
            </a:r>
            <a:r>
              <a:rPr lang="ru-RU" b="0" i="0" u="none" strike="noStrike" dirty="0">
                <a:solidFill>
                  <a:srgbClr val="333333"/>
                </a:solidFill>
                <a:effectLst/>
                <a:latin typeface="-apple-system"/>
              </a:rPr>
              <a:t>инструменты интеграции с </a:t>
            </a:r>
            <a:r>
              <a:rPr lang="ru-RU" b="0" i="0" u="none" strike="noStrike" dirty="0" err="1">
                <a:solidFill>
                  <a:srgbClr val="333333"/>
                </a:solidFill>
                <a:effectLst/>
                <a:latin typeface="-apple-system"/>
              </a:rPr>
              <a:t>фронтенд</a:t>
            </a:r>
            <a:r>
              <a:rPr lang="ru-RU" b="0" i="0" u="none" strike="noStrike" dirty="0">
                <a:solidFill>
                  <a:srgbClr val="333333"/>
                </a:solidFill>
                <a:effectLst/>
                <a:latin typeface="-apple-system"/>
              </a:rPr>
              <a:t>- и бэкенд-</a:t>
            </a:r>
            <a:r>
              <a:rPr lang="ru-RU" b="0" i="0" u="none" strike="noStrike" dirty="0" err="1">
                <a:solidFill>
                  <a:srgbClr val="333333"/>
                </a:solidFill>
                <a:effectLst/>
                <a:latin typeface="-apple-system"/>
              </a:rPr>
              <a:t>микросервисами</a:t>
            </a:r>
            <a:r>
              <a:rPr lang="ru-RU" b="0" i="0" u="none" strike="noStrike" dirty="0">
                <a:solidFill>
                  <a:srgbClr val="333333"/>
                </a:solidFill>
                <a:effectLst/>
                <a:latin typeface="-apple-system"/>
              </a:rPr>
              <a:t>, отвечает за запуск и остановку экспериментов и выполняет другие функции. </a:t>
            </a:r>
          </a:p>
          <a:p>
            <a:pPr algn="l">
              <a:spcBef>
                <a:spcPts val="2400"/>
              </a:spcBef>
              <a:buFont typeface="+mj-lt"/>
              <a:buAutoNum type="arabicPeriod" startAt="2"/>
            </a:pPr>
            <a:r>
              <a:rPr lang="ru-RU" b="1" i="0" u="none" strike="noStrike" dirty="0">
                <a:solidFill>
                  <a:srgbClr val="333333"/>
                </a:solidFill>
                <a:effectLst/>
                <a:latin typeface="-apple-system"/>
              </a:rPr>
              <a:t>Стенд метрик.</a:t>
            </a:r>
            <a:r>
              <a:rPr lang="ru-RU" b="0" i="0" u="none" strike="noStrike" dirty="0">
                <a:solidFill>
                  <a:srgbClr val="333333"/>
                </a:solidFill>
                <a:effectLst/>
                <a:latin typeface="-apple-system"/>
              </a:rPr>
              <a:t> Он обеспечивает расчёт метрик из разных источников данных, обрабатывая терабайты информации, вычисляет критерии статистической значимости и отдаёт результаты экспериментов. </a:t>
            </a:r>
          </a:p>
          <a:p>
            <a:endParaRPr lang="en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22150A-382B-F749-8703-69C6691C79AD}" type="slidenum">
              <a:rPr lang="en-RU" smtClean="0"/>
              <a:t>8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326248019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b="0" i="0" u="none" strike="noStrike" dirty="0">
                <a:solidFill>
                  <a:srgbClr val="333333"/>
                </a:solidFill>
                <a:effectLst/>
                <a:latin typeface="-apple-system"/>
              </a:rPr>
              <a:t>тестовое изменение структуры </a:t>
            </a:r>
            <a:r>
              <a:rPr lang="ru-RU" b="0" i="0" u="none" strike="noStrike" dirty="0" err="1">
                <a:solidFill>
                  <a:srgbClr val="333333"/>
                </a:solidFill>
                <a:effectLst/>
                <a:latin typeface="-apple-system"/>
              </a:rPr>
              <a:t>хайлайта</a:t>
            </a:r>
            <a:r>
              <a:rPr lang="ru-RU" b="0" i="0" u="none" strike="noStrike" dirty="0">
                <a:solidFill>
                  <a:srgbClr val="333333"/>
                </a:solidFill>
                <a:effectLst/>
                <a:latin typeface="-apple-system"/>
              </a:rPr>
              <a:t> "Топ-выгода"</a:t>
            </a:r>
            <a:endParaRPr lang="en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22150A-382B-F749-8703-69C6691C79AD}" type="slidenum">
              <a:rPr lang="en-RU" smtClean="0"/>
              <a:t>9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2952164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oleObject" Target="../embeddings/oleObject2.bin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5" Type="http://schemas.openxmlformats.org/officeDocument/2006/relationships/tags" Target="../tags/tag6.xml"/><Relationship Id="rId10" Type="http://schemas.openxmlformats.org/officeDocument/2006/relationships/tags" Target="../tags/tag11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tags" Target="../tags/tag47.xml"/><Relationship Id="rId13" Type="http://schemas.openxmlformats.org/officeDocument/2006/relationships/oleObject" Target="../embeddings/oleObject2.bin"/><Relationship Id="rId3" Type="http://schemas.openxmlformats.org/officeDocument/2006/relationships/tags" Target="../tags/tag42.xml"/><Relationship Id="rId7" Type="http://schemas.openxmlformats.org/officeDocument/2006/relationships/tags" Target="../tags/tag46.xml"/><Relationship Id="rId12" Type="http://schemas.openxmlformats.org/officeDocument/2006/relationships/slideMaster" Target="../slideMasters/slideMaster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tags" Target="../tags/tag45.xml"/><Relationship Id="rId11" Type="http://schemas.openxmlformats.org/officeDocument/2006/relationships/tags" Target="../tags/tag50.xml"/><Relationship Id="rId5" Type="http://schemas.openxmlformats.org/officeDocument/2006/relationships/tags" Target="../tags/tag44.xml"/><Relationship Id="rId10" Type="http://schemas.openxmlformats.org/officeDocument/2006/relationships/tags" Target="../tags/tag49.xml"/><Relationship Id="rId4" Type="http://schemas.openxmlformats.org/officeDocument/2006/relationships/tags" Target="../tags/tag43.xml"/><Relationship Id="rId9" Type="http://schemas.openxmlformats.org/officeDocument/2006/relationships/tags" Target="../tags/tag48.xml"/><Relationship Id="rId1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1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2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3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4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5.xml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63.xml"/><Relationship Id="rId13" Type="http://schemas.openxmlformats.org/officeDocument/2006/relationships/oleObject" Target="../embeddings/oleObject2.bin"/><Relationship Id="rId3" Type="http://schemas.openxmlformats.org/officeDocument/2006/relationships/tags" Target="../tags/tag58.xml"/><Relationship Id="rId7" Type="http://schemas.openxmlformats.org/officeDocument/2006/relationships/tags" Target="../tags/tag62.xml"/><Relationship Id="rId12" Type="http://schemas.openxmlformats.org/officeDocument/2006/relationships/slideMaster" Target="../slideMasters/slideMaster2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6" Type="http://schemas.openxmlformats.org/officeDocument/2006/relationships/tags" Target="../tags/tag61.xml"/><Relationship Id="rId11" Type="http://schemas.openxmlformats.org/officeDocument/2006/relationships/tags" Target="../tags/tag66.xml"/><Relationship Id="rId5" Type="http://schemas.openxmlformats.org/officeDocument/2006/relationships/tags" Target="../tags/tag60.xml"/><Relationship Id="rId10" Type="http://schemas.openxmlformats.org/officeDocument/2006/relationships/tags" Target="../tags/tag65.xml"/><Relationship Id="rId4" Type="http://schemas.openxmlformats.org/officeDocument/2006/relationships/tags" Target="../tags/tag59.xml"/><Relationship Id="rId9" Type="http://schemas.openxmlformats.org/officeDocument/2006/relationships/tags" Target="../tags/tag64.xml"/><Relationship Id="rId1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7.xml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8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9.xml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0.xml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1.xml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2.xml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5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6.xml"/><Relationship Id="rId4" Type="http://schemas.openxmlformats.org/officeDocument/2006/relationships/image" Target="../media/image1.emf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13" Type="http://schemas.openxmlformats.org/officeDocument/2006/relationships/oleObject" Target="../embeddings/oleObject2.bin"/><Relationship Id="rId3" Type="http://schemas.openxmlformats.org/officeDocument/2006/relationships/tags" Target="../tags/tag20.xml"/><Relationship Id="rId7" Type="http://schemas.openxmlformats.org/officeDocument/2006/relationships/tags" Target="../tags/tag24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tags" Target="../tags/tag23.xml"/><Relationship Id="rId11" Type="http://schemas.openxmlformats.org/officeDocument/2006/relationships/tags" Target="../tags/tag28.xml"/><Relationship Id="rId5" Type="http://schemas.openxmlformats.org/officeDocument/2006/relationships/tags" Target="../tags/tag22.xml"/><Relationship Id="rId10" Type="http://schemas.openxmlformats.org/officeDocument/2006/relationships/tags" Target="../tags/tag27.xml"/><Relationship Id="rId4" Type="http://schemas.openxmlformats.org/officeDocument/2006/relationships/tags" Target="../tags/tag21.xml"/><Relationship Id="rId9" Type="http://schemas.openxmlformats.org/officeDocument/2006/relationships/tags" Target="../tags/tag26.xml"/><Relationship Id="rId1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_ligh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Группа 5">
            <a:extLst>
              <a:ext uri="{FF2B5EF4-FFF2-40B4-BE49-F238E27FC236}">
                <a16:creationId xmlns:a16="http://schemas.microsoft.com/office/drawing/2014/main" id="{4670823B-F74E-8791-1532-CF98E8BECBE4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549398" y="883609"/>
            <a:ext cx="2131200" cy="473348"/>
            <a:chOff x="8489504" y="910877"/>
            <a:chExt cx="2734509" cy="606592"/>
          </a:xfrm>
          <a:solidFill>
            <a:schemeClr val="bg1"/>
          </a:solidFill>
        </p:grpSpPr>
        <p:sp>
          <p:nvSpPr>
            <p:cNvPr id="10" name="Полилиния 9">
              <a:extLst>
                <a:ext uri="{FF2B5EF4-FFF2-40B4-BE49-F238E27FC236}">
                  <a16:creationId xmlns:a16="http://schemas.microsoft.com/office/drawing/2014/main" id="{5B2F7226-4181-51B3-0BF7-C4B60DE629FE}"/>
                </a:ext>
              </a:extLst>
            </p:cNvPr>
            <p:cNvSpPr/>
            <p:nvPr/>
          </p:nvSpPr>
          <p:spPr>
            <a:xfrm>
              <a:off x="10064626" y="910877"/>
              <a:ext cx="1159387" cy="606592"/>
            </a:xfrm>
            <a:custGeom>
              <a:avLst/>
              <a:gdLst>
                <a:gd name="connsiteX0" fmla="*/ 0 w 1159387"/>
                <a:gd name="connsiteY0" fmla="*/ 178242 h 606592"/>
                <a:gd name="connsiteX1" fmla="*/ 0 w 1159387"/>
                <a:gd name="connsiteY1" fmla="*/ 237024 h 606592"/>
                <a:gd name="connsiteX2" fmla="*/ 9135 w 1159387"/>
                <a:gd name="connsiteY2" fmla="*/ 246098 h 606592"/>
                <a:gd name="connsiteX3" fmla="*/ 30214 w 1159387"/>
                <a:gd name="connsiteY3" fmla="*/ 250009 h 606592"/>
                <a:gd name="connsiteX4" fmla="*/ 32261 w 1159387"/>
                <a:gd name="connsiteY4" fmla="*/ 250607 h 606592"/>
                <a:gd name="connsiteX5" fmla="*/ 85030 w 1159387"/>
                <a:gd name="connsiteY5" fmla="*/ 319338 h 606592"/>
                <a:gd name="connsiteX6" fmla="*/ 85030 w 1159387"/>
                <a:gd name="connsiteY6" fmla="*/ 483817 h 606592"/>
                <a:gd name="connsiteX7" fmla="*/ 120863 w 1159387"/>
                <a:gd name="connsiteY7" fmla="*/ 570989 h 606592"/>
                <a:gd name="connsiteX8" fmla="*/ 205874 w 1159387"/>
                <a:gd name="connsiteY8" fmla="*/ 606364 h 606592"/>
                <a:gd name="connsiteX9" fmla="*/ 207284 w 1159387"/>
                <a:gd name="connsiteY9" fmla="*/ 606364 h 606592"/>
                <a:gd name="connsiteX10" fmla="*/ 235964 w 1159387"/>
                <a:gd name="connsiteY10" fmla="*/ 606364 h 606592"/>
                <a:gd name="connsiteX11" fmla="*/ 247356 w 1159387"/>
                <a:gd name="connsiteY11" fmla="*/ 593268 h 606592"/>
                <a:gd name="connsiteX12" fmla="*/ 247337 w 1159387"/>
                <a:gd name="connsiteY12" fmla="*/ 563750 h 606592"/>
                <a:gd name="connsiteX13" fmla="*/ 247337 w 1159387"/>
                <a:gd name="connsiteY13" fmla="*/ 541928 h 606592"/>
                <a:gd name="connsiteX14" fmla="*/ 236802 w 1159387"/>
                <a:gd name="connsiteY14" fmla="*/ 530565 h 606592"/>
                <a:gd name="connsiteX15" fmla="*/ 197454 w 1159387"/>
                <a:gd name="connsiteY15" fmla="*/ 530527 h 606592"/>
                <a:gd name="connsiteX16" fmla="*/ 159506 w 1159387"/>
                <a:gd name="connsiteY16" fmla="*/ 492285 h 606592"/>
                <a:gd name="connsiteX17" fmla="*/ 159506 w 1159387"/>
                <a:gd name="connsiteY17" fmla="*/ 403084 h 606592"/>
                <a:gd name="connsiteX18" fmla="*/ 159506 w 1159387"/>
                <a:gd name="connsiteY18" fmla="*/ 316772 h 606592"/>
                <a:gd name="connsiteX19" fmla="*/ 100365 w 1159387"/>
                <a:gd name="connsiteY19" fmla="*/ 207274 h 606592"/>
                <a:gd name="connsiteX20" fmla="*/ 99080 w 1159387"/>
                <a:gd name="connsiteY20" fmla="*/ 206423 h 606592"/>
                <a:gd name="connsiteX21" fmla="*/ 100356 w 1159387"/>
                <a:gd name="connsiteY21" fmla="*/ 205547 h 606592"/>
                <a:gd name="connsiteX22" fmla="*/ 159506 w 1159387"/>
                <a:gd name="connsiteY22" fmla="*/ 90665 h 606592"/>
                <a:gd name="connsiteX23" fmla="*/ 159506 w 1159387"/>
                <a:gd name="connsiteY23" fmla="*/ 10992 h 606592"/>
                <a:gd name="connsiteX24" fmla="*/ 148962 w 1159387"/>
                <a:gd name="connsiteY24" fmla="*/ 0 h 606592"/>
                <a:gd name="connsiteX25" fmla="*/ 95565 w 1159387"/>
                <a:gd name="connsiteY25" fmla="*/ 0 h 606592"/>
                <a:gd name="connsiteX26" fmla="*/ 85030 w 1159387"/>
                <a:gd name="connsiteY26" fmla="*/ 10992 h 606592"/>
                <a:gd name="connsiteX27" fmla="*/ 85030 w 1159387"/>
                <a:gd name="connsiteY27" fmla="*/ 90665 h 606592"/>
                <a:gd name="connsiteX28" fmla="*/ 32366 w 1159387"/>
                <a:gd name="connsiteY28" fmla="*/ 162761 h 606592"/>
                <a:gd name="connsiteX29" fmla="*/ 30214 w 1159387"/>
                <a:gd name="connsiteY29" fmla="*/ 163402 h 606592"/>
                <a:gd name="connsiteX30" fmla="*/ 9135 w 1159387"/>
                <a:gd name="connsiteY30" fmla="*/ 167302 h 606592"/>
                <a:gd name="connsiteX31" fmla="*/ 0 w 1159387"/>
                <a:gd name="connsiteY31" fmla="*/ 178242 h 606592"/>
                <a:gd name="connsiteX32" fmla="*/ 933768 w 1159387"/>
                <a:gd name="connsiteY32" fmla="*/ 313343 h 606592"/>
                <a:gd name="connsiteX33" fmla="*/ 933768 w 1159387"/>
                <a:gd name="connsiteY33" fmla="*/ 468558 h 606592"/>
                <a:gd name="connsiteX34" fmla="*/ 930749 w 1159387"/>
                <a:gd name="connsiteY34" fmla="*/ 475902 h 606592"/>
                <a:gd name="connsiteX35" fmla="*/ 923472 w 1159387"/>
                <a:gd name="connsiteY35" fmla="*/ 478940 h 606592"/>
                <a:gd name="connsiteX36" fmla="*/ 869627 w 1159387"/>
                <a:gd name="connsiteY36" fmla="*/ 478902 h 606592"/>
                <a:gd name="connsiteX37" fmla="*/ 859349 w 1159387"/>
                <a:gd name="connsiteY37" fmla="*/ 468530 h 606592"/>
                <a:gd name="connsiteX38" fmla="*/ 859349 w 1159387"/>
                <a:gd name="connsiteY38" fmla="*/ 10375 h 606592"/>
                <a:gd name="connsiteX39" fmla="*/ 869636 w 1159387"/>
                <a:gd name="connsiteY39" fmla="*/ 0 h 606592"/>
                <a:gd name="connsiteX40" fmla="*/ 923472 w 1159387"/>
                <a:gd name="connsiteY40" fmla="*/ 0 h 606592"/>
                <a:gd name="connsiteX41" fmla="*/ 933768 w 1159387"/>
                <a:gd name="connsiteY41" fmla="*/ 10375 h 606592"/>
                <a:gd name="connsiteX42" fmla="*/ 933768 w 1159387"/>
                <a:gd name="connsiteY42" fmla="*/ 193355 h 606592"/>
                <a:gd name="connsiteX43" fmla="*/ 1159388 w 1159387"/>
                <a:gd name="connsiteY43" fmla="*/ 312995 h 606592"/>
                <a:gd name="connsiteX44" fmla="*/ 1159388 w 1159387"/>
                <a:gd name="connsiteY44" fmla="*/ 468520 h 606592"/>
                <a:gd name="connsiteX45" fmla="*/ 1156378 w 1159387"/>
                <a:gd name="connsiteY45" fmla="*/ 475854 h 606592"/>
                <a:gd name="connsiteX46" fmla="*/ 1149101 w 1159387"/>
                <a:gd name="connsiteY46" fmla="*/ 478893 h 606592"/>
                <a:gd name="connsiteX47" fmla="*/ 1095199 w 1159387"/>
                <a:gd name="connsiteY47" fmla="*/ 478893 h 606592"/>
                <a:gd name="connsiteX48" fmla="*/ 1087922 w 1159387"/>
                <a:gd name="connsiteY48" fmla="*/ 475854 h 606592"/>
                <a:gd name="connsiteX49" fmla="*/ 1084912 w 1159387"/>
                <a:gd name="connsiteY49" fmla="*/ 468520 h 606592"/>
                <a:gd name="connsiteX50" fmla="*/ 1084912 w 1159387"/>
                <a:gd name="connsiteY50" fmla="*/ 312995 h 606592"/>
                <a:gd name="connsiteX51" fmla="*/ 966868 w 1159387"/>
                <a:gd name="connsiteY51" fmla="*/ 246504 h 606592"/>
                <a:gd name="connsiteX52" fmla="*/ 933768 w 1159387"/>
                <a:gd name="connsiteY52" fmla="*/ 313343 h 606592"/>
                <a:gd name="connsiteX53" fmla="*/ 596563 w 1159387"/>
                <a:gd name="connsiteY53" fmla="*/ 207040 h 606592"/>
                <a:gd name="connsiteX54" fmla="*/ 549471 w 1159387"/>
                <a:gd name="connsiteY54" fmla="*/ 323084 h 606592"/>
                <a:gd name="connsiteX55" fmla="*/ 596563 w 1159387"/>
                <a:gd name="connsiteY55" fmla="*/ 439145 h 606592"/>
                <a:gd name="connsiteX56" fmla="*/ 797522 w 1159387"/>
                <a:gd name="connsiteY56" fmla="*/ 460995 h 606592"/>
                <a:gd name="connsiteX57" fmla="*/ 799923 w 1159387"/>
                <a:gd name="connsiteY57" fmla="*/ 459357 h 606592"/>
                <a:gd name="connsiteX58" fmla="*/ 805247 w 1159387"/>
                <a:gd name="connsiteY58" fmla="*/ 455385 h 606592"/>
                <a:gd name="connsiteX59" fmla="*/ 806018 w 1159387"/>
                <a:gd name="connsiteY59" fmla="*/ 438745 h 606592"/>
                <a:gd name="connsiteX60" fmla="*/ 790226 w 1159387"/>
                <a:gd name="connsiteY60" fmla="*/ 417067 h 606592"/>
                <a:gd name="connsiteX61" fmla="*/ 776110 w 1159387"/>
                <a:gd name="connsiteY61" fmla="*/ 397747 h 606592"/>
                <a:gd name="connsiteX62" fmla="*/ 760975 w 1159387"/>
                <a:gd name="connsiteY62" fmla="*/ 394585 h 606592"/>
                <a:gd name="connsiteX63" fmla="*/ 757003 w 1159387"/>
                <a:gd name="connsiteY63" fmla="*/ 397067 h 606592"/>
                <a:gd name="connsiteX64" fmla="*/ 619737 w 1159387"/>
                <a:gd name="connsiteY64" fmla="*/ 323084 h 606592"/>
                <a:gd name="connsiteX65" fmla="*/ 756945 w 1159387"/>
                <a:gd name="connsiteY65" fmla="*/ 249203 h 606592"/>
                <a:gd name="connsiteX66" fmla="*/ 760975 w 1159387"/>
                <a:gd name="connsiteY66" fmla="*/ 251591 h 606592"/>
                <a:gd name="connsiteX67" fmla="*/ 776148 w 1159387"/>
                <a:gd name="connsiteY67" fmla="*/ 248416 h 606592"/>
                <a:gd name="connsiteX68" fmla="*/ 790207 w 1159387"/>
                <a:gd name="connsiteY68" fmla="*/ 229138 h 606592"/>
                <a:gd name="connsiteX69" fmla="*/ 804618 w 1159387"/>
                <a:gd name="connsiteY69" fmla="*/ 209395 h 606592"/>
                <a:gd name="connsiteX70" fmla="*/ 799903 w 1159387"/>
                <a:gd name="connsiteY70" fmla="*/ 186809 h 606592"/>
                <a:gd name="connsiteX71" fmla="*/ 797522 w 1159387"/>
                <a:gd name="connsiteY71" fmla="*/ 185195 h 606592"/>
                <a:gd name="connsiteX72" fmla="*/ 596563 w 1159387"/>
                <a:gd name="connsiteY72" fmla="*/ 207040 h 606592"/>
                <a:gd name="connsiteX73" fmla="*/ 293714 w 1159387"/>
                <a:gd name="connsiteY73" fmla="*/ 350313 h 606592"/>
                <a:gd name="connsiteX74" fmla="*/ 469385 w 1159387"/>
                <a:gd name="connsiteY74" fmla="*/ 350313 h 606592"/>
                <a:gd name="connsiteX75" fmla="*/ 507323 w 1159387"/>
                <a:gd name="connsiteY75" fmla="*/ 312290 h 606592"/>
                <a:gd name="connsiteX76" fmla="*/ 472890 w 1159387"/>
                <a:gd name="connsiteY76" fmla="*/ 208836 h 606592"/>
                <a:gd name="connsiteX77" fmla="*/ 368190 w 1159387"/>
                <a:gd name="connsiteY77" fmla="*/ 159530 h 606592"/>
                <a:gd name="connsiteX78" fmla="*/ 219228 w 1159387"/>
                <a:gd name="connsiteY78" fmla="*/ 323103 h 606592"/>
                <a:gd name="connsiteX79" fmla="*/ 375915 w 1159387"/>
                <a:gd name="connsiteY79" fmla="*/ 486674 h 606592"/>
                <a:gd name="connsiteX80" fmla="*/ 502398 w 1159387"/>
                <a:gd name="connsiteY80" fmla="*/ 450623 h 606592"/>
                <a:gd name="connsiteX81" fmla="*/ 505913 w 1159387"/>
                <a:gd name="connsiteY81" fmla="*/ 435907 h 606592"/>
                <a:gd name="connsiteX82" fmla="*/ 504818 w 1159387"/>
                <a:gd name="connsiteY82" fmla="*/ 434088 h 606592"/>
                <a:gd name="connsiteX83" fmla="*/ 478519 w 1159387"/>
                <a:gd name="connsiteY83" fmla="*/ 391689 h 606592"/>
                <a:gd name="connsiteX84" fmla="*/ 464460 w 1159387"/>
                <a:gd name="connsiteY84" fmla="*/ 388476 h 606592"/>
                <a:gd name="connsiteX85" fmla="*/ 377335 w 1159387"/>
                <a:gd name="connsiteY85" fmla="*/ 414990 h 606592"/>
                <a:gd name="connsiteX86" fmla="*/ 293714 w 1159387"/>
                <a:gd name="connsiteY86" fmla="*/ 350313 h 606592"/>
                <a:gd name="connsiteX87" fmla="*/ 430732 w 1159387"/>
                <a:gd name="connsiteY87" fmla="*/ 287912 h 606592"/>
                <a:gd name="connsiteX88" fmla="*/ 368190 w 1159387"/>
                <a:gd name="connsiteY88" fmla="*/ 232071 h 606592"/>
                <a:gd name="connsiteX89" fmla="*/ 296524 w 1159387"/>
                <a:gd name="connsiteY89" fmla="*/ 287912 h 606592"/>
                <a:gd name="connsiteX90" fmla="*/ 430732 w 1159387"/>
                <a:gd name="connsiteY90" fmla="*/ 287912 h 606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</a:cxnLst>
              <a:rect l="l" t="t" r="r" b="b"/>
              <a:pathLst>
                <a:path w="1159387" h="606592">
                  <a:moveTo>
                    <a:pt x="0" y="178242"/>
                  </a:moveTo>
                  <a:lnTo>
                    <a:pt x="0" y="237024"/>
                  </a:lnTo>
                  <a:cubicBezTo>
                    <a:pt x="695" y="241577"/>
                    <a:pt x="4220" y="245266"/>
                    <a:pt x="9135" y="246098"/>
                  </a:cubicBezTo>
                  <a:cubicBezTo>
                    <a:pt x="16869" y="247387"/>
                    <a:pt x="27404" y="249197"/>
                    <a:pt x="30214" y="250009"/>
                  </a:cubicBezTo>
                  <a:cubicBezTo>
                    <a:pt x="30833" y="250193"/>
                    <a:pt x="31518" y="250390"/>
                    <a:pt x="32261" y="250607"/>
                  </a:cubicBezTo>
                  <a:cubicBezTo>
                    <a:pt x="46749" y="254784"/>
                    <a:pt x="83697" y="265433"/>
                    <a:pt x="85030" y="319338"/>
                  </a:cubicBezTo>
                  <a:lnTo>
                    <a:pt x="85030" y="483817"/>
                  </a:lnTo>
                  <a:cubicBezTo>
                    <a:pt x="85030" y="516573"/>
                    <a:pt x="97670" y="547958"/>
                    <a:pt x="120863" y="570989"/>
                  </a:cubicBezTo>
                  <a:cubicBezTo>
                    <a:pt x="143342" y="593696"/>
                    <a:pt x="174261" y="606402"/>
                    <a:pt x="205874" y="606364"/>
                  </a:cubicBezTo>
                  <a:lnTo>
                    <a:pt x="207284" y="606364"/>
                  </a:lnTo>
                  <a:cubicBezTo>
                    <a:pt x="207284" y="606364"/>
                    <a:pt x="207284" y="606879"/>
                    <a:pt x="235964" y="606364"/>
                  </a:cubicBezTo>
                  <a:cubicBezTo>
                    <a:pt x="243232" y="606231"/>
                    <a:pt x="247461" y="601383"/>
                    <a:pt x="247356" y="593268"/>
                  </a:cubicBezTo>
                  <a:cubicBezTo>
                    <a:pt x="247222" y="582028"/>
                    <a:pt x="247527" y="573246"/>
                    <a:pt x="247337" y="563750"/>
                  </a:cubicBezTo>
                  <a:cubicBezTo>
                    <a:pt x="247184" y="555816"/>
                    <a:pt x="247337" y="548520"/>
                    <a:pt x="247337" y="541928"/>
                  </a:cubicBezTo>
                  <a:cubicBezTo>
                    <a:pt x="247337" y="535804"/>
                    <a:pt x="242422" y="530794"/>
                    <a:pt x="236802" y="530565"/>
                  </a:cubicBezTo>
                  <a:cubicBezTo>
                    <a:pt x="226258" y="530527"/>
                    <a:pt x="211504" y="530527"/>
                    <a:pt x="197454" y="530527"/>
                  </a:cubicBezTo>
                  <a:cubicBezTo>
                    <a:pt x="177071" y="530527"/>
                    <a:pt x="159506" y="513401"/>
                    <a:pt x="159506" y="492285"/>
                  </a:cubicBezTo>
                  <a:lnTo>
                    <a:pt x="159506" y="403084"/>
                  </a:lnTo>
                  <a:cubicBezTo>
                    <a:pt x="160202" y="402874"/>
                    <a:pt x="159506" y="317750"/>
                    <a:pt x="159506" y="316772"/>
                  </a:cubicBezTo>
                  <a:cubicBezTo>
                    <a:pt x="157544" y="243958"/>
                    <a:pt x="109233" y="212964"/>
                    <a:pt x="100365" y="207274"/>
                  </a:cubicBezTo>
                  <a:cubicBezTo>
                    <a:pt x="99708" y="206855"/>
                    <a:pt x="99270" y="206569"/>
                    <a:pt x="99080" y="206423"/>
                  </a:cubicBezTo>
                  <a:cubicBezTo>
                    <a:pt x="99270" y="206264"/>
                    <a:pt x="99708" y="205979"/>
                    <a:pt x="100356" y="205547"/>
                  </a:cubicBezTo>
                  <a:cubicBezTo>
                    <a:pt x="109395" y="199604"/>
                    <a:pt x="159506" y="166622"/>
                    <a:pt x="159506" y="90665"/>
                  </a:cubicBezTo>
                  <a:lnTo>
                    <a:pt x="159506" y="10992"/>
                  </a:lnTo>
                  <a:cubicBezTo>
                    <a:pt x="159506" y="4922"/>
                    <a:pt x="155287" y="0"/>
                    <a:pt x="148962" y="0"/>
                  </a:cubicBezTo>
                  <a:lnTo>
                    <a:pt x="95565" y="0"/>
                  </a:lnTo>
                  <a:cubicBezTo>
                    <a:pt x="89945" y="0"/>
                    <a:pt x="85030" y="4922"/>
                    <a:pt x="85030" y="10992"/>
                  </a:cubicBezTo>
                  <a:lnTo>
                    <a:pt x="85030" y="90665"/>
                  </a:lnTo>
                  <a:cubicBezTo>
                    <a:pt x="85030" y="147350"/>
                    <a:pt x="47054" y="158469"/>
                    <a:pt x="32366" y="162761"/>
                  </a:cubicBezTo>
                  <a:cubicBezTo>
                    <a:pt x="31576" y="162997"/>
                    <a:pt x="30861" y="163206"/>
                    <a:pt x="30214" y="163402"/>
                  </a:cubicBezTo>
                  <a:cubicBezTo>
                    <a:pt x="27404" y="164209"/>
                    <a:pt x="16869" y="166026"/>
                    <a:pt x="9135" y="167302"/>
                  </a:cubicBezTo>
                  <a:cubicBezTo>
                    <a:pt x="3515" y="168248"/>
                    <a:pt x="0" y="172858"/>
                    <a:pt x="0" y="178242"/>
                  </a:cubicBezTo>
                  <a:close/>
                  <a:moveTo>
                    <a:pt x="933768" y="313343"/>
                  </a:moveTo>
                  <a:lnTo>
                    <a:pt x="933768" y="468558"/>
                  </a:lnTo>
                  <a:cubicBezTo>
                    <a:pt x="933768" y="471320"/>
                    <a:pt x="932682" y="473949"/>
                    <a:pt x="930749" y="475902"/>
                  </a:cubicBezTo>
                  <a:cubicBezTo>
                    <a:pt x="928825" y="477845"/>
                    <a:pt x="926206" y="478940"/>
                    <a:pt x="923472" y="478940"/>
                  </a:cubicBezTo>
                  <a:cubicBezTo>
                    <a:pt x="909270" y="478921"/>
                    <a:pt x="883819" y="478912"/>
                    <a:pt x="869627" y="478902"/>
                  </a:cubicBezTo>
                  <a:cubicBezTo>
                    <a:pt x="863950" y="478893"/>
                    <a:pt x="859349" y="474254"/>
                    <a:pt x="859349" y="468530"/>
                  </a:cubicBezTo>
                  <a:cubicBezTo>
                    <a:pt x="859349" y="405427"/>
                    <a:pt x="859349" y="73513"/>
                    <a:pt x="859349" y="10375"/>
                  </a:cubicBezTo>
                  <a:cubicBezTo>
                    <a:pt x="859349" y="4648"/>
                    <a:pt x="863959" y="0"/>
                    <a:pt x="869636" y="0"/>
                  </a:cubicBezTo>
                  <a:cubicBezTo>
                    <a:pt x="883838" y="0"/>
                    <a:pt x="909279" y="0"/>
                    <a:pt x="923472" y="0"/>
                  </a:cubicBezTo>
                  <a:cubicBezTo>
                    <a:pt x="929158" y="0"/>
                    <a:pt x="933768" y="4648"/>
                    <a:pt x="933768" y="10375"/>
                  </a:cubicBezTo>
                  <a:cubicBezTo>
                    <a:pt x="933768" y="50513"/>
                    <a:pt x="933768" y="193355"/>
                    <a:pt x="933768" y="193355"/>
                  </a:cubicBezTo>
                  <a:cubicBezTo>
                    <a:pt x="1013169" y="118433"/>
                    <a:pt x="1159388" y="172318"/>
                    <a:pt x="1159388" y="312995"/>
                  </a:cubicBezTo>
                  <a:lnTo>
                    <a:pt x="1159388" y="468520"/>
                  </a:lnTo>
                  <a:cubicBezTo>
                    <a:pt x="1159388" y="471273"/>
                    <a:pt x="1158302" y="473911"/>
                    <a:pt x="1156378" y="475854"/>
                  </a:cubicBezTo>
                  <a:cubicBezTo>
                    <a:pt x="1154445" y="477797"/>
                    <a:pt x="1151835" y="478893"/>
                    <a:pt x="1149101" y="478893"/>
                  </a:cubicBezTo>
                  <a:cubicBezTo>
                    <a:pt x="1134899" y="478893"/>
                    <a:pt x="1109401" y="478893"/>
                    <a:pt x="1095199" y="478893"/>
                  </a:cubicBezTo>
                  <a:cubicBezTo>
                    <a:pt x="1092465" y="478893"/>
                    <a:pt x="1089855" y="477797"/>
                    <a:pt x="1087922" y="475854"/>
                  </a:cubicBezTo>
                  <a:cubicBezTo>
                    <a:pt x="1085998" y="473911"/>
                    <a:pt x="1084912" y="471273"/>
                    <a:pt x="1084912" y="468520"/>
                  </a:cubicBezTo>
                  <a:cubicBezTo>
                    <a:pt x="1084912" y="432211"/>
                    <a:pt x="1084912" y="312995"/>
                    <a:pt x="1084912" y="312995"/>
                  </a:cubicBezTo>
                  <a:cubicBezTo>
                    <a:pt x="1084912" y="239513"/>
                    <a:pt x="1011121" y="217047"/>
                    <a:pt x="966868" y="246504"/>
                  </a:cubicBezTo>
                  <a:cubicBezTo>
                    <a:pt x="947885" y="259141"/>
                    <a:pt x="933768" y="281804"/>
                    <a:pt x="933768" y="313343"/>
                  </a:cubicBezTo>
                  <a:close/>
                  <a:moveTo>
                    <a:pt x="596563" y="207040"/>
                  </a:moveTo>
                  <a:cubicBezTo>
                    <a:pt x="564235" y="238922"/>
                    <a:pt x="549471" y="280953"/>
                    <a:pt x="549471" y="323084"/>
                  </a:cubicBezTo>
                  <a:cubicBezTo>
                    <a:pt x="549471" y="365223"/>
                    <a:pt x="564235" y="407246"/>
                    <a:pt x="596563" y="439145"/>
                  </a:cubicBezTo>
                  <a:cubicBezTo>
                    <a:pt x="650665" y="494085"/>
                    <a:pt x="734285" y="501400"/>
                    <a:pt x="797522" y="460995"/>
                  </a:cubicBezTo>
                  <a:cubicBezTo>
                    <a:pt x="798208" y="460481"/>
                    <a:pt x="799037" y="459938"/>
                    <a:pt x="799923" y="459357"/>
                  </a:cubicBezTo>
                  <a:cubicBezTo>
                    <a:pt x="801761" y="458147"/>
                    <a:pt x="803828" y="456795"/>
                    <a:pt x="805247" y="455385"/>
                  </a:cubicBezTo>
                  <a:cubicBezTo>
                    <a:pt x="808762" y="451909"/>
                    <a:pt x="810762" y="445470"/>
                    <a:pt x="806018" y="438745"/>
                  </a:cubicBezTo>
                  <a:cubicBezTo>
                    <a:pt x="801761" y="432697"/>
                    <a:pt x="796170" y="425153"/>
                    <a:pt x="790226" y="417067"/>
                  </a:cubicBezTo>
                  <a:cubicBezTo>
                    <a:pt x="785121" y="410132"/>
                    <a:pt x="780339" y="403665"/>
                    <a:pt x="776110" y="397747"/>
                  </a:cubicBezTo>
                  <a:cubicBezTo>
                    <a:pt x="772671" y="392947"/>
                    <a:pt x="765890" y="391664"/>
                    <a:pt x="760975" y="394585"/>
                  </a:cubicBezTo>
                  <a:cubicBezTo>
                    <a:pt x="759565" y="395461"/>
                    <a:pt x="758393" y="396172"/>
                    <a:pt x="757003" y="397067"/>
                  </a:cubicBezTo>
                  <a:cubicBezTo>
                    <a:pt x="686032" y="442936"/>
                    <a:pt x="619737" y="382374"/>
                    <a:pt x="619737" y="323084"/>
                  </a:cubicBezTo>
                  <a:cubicBezTo>
                    <a:pt x="619737" y="263795"/>
                    <a:pt x="687384" y="203573"/>
                    <a:pt x="756945" y="249203"/>
                  </a:cubicBezTo>
                  <a:cubicBezTo>
                    <a:pt x="758308" y="250105"/>
                    <a:pt x="759565" y="250708"/>
                    <a:pt x="760975" y="251591"/>
                  </a:cubicBezTo>
                  <a:cubicBezTo>
                    <a:pt x="765890" y="254512"/>
                    <a:pt x="772805" y="253115"/>
                    <a:pt x="776148" y="248416"/>
                  </a:cubicBezTo>
                  <a:cubicBezTo>
                    <a:pt x="780377" y="242497"/>
                    <a:pt x="785102" y="236065"/>
                    <a:pt x="790207" y="229138"/>
                  </a:cubicBezTo>
                  <a:cubicBezTo>
                    <a:pt x="795560" y="221854"/>
                    <a:pt x="800580" y="215072"/>
                    <a:pt x="804618" y="209395"/>
                  </a:cubicBezTo>
                  <a:cubicBezTo>
                    <a:pt x="811362" y="199928"/>
                    <a:pt x="809571" y="193191"/>
                    <a:pt x="799903" y="186809"/>
                  </a:cubicBezTo>
                  <a:cubicBezTo>
                    <a:pt x="799027" y="186231"/>
                    <a:pt x="798199" y="185691"/>
                    <a:pt x="797522" y="185195"/>
                  </a:cubicBezTo>
                  <a:cubicBezTo>
                    <a:pt x="734285" y="144778"/>
                    <a:pt x="650665" y="152087"/>
                    <a:pt x="596563" y="207040"/>
                  </a:cubicBezTo>
                  <a:close/>
                  <a:moveTo>
                    <a:pt x="293714" y="350313"/>
                  </a:moveTo>
                  <a:lnTo>
                    <a:pt x="469385" y="350313"/>
                  </a:lnTo>
                  <a:cubicBezTo>
                    <a:pt x="490463" y="350313"/>
                    <a:pt x="507323" y="333283"/>
                    <a:pt x="507323" y="312290"/>
                  </a:cubicBezTo>
                  <a:cubicBezTo>
                    <a:pt x="507323" y="265561"/>
                    <a:pt x="499588" y="240644"/>
                    <a:pt x="472890" y="208836"/>
                  </a:cubicBezTo>
                  <a:cubicBezTo>
                    <a:pt x="445486" y="176865"/>
                    <a:pt x="401919" y="159530"/>
                    <a:pt x="368190" y="159530"/>
                  </a:cubicBezTo>
                  <a:cubicBezTo>
                    <a:pt x="283875" y="159530"/>
                    <a:pt x="219228" y="231722"/>
                    <a:pt x="219228" y="323103"/>
                  </a:cubicBezTo>
                  <a:cubicBezTo>
                    <a:pt x="219228" y="435697"/>
                    <a:pt x="306354" y="486674"/>
                    <a:pt x="375915" y="486674"/>
                  </a:cubicBezTo>
                  <a:cubicBezTo>
                    <a:pt x="425807" y="486674"/>
                    <a:pt x="464460" y="474616"/>
                    <a:pt x="502398" y="450623"/>
                  </a:cubicBezTo>
                  <a:cubicBezTo>
                    <a:pt x="506618" y="447470"/>
                    <a:pt x="508723" y="441003"/>
                    <a:pt x="505913" y="435907"/>
                  </a:cubicBezTo>
                  <a:lnTo>
                    <a:pt x="504818" y="434088"/>
                  </a:lnTo>
                  <a:cubicBezTo>
                    <a:pt x="497150" y="421362"/>
                    <a:pt x="486558" y="403789"/>
                    <a:pt x="478519" y="391689"/>
                  </a:cubicBezTo>
                  <a:cubicBezTo>
                    <a:pt x="475709" y="386901"/>
                    <a:pt x="469385" y="385492"/>
                    <a:pt x="464460" y="388476"/>
                  </a:cubicBezTo>
                  <a:cubicBezTo>
                    <a:pt x="440571" y="402722"/>
                    <a:pt x="415273" y="415266"/>
                    <a:pt x="377335" y="414990"/>
                  </a:cubicBezTo>
                  <a:cubicBezTo>
                    <a:pt x="342197" y="414742"/>
                    <a:pt x="304954" y="392280"/>
                    <a:pt x="293714" y="350313"/>
                  </a:cubicBezTo>
                  <a:close/>
                  <a:moveTo>
                    <a:pt x="430732" y="287912"/>
                  </a:moveTo>
                  <a:cubicBezTo>
                    <a:pt x="424407" y="240694"/>
                    <a:pt x="392079" y="232071"/>
                    <a:pt x="368190" y="232071"/>
                  </a:cubicBezTo>
                  <a:cubicBezTo>
                    <a:pt x="335872" y="232071"/>
                    <a:pt x="308478" y="256182"/>
                    <a:pt x="296524" y="287912"/>
                  </a:cubicBezTo>
                  <a:lnTo>
                    <a:pt x="430732" y="287912"/>
                  </a:lnTo>
                  <a:close/>
                </a:path>
              </a:pathLst>
            </a:custGeom>
            <a:solidFill>
              <a:schemeClr val="accent2"/>
            </a:solidFill>
            <a:ln w="76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16" name="Полилиния 15">
              <a:extLst>
                <a:ext uri="{FF2B5EF4-FFF2-40B4-BE49-F238E27FC236}">
                  <a16:creationId xmlns:a16="http://schemas.microsoft.com/office/drawing/2014/main" id="{03433882-C03B-C000-C623-A6053301C5C7}"/>
                </a:ext>
              </a:extLst>
            </p:cNvPr>
            <p:cNvSpPr/>
            <p:nvPr/>
          </p:nvSpPr>
          <p:spPr>
            <a:xfrm>
              <a:off x="8489504" y="1070894"/>
              <a:ext cx="1492273" cy="326563"/>
            </a:xfrm>
            <a:custGeom>
              <a:avLst/>
              <a:gdLst>
                <a:gd name="connsiteX0" fmla="*/ 180273 w 1492273"/>
                <a:gd name="connsiteY0" fmla="*/ 900 h 326563"/>
                <a:gd name="connsiteX1" fmla="*/ 83526 w 1492273"/>
                <a:gd name="connsiteY1" fmla="*/ 20775 h 326563"/>
                <a:gd name="connsiteX2" fmla="*/ 15954 w 1492273"/>
                <a:gd name="connsiteY2" fmla="*/ 92853 h 326563"/>
                <a:gd name="connsiteX3" fmla="*/ 2323 w 1492273"/>
                <a:gd name="connsiteY3" fmla="*/ 190737 h 326563"/>
                <a:gd name="connsiteX4" fmla="*/ 47618 w 1492273"/>
                <a:gd name="connsiteY4" fmla="*/ 278557 h 326563"/>
                <a:gd name="connsiteX5" fmla="*/ 135243 w 1492273"/>
                <a:gd name="connsiteY5" fmla="*/ 324153 h 326563"/>
                <a:gd name="connsiteX6" fmla="*/ 233098 w 1492273"/>
                <a:gd name="connsiteY6" fmla="*/ 310818 h 326563"/>
                <a:gd name="connsiteX7" fmla="*/ 305341 w 1492273"/>
                <a:gd name="connsiteY7" fmla="*/ 243429 h 326563"/>
                <a:gd name="connsiteX8" fmla="*/ 325507 w 1492273"/>
                <a:gd name="connsiteY8" fmla="*/ 146675 h 326563"/>
                <a:gd name="connsiteX9" fmla="*/ 278778 w 1492273"/>
                <a:gd name="connsiteY9" fmla="*/ 47965 h 326563"/>
                <a:gd name="connsiteX10" fmla="*/ 180273 w 1492273"/>
                <a:gd name="connsiteY10" fmla="*/ 900 h 326563"/>
                <a:gd name="connsiteX11" fmla="*/ 174984 w 1492273"/>
                <a:gd name="connsiteY11" fmla="*/ 249697 h 326563"/>
                <a:gd name="connsiteX12" fmla="*/ 122555 w 1492273"/>
                <a:gd name="connsiteY12" fmla="*/ 240277 h 326563"/>
                <a:gd name="connsiteX13" fmla="*/ 85427 w 1492273"/>
                <a:gd name="connsiteY13" fmla="*/ 202047 h 326563"/>
                <a:gd name="connsiteX14" fmla="*/ 77507 w 1492273"/>
                <a:gd name="connsiteY14" fmla="*/ 149329 h 326563"/>
                <a:gd name="connsiteX15" fmla="*/ 101766 w 1492273"/>
                <a:gd name="connsiteY15" fmla="*/ 101883 h 326563"/>
                <a:gd name="connsiteX16" fmla="*/ 149113 w 1492273"/>
                <a:gd name="connsiteY16" fmla="*/ 77461 h 326563"/>
                <a:gd name="connsiteX17" fmla="*/ 201825 w 1492273"/>
                <a:gd name="connsiteY17" fmla="*/ 85220 h 326563"/>
                <a:gd name="connsiteX18" fmla="*/ 240132 w 1492273"/>
                <a:gd name="connsiteY18" fmla="*/ 122247 h 326563"/>
                <a:gd name="connsiteX19" fmla="*/ 249714 w 1492273"/>
                <a:gd name="connsiteY19" fmla="*/ 174684 h 326563"/>
                <a:gd name="connsiteX20" fmla="*/ 225058 w 1492273"/>
                <a:gd name="connsiteY20" fmla="*/ 224868 h 326563"/>
                <a:gd name="connsiteX21" fmla="*/ 174984 w 1492273"/>
                <a:gd name="connsiteY21" fmla="*/ 249697 h 326563"/>
                <a:gd name="connsiteX22" fmla="*/ 412780 w 1492273"/>
                <a:gd name="connsiteY22" fmla="*/ 7358 h 326563"/>
                <a:gd name="connsiteX23" fmla="*/ 396435 w 1492273"/>
                <a:gd name="connsiteY23" fmla="*/ 11091 h 326563"/>
                <a:gd name="connsiteX24" fmla="*/ 383276 w 1492273"/>
                <a:gd name="connsiteY24" fmla="*/ 21498 h 326563"/>
                <a:gd name="connsiteX25" fmla="*/ 375859 w 1492273"/>
                <a:gd name="connsiteY25" fmla="*/ 36548 h 326563"/>
                <a:gd name="connsiteX26" fmla="*/ 375620 w 1492273"/>
                <a:gd name="connsiteY26" fmla="*/ 53325 h 326563"/>
                <a:gd name="connsiteX27" fmla="*/ 414209 w 1492273"/>
                <a:gd name="connsiteY27" fmla="*/ 83537 h 326563"/>
                <a:gd name="connsiteX28" fmla="*/ 520143 w 1492273"/>
                <a:gd name="connsiteY28" fmla="*/ 83537 h 326563"/>
                <a:gd name="connsiteX29" fmla="*/ 355289 w 1492273"/>
                <a:gd name="connsiteY29" fmla="*/ 301846 h 326563"/>
                <a:gd name="connsiteX30" fmla="*/ 353136 w 1492273"/>
                <a:gd name="connsiteY30" fmla="*/ 307389 h 326563"/>
                <a:gd name="connsiteX31" fmla="*/ 354212 w 1492273"/>
                <a:gd name="connsiteY31" fmla="*/ 313237 h 326563"/>
                <a:gd name="connsiteX32" fmla="*/ 358204 w 1492273"/>
                <a:gd name="connsiteY32" fmla="*/ 317647 h 326563"/>
                <a:gd name="connsiteX33" fmla="*/ 363921 w 1492273"/>
                <a:gd name="connsiteY33" fmla="*/ 319295 h 326563"/>
                <a:gd name="connsiteX34" fmla="*/ 622504 w 1492273"/>
                <a:gd name="connsiteY34" fmla="*/ 319295 h 326563"/>
                <a:gd name="connsiteX35" fmla="*/ 661099 w 1492273"/>
                <a:gd name="connsiteY35" fmla="*/ 289082 h 326563"/>
                <a:gd name="connsiteX36" fmla="*/ 660861 w 1492273"/>
                <a:gd name="connsiteY36" fmla="*/ 272299 h 326563"/>
                <a:gd name="connsiteX37" fmla="*/ 653451 w 1492273"/>
                <a:gd name="connsiteY37" fmla="*/ 257250 h 326563"/>
                <a:gd name="connsiteX38" fmla="*/ 640297 w 1492273"/>
                <a:gd name="connsiteY38" fmla="*/ 246849 h 326563"/>
                <a:gd name="connsiteX39" fmla="*/ 623952 w 1492273"/>
                <a:gd name="connsiteY39" fmla="*/ 243105 h 326563"/>
                <a:gd name="connsiteX40" fmla="*/ 494883 w 1492273"/>
                <a:gd name="connsiteY40" fmla="*/ 243105 h 326563"/>
                <a:gd name="connsiteX41" fmla="*/ 659613 w 1492273"/>
                <a:gd name="connsiteY41" fmla="*/ 24972 h 326563"/>
                <a:gd name="connsiteX42" fmla="*/ 661785 w 1492273"/>
                <a:gd name="connsiteY42" fmla="*/ 19371 h 326563"/>
                <a:gd name="connsiteX43" fmla="*/ 660690 w 1492273"/>
                <a:gd name="connsiteY43" fmla="*/ 13473 h 326563"/>
                <a:gd name="connsiteX44" fmla="*/ 656661 w 1492273"/>
                <a:gd name="connsiteY44" fmla="*/ 9021 h 326563"/>
                <a:gd name="connsiteX45" fmla="*/ 650888 w 1492273"/>
                <a:gd name="connsiteY45" fmla="*/ 7358 h 326563"/>
                <a:gd name="connsiteX46" fmla="*/ 412780 w 1492273"/>
                <a:gd name="connsiteY46" fmla="*/ 7358 h 326563"/>
                <a:gd name="connsiteX47" fmla="*/ 1446105 w 1492273"/>
                <a:gd name="connsiteY47" fmla="*/ 8240 h 326563"/>
                <a:gd name="connsiteX48" fmla="*/ 1424484 w 1492273"/>
                <a:gd name="connsiteY48" fmla="*/ 22127 h 326563"/>
                <a:gd name="connsiteX49" fmla="*/ 1416378 w 1492273"/>
                <a:gd name="connsiteY49" fmla="*/ 46473 h 326563"/>
                <a:gd name="connsiteX50" fmla="*/ 1416378 w 1492273"/>
                <a:gd name="connsiteY50" fmla="*/ 173313 h 326563"/>
                <a:gd name="connsiteX51" fmla="*/ 1210980 w 1492273"/>
                <a:gd name="connsiteY51" fmla="*/ 9758 h 326563"/>
                <a:gd name="connsiteX52" fmla="*/ 1205389 w 1492273"/>
                <a:gd name="connsiteY52" fmla="*/ 7453 h 326563"/>
                <a:gd name="connsiteX53" fmla="*/ 1199426 w 1492273"/>
                <a:gd name="connsiteY53" fmla="*/ 8482 h 326563"/>
                <a:gd name="connsiteX54" fmla="*/ 1194921 w 1492273"/>
                <a:gd name="connsiteY54" fmla="*/ 12520 h 326563"/>
                <a:gd name="connsiteX55" fmla="*/ 1193263 w 1492273"/>
                <a:gd name="connsiteY55" fmla="*/ 18343 h 326563"/>
                <a:gd name="connsiteX56" fmla="*/ 1193263 w 1492273"/>
                <a:gd name="connsiteY56" fmla="*/ 280243 h 326563"/>
                <a:gd name="connsiteX57" fmla="*/ 1201388 w 1492273"/>
                <a:gd name="connsiteY57" fmla="*/ 304589 h 326563"/>
                <a:gd name="connsiteX58" fmla="*/ 1222962 w 1492273"/>
                <a:gd name="connsiteY58" fmla="*/ 318486 h 326563"/>
                <a:gd name="connsiteX59" fmla="*/ 1239803 w 1492273"/>
                <a:gd name="connsiteY59" fmla="*/ 318362 h 326563"/>
                <a:gd name="connsiteX60" fmla="*/ 1254966 w 1492273"/>
                <a:gd name="connsiteY60" fmla="*/ 310961 h 326563"/>
                <a:gd name="connsiteX61" fmla="*/ 1265444 w 1492273"/>
                <a:gd name="connsiteY61" fmla="*/ 297721 h 326563"/>
                <a:gd name="connsiteX62" fmla="*/ 1269159 w 1492273"/>
                <a:gd name="connsiteY62" fmla="*/ 281272 h 326563"/>
                <a:gd name="connsiteX63" fmla="*/ 1269159 w 1492273"/>
                <a:gd name="connsiteY63" fmla="*/ 153323 h 326563"/>
                <a:gd name="connsiteX64" fmla="*/ 1474538 w 1492273"/>
                <a:gd name="connsiteY64" fmla="*/ 316885 h 326563"/>
                <a:gd name="connsiteX65" fmla="*/ 1480148 w 1492273"/>
                <a:gd name="connsiteY65" fmla="*/ 319190 h 326563"/>
                <a:gd name="connsiteX66" fmla="*/ 1486120 w 1492273"/>
                <a:gd name="connsiteY66" fmla="*/ 318162 h 326563"/>
                <a:gd name="connsiteX67" fmla="*/ 1490625 w 1492273"/>
                <a:gd name="connsiteY67" fmla="*/ 314123 h 326563"/>
                <a:gd name="connsiteX68" fmla="*/ 1492273 w 1492273"/>
                <a:gd name="connsiteY68" fmla="*/ 308303 h 326563"/>
                <a:gd name="connsiteX69" fmla="*/ 1492273 w 1492273"/>
                <a:gd name="connsiteY69" fmla="*/ 45444 h 326563"/>
                <a:gd name="connsiteX70" fmla="*/ 1488559 w 1492273"/>
                <a:gd name="connsiteY70" fmla="*/ 28985 h 326563"/>
                <a:gd name="connsiteX71" fmla="*/ 1478081 w 1492273"/>
                <a:gd name="connsiteY71" fmla="*/ 15759 h 326563"/>
                <a:gd name="connsiteX72" fmla="*/ 1462908 w 1492273"/>
                <a:gd name="connsiteY72" fmla="*/ 8354 h 326563"/>
                <a:gd name="connsiteX73" fmla="*/ 1446105 w 1492273"/>
                <a:gd name="connsiteY73" fmla="*/ 8240 h 326563"/>
                <a:gd name="connsiteX74" fmla="*/ 911265 w 1492273"/>
                <a:gd name="connsiteY74" fmla="*/ 76254 h 326563"/>
                <a:gd name="connsiteX75" fmla="*/ 1063066 w 1492273"/>
                <a:gd name="connsiteY75" fmla="*/ 163286 h 326563"/>
                <a:gd name="connsiteX76" fmla="*/ 911265 w 1492273"/>
                <a:gd name="connsiteY76" fmla="*/ 250325 h 326563"/>
                <a:gd name="connsiteX77" fmla="*/ 759483 w 1492273"/>
                <a:gd name="connsiteY77" fmla="*/ 163286 h 326563"/>
                <a:gd name="connsiteX78" fmla="*/ 911265 w 1492273"/>
                <a:gd name="connsiteY78" fmla="*/ 76254 h 326563"/>
                <a:gd name="connsiteX79" fmla="*/ 911265 w 1492273"/>
                <a:gd name="connsiteY79" fmla="*/ 67 h 326563"/>
                <a:gd name="connsiteX80" fmla="*/ 683578 w 1492273"/>
                <a:gd name="connsiteY80" fmla="*/ 163286 h 326563"/>
                <a:gd name="connsiteX81" fmla="*/ 911265 w 1492273"/>
                <a:gd name="connsiteY81" fmla="*/ 326506 h 326563"/>
                <a:gd name="connsiteX82" fmla="*/ 1138961 w 1492273"/>
                <a:gd name="connsiteY82" fmla="*/ 163286 h 326563"/>
                <a:gd name="connsiteX83" fmla="*/ 911265 w 1492273"/>
                <a:gd name="connsiteY83" fmla="*/ 67 h 3265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</a:cxnLst>
              <a:rect l="l" t="t" r="r" b="b"/>
              <a:pathLst>
                <a:path w="1492273" h="326563">
                  <a:moveTo>
                    <a:pt x="180273" y="900"/>
                  </a:moveTo>
                  <a:cubicBezTo>
                    <a:pt x="146739" y="-2638"/>
                    <a:pt x="112948" y="4310"/>
                    <a:pt x="83526" y="20775"/>
                  </a:cubicBezTo>
                  <a:cubicBezTo>
                    <a:pt x="54104" y="37240"/>
                    <a:pt x="30499" y="62424"/>
                    <a:pt x="15954" y="92853"/>
                  </a:cubicBezTo>
                  <a:cubicBezTo>
                    <a:pt x="1417" y="123295"/>
                    <a:pt x="-3344" y="157489"/>
                    <a:pt x="2323" y="190737"/>
                  </a:cubicBezTo>
                  <a:cubicBezTo>
                    <a:pt x="7990" y="223998"/>
                    <a:pt x="23812" y="254669"/>
                    <a:pt x="47618" y="278557"/>
                  </a:cubicBezTo>
                  <a:cubicBezTo>
                    <a:pt x="71412" y="302455"/>
                    <a:pt x="102030" y="318381"/>
                    <a:pt x="135243" y="324153"/>
                  </a:cubicBezTo>
                  <a:cubicBezTo>
                    <a:pt x="168455" y="329925"/>
                    <a:pt x="202644" y="325277"/>
                    <a:pt x="233098" y="310818"/>
                  </a:cubicBezTo>
                  <a:cubicBezTo>
                    <a:pt x="263559" y="296359"/>
                    <a:pt x="288801" y="272814"/>
                    <a:pt x="305341" y="243429"/>
                  </a:cubicBezTo>
                  <a:cubicBezTo>
                    <a:pt x="321894" y="214035"/>
                    <a:pt x="328933" y="180240"/>
                    <a:pt x="325507" y="146675"/>
                  </a:cubicBezTo>
                  <a:cubicBezTo>
                    <a:pt x="321736" y="109375"/>
                    <a:pt x="305234" y="74514"/>
                    <a:pt x="278778" y="47965"/>
                  </a:cubicBezTo>
                  <a:cubicBezTo>
                    <a:pt x="252327" y="21410"/>
                    <a:pt x="217534" y="4786"/>
                    <a:pt x="180273" y="900"/>
                  </a:cubicBezTo>
                  <a:close/>
                  <a:moveTo>
                    <a:pt x="174984" y="249697"/>
                  </a:moveTo>
                  <a:cubicBezTo>
                    <a:pt x="156946" y="252116"/>
                    <a:pt x="138617" y="248820"/>
                    <a:pt x="122555" y="240277"/>
                  </a:cubicBezTo>
                  <a:cubicBezTo>
                    <a:pt x="106488" y="231725"/>
                    <a:pt x="93505" y="218366"/>
                    <a:pt x="85427" y="202047"/>
                  </a:cubicBezTo>
                  <a:cubicBezTo>
                    <a:pt x="77349" y="185733"/>
                    <a:pt x="74579" y="167300"/>
                    <a:pt x="77507" y="149329"/>
                  </a:cubicBezTo>
                  <a:cubicBezTo>
                    <a:pt x="80440" y="131372"/>
                    <a:pt x="88922" y="114773"/>
                    <a:pt x="101766" y="101883"/>
                  </a:cubicBezTo>
                  <a:cubicBezTo>
                    <a:pt x="114610" y="88986"/>
                    <a:pt x="131176" y="80452"/>
                    <a:pt x="149113" y="77461"/>
                  </a:cubicBezTo>
                  <a:cubicBezTo>
                    <a:pt x="167057" y="74470"/>
                    <a:pt x="185493" y="77181"/>
                    <a:pt x="201825" y="85220"/>
                  </a:cubicBezTo>
                  <a:cubicBezTo>
                    <a:pt x="218145" y="93247"/>
                    <a:pt x="231543" y="106194"/>
                    <a:pt x="240132" y="122247"/>
                  </a:cubicBezTo>
                  <a:cubicBezTo>
                    <a:pt x="248725" y="138293"/>
                    <a:pt x="252068" y="156625"/>
                    <a:pt x="249714" y="174684"/>
                  </a:cubicBezTo>
                  <a:cubicBezTo>
                    <a:pt x="247233" y="193670"/>
                    <a:pt x="238569" y="211305"/>
                    <a:pt x="225058" y="224868"/>
                  </a:cubicBezTo>
                  <a:cubicBezTo>
                    <a:pt x="211546" y="238425"/>
                    <a:pt x="193948" y="247154"/>
                    <a:pt x="174984" y="249697"/>
                  </a:cubicBezTo>
                  <a:close/>
                  <a:moveTo>
                    <a:pt x="412780" y="7358"/>
                  </a:moveTo>
                  <a:cubicBezTo>
                    <a:pt x="407126" y="7370"/>
                    <a:pt x="401534" y="8646"/>
                    <a:pt x="396435" y="11091"/>
                  </a:cubicBezTo>
                  <a:cubicBezTo>
                    <a:pt x="391328" y="13536"/>
                    <a:pt x="386833" y="17092"/>
                    <a:pt x="383276" y="21498"/>
                  </a:cubicBezTo>
                  <a:cubicBezTo>
                    <a:pt x="379712" y="25899"/>
                    <a:pt x="377174" y="31042"/>
                    <a:pt x="375859" y="36548"/>
                  </a:cubicBezTo>
                  <a:cubicBezTo>
                    <a:pt x="374537" y="42053"/>
                    <a:pt x="374448" y="47787"/>
                    <a:pt x="375620" y="53325"/>
                  </a:cubicBezTo>
                  <a:cubicBezTo>
                    <a:pt x="379202" y="71282"/>
                    <a:pt x="395956" y="83537"/>
                    <a:pt x="414209" y="83537"/>
                  </a:cubicBezTo>
                  <a:lnTo>
                    <a:pt x="520143" y="83537"/>
                  </a:lnTo>
                  <a:lnTo>
                    <a:pt x="355289" y="301846"/>
                  </a:lnTo>
                  <a:cubicBezTo>
                    <a:pt x="354067" y="303455"/>
                    <a:pt x="353324" y="305379"/>
                    <a:pt x="353136" y="307389"/>
                  </a:cubicBezTo>
                  <a:cubicBezTo>
                    <a:pt x="352940" y="309399"/>
                    <a:pt x="353319" y="311428"/>
                    <a:pt x="354212" y="313237"/>
                  </a:cubicBezTo>
                  <a:cubicBezTo>
                    <a:pt x="355113" y="315047"/>
                    <a:pt x="356491" y="316581"/>
                    <a:pt x="358204" y="317647"/>
                  </a:cubicBezTo>
                  <a:cubicBezTo>
                    <a:pt x="359923" y="318714"/>
                    <a:pt x="361900" y="319286"/>
                    <a:pt x="363921" y="319295"/>
                  </a:cubicBezTo>
                  <a:lnTo>
                    <a:pt x="622504" y="319295"/>
                  </a:lnTo>
                  <a:cubicBezTo>
                    <a:pt x="640744" y="319295"/>
                    <a:pt x="657518" y="307037"/>
                    <a:pt x="661099" y="289082"/>
                  </a:cubicBezTo>
                  <a:cubicBezTo>
                    <a:pt x="662271" y="283539"/>
                    <a:pt x="662185" y="277805"/>
                    <a:pt x="660861" y="272299"/>
                  </a:cubicBezTo>
                  <a:cubicBezTo>
                    <a:pt x="659537" y="266794"/>
                    <a:pt x="657004" y="261650"/>
                    <a:pt x="653451" y="257250"/>
                  </a:cubicBezTo>
                  <a:cubicBezTo>
                    <a:pt x="649898" y="252849"/>
                    <a:pt x="645402" y="249297"/>
                    <a:pt x="640297" y="246849"/>
                  </a:cubicBezTo>
                  <a:cubicBezTo>
                    <a:pt x="635191" y="244391"/>
                    <a:pt x="629610" y="243115"/>
                    <a:pt x="623952" y="243105"/>
                  </a:cubicBezTo>
                  <a:lnTo>
                    <a:pt x="494883" y="243105"/>
                  </a:lnTo>
                  <a:lnTo>
                    <a:pt x="659613" y="24972"/>
                  </a:lnTo>
                  <a:cubicBezTo>
                    <a:pt x="660842" y="23340"/>
                    <a:pt x="661595" y="21403"/>
                    <a:pt x="661785" y="19371"/>
                  </a:cubicBezTo>
                  <a:cubicBezTo>
                    <a:pt x="661976" y="17340"/>
                    <a:pt x="661604" y="15295"/>
                    <a:pt x="660690" y="13473"/>
                  </a:cubicBezTo>
                  <a:cubicBezTo>
                    <a:pt x="659785" y="11637"/>
                    <a:pt x="658385" y="10101"/>
                    <a:pt x="656661" y="9021"/>
                  </a:cubicBezTo>
                  <a:cubicBezTo>
                    <a:pt x="654937" y="7942"/>
                    <a:pt x="652927" y="7363"/>
                    <a:pt x="650888" y="7358"/>
                  </a:cubicBezTo>
                  <a:lnTo>
                    <a:pt x="412780" y="7358"/>
                  </a:lnTo>
                  <a:close/>
                  <a:moveTo>
                    <a:pt x="1446105" y="8240"/>
                  </a:moveTo>
                  <a:cubicBezTo>
                    <a:pt x="1437514" y="10272"/>
                    <a:pt x="1429894" y="15174"/>
                    <a:pt x="1424484" y="22127"/>
                  </a:cubicBezTo>
                  <a:cubicBezTo>
                    <a:pt x="1419112" y="29080"/>
                    <a:pt x="1416254" y="37666"/>
                    <a:pt x="1416378" y="46473"/>
                  </a:cubicBezTo>
                  <a:lnTo>
                    <a:pt x="1416378" y="173313"/>
                  </a:lnTo>
                  <a:lnTo>
                    <a:pt x="1210980" y="9758"/>
                  </a:lnTo>
                  <a:cubicBezTo>
                    <a:pt x="1209361" y="8475"/>
                    <a:pt x="1207427" y="7675"/>
                    <a:pt x="1205389" y="7453"/>
                  </a:cubicBezTo>
                  <a:cubicBezTo>
                    <a:pt x="1203341" y="7230"/>
                    <a:pt x="1201274" y="7580"/>
                    <a:pt x="1199426" y="8482"/>
                  </a:cubicBezTo>
                  <a:cubicBezTo>
                    <a:pt x="1197569" y="9377"/>
                    <a:pt x="1196006" y="10773"/>
                    <a:pt x="1194921" y="12520"/>
                  </a:cubicBezTo>
                  <a:cubicBezTo>
                    <a:pt x="1193835" y="14273"/>
                    <a:pt x="1193254" y="16285"/>
                    <a:pt x="1193263" y="18343"/>
                  </a:cubicBezTo>
                  <a:lnTo>
                    <a:pt x="1193263" y="280243"/>
                  </a:lnTo>
                  <a:cubicBezTo>
                    <a:pt x="1193120" y="289054"/>
                    <a:pt x="1195987" y="297645"/>
                    <a:pt x="1201388" y="304589"/>
                  </a:cubicBezTo>
                  <a:cubicBezTo>
                    <a:pt x="1206789" y="311542"/>
                    <a:pt x="1214409" y="316447"/>
                    <a:pt x="1222962" y="318486"/>
                  </a:cubicBezTo>
                  <a:cubicBezTo>
                    <a:pt x="1228525" y="319714"/>
                    <a:pt x="1234288" y="319667"/>
                    <a:pt x="1239803" y="318362"/>
                  </a:cubicBezTo>
                  <a:cubicBezTo>
                    <a:pt x="1245346" y="317066"/>
                    <a:pt x="1250518" y="314533"/>
                    <a:pt x="1254966" y="310961"/>
                  </a:cubicBezTo>
                  <a:cubicBezTo>
                    <a:pt x="1259415" y="307389"/>
                    <a:pt x="1263006" y="302874"/>
                    <a:pt x="1265444" y="297721"/>
                  </a:cubicBezTo>
                  <a:cubicBezTo>
                    <a:pt x="1267882" y="292587"/>
                    <a:pt x="1269159" y="286958"/>
                    <a:pt x="1269159" y="281272"/>
                  </a:cubicBezTo>
                  <a:lnTo>
                    <a:pt x="1269159" y="153323"/>
                  </a:lnTo>
                  <a:lnTo>
                    <a:pt x="1474538" y="316885"/>
                  </a:lnTo>
                  <a:cubicBezTo>
                    <a:pt x="1476195" y="318171"/>
                    <a:pt x="1478138" y="318962"/>
                    <a:pt x="1480148" y="319190"/>
                  </a:cubicBezTo>
                  <a:cubicBezTo>
                    <a:pt x="1482224" y="319419"/>
                    <a:pt x="1484291" y="319057"/>
                    <a:pt x="1486120" y="318162"/>
                  </a:cubicBezTo>
                  <a:cubicBezTo>
                    <a:pt x="1487949" y="317266"/>
                    <a:pt x="1489530" y="315866"/>
                    <a:pt x="1490625" y="314123"/>
                  </a:cubicBezTo>
                  <a:cubicBezTo>
                    <a:pt x="1491721" y="312380"/>
                    <a:pt x="1492273" y="310361"/>
                    <a:pt x="1492273" y="308303"/>
                  </a:cubicBezTo>
                  <a:lnTo>
                    <a:pt x="1492273" y="45444"/>
                  </a:lnTo>
                  <a:cubicBezTo>
                    <a:pt x="1492273" y="39748"/>
                    <a:pt x="1490997" y="34123"/>
                    <a:pt x="1488559" y="28985"/>
                  </a:cubicBezTo>
                  <a:cubicBezTo>
                    <a:pt x="1486120" y="23848"/>
                    <a:pt x="1482529" y="19327"/>
                    <a:pt x="1478081" y="15759"/>
                  </a:cubicBezTo>
                  <a:cubicBezTo>
                    <a:pt x="1473633" y="12190"/>
                    <a:pt x="1468461" y="9656"/>
                    <a:pt x="1462908" y="8354"/>
                  </a:cubicBezTo>
                  <a:cubicBezTo>
                    <a:pt x="1457364" y="7059"/>
                    <a:pt x="1451649" y="7015"/>
                    <a:pt x="1446105" y="8240"/>
                  </a:cubicBezTo>
                  <a:close/>
                  <a:moveTo>
                    <a:pt x="911265" y="76254"/>
                  </a:moveTo>
                  <a:cubicBezTo>
                    <a:pt x="998152" y="76254"/>
                    <a:pt x="1063066" y="122196"/>
                    <a:pt x="1063066" y="163286"/>
                  </a:cubicBezTo>
                  <a:cubicBezTo>
                    <a:pt x="1063066" y="204383"/>
                    <a:pt x="998152" y="250325"/>
                    <a:pt x="911265" y="250325"/>
                  </a:cubicBezTo>
                  <a:cubicBezTo>
                    <a:pt x="824397" y="250325"/>
                    <a:pt x="759483" y="204383"/>
                    <a:pt x="759483" y="163286"/>
                  </a:cubicBezTo>
                  <a:cubicBezTo>
                    <a:pt x="759483" y="122196"/>
                    <a:pt x="824397" y="76254"/>
                    <a:pt x="911265" y="76254"/>
                  </a:cubicBezTo>
                  <a:close/>
                  <a:moveTo>
                    <a:pt x="911265" y="67"/>
                  </a:moveTo>
                  <a:cubicBezTo>
                    <a:pt x="785515" y="67"/>
                    <a:pt x="683578" y="73142"/>
                    <a:pt x="683578" y="163286"/>
                  </a:cubicBezTo>
                  <a:cubicBezTo>
                    <a:pt x="683578" y="253421"/>
                    <a:pt x="785515" y="326506"/>
                    <a:pt x="911265" y="326506"/>
                  </a:cubicBezTo>
                  <a:cubicBezTo>
                    <a:pt x="1037024" y="326506"/>
                    <a:pt x="1138961" y="253421"/>
                    <a:pt x="1138961" y="163286"/>
                  </a:cubicBezTo>
                  <a:cubicBezTo>
                    <a:pt x="1138961" y="73142"/>
                    <a:pt x="1037024" y="67"/>
                    <a:pt x="911265" y="67"/>
                  </a:cubicBezTo>
                  <a:close/>
                </a:path>
              </a:pathLst>
            </a:custGeom>
            <a:solidFill>
              <a:schemeClr val="tx2"/>
            </a:solidFill>
            <a:ln w="76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</p:grpSp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2E22186C-4B12-E0C1-79B2-480F2CD086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52414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3" imgW="233" imgH="233" progId="TCLayout.ActiveDocument.1">
                  <p:embed/>
                </p:oleObj>
              </mc:Choice>
              <mc:Fallback>
                <p:oleObj name="Слайд think-cell" r:id="rId13" imgW="233" imgH="233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id="{2E22186C-4B12-E0C1-79B2-480F2CD086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EF11FA05-DC06-B340-2031-0DB23FEF24A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49400" y="4705255"/>
            <a:ext cx="8174332" cy="817562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Напиши подзаголовок презентации, имя спикера </a:t>
            </a:r>
            <a:br>
              <a:rPr lang="ru-RU" dirty="0"/>
            </a:br>
            <a:r>
              <a:rPr lang="ru-RU" dirty="0"/>
              <a:t>и другую дополнительную информацию</a:t>
            </a:r>
          </a:p>
        </p:txBody>
      </p:sp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5AD7914A-6F7A-0AB4-0320-8B0610322AB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52414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3" imgW="233" imgH="233" progId="TCLayout.ActiveDocument.1">
                  <p:embed/>
                </p:oleObj>
              </mc:Choice>
              <mc:Fallback>
                <p:oleObj name="Слайд think-cell" r:id="rId13" imgW="233" imgH="233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5AD7914A-6F7A-0AB4-0320-8B0610322A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Объект 8" hidden="1">
            <a:extLst>
              <a:ext uri="{FF2B5EF4-FFF2-40B4-BE49-F238E27FC236}">
                <a16:creationId xmlns:a16="http://schemas.microsoft.com/office/drawing/2014/main" id="{15B33EE8-2A0C-A289-E633-0C1A78BC22FA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752414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3" imgW="233" imgH="233" progId="TCLayout.ActiveDocument.1">
                  <p:embed/>
                </p:oleObj>
              </mc:Choice>
              <mc:Fallback>
                <p:oleObj name="Слайд think-cell" r:id="rId13" imgW="233" imgH="233" progId="TCLayout.ActiveDocument.1">
                  <p:embed/>
                  <p:pic>
                    <p:nvPicPr>
                      <p:cNvPr id="9" name="Объект 8" hidden="1">
                        <a:extLst>
                          <a:ext uri="{FF2B5EF4-FFF2-40B4-BE49-F238E27FC236}">
                            <a16:creationId xmlns:a16="http://schemas.microsoft.com/office/drawing/2014/main" id="{15B33EE8-2A0C-A289-E633-0C1A78BC22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2" name="Объект 11" hidden="1">
            <a:extLst>
              <a:ext uri="{FF2B5EF4-FFF2-40B4-BE49-F238E27FC236}">
                <a16:creationId xmlns:a16="http://schemas.microsoft.com/office/drawing/2014/main" id="{EDB5745A-EB00-381B-6668-493769E30B62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752414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3" imgW="233" imgH="233" progId="TCLayout.ActiveDocument.1">
                  <p:embed/>
                </p:oleObj>
              </mc:Choice>
              <mc:Fallback>
                <p:oleObj name="Слайд think-cell" r:id="rId13" imgW="233" imgH="233" progId="TCLayout.ActiveDocument.1">
                  <p:embed/>
                  <p:pic>
                    <p:nvPicPr>
                      <p:cNvPr id="12" name="Объект 11" hidden="1">
                        <a:extLst>
                          <a:ext uri="{FF2B5EF4-FFF2-40B4-BE49-F238E27FC236}">
                            <a16:creationId xmlns:a16="http://schemas.microsoft.com/office/drawing/2014/main" id="{EDB5745A-EB00-381B-6668-493769E30B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5" name="Объект 14" hidden="1">
            <a:extLst>
              <a:ext uri="{FF2B5EF4-FFF2-40B4-BE49-F238E27FC236}">
                <a16:creationId xmlns:a16="http://schemas.microsoft.com/office/drawing/2014/main" id="{1A29F7CF-5EA7-385D-A6B8-3F74846ECFA0}"/>
              </a:ext>
            </a:extLst>
          </p:cNvPr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752414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3" imgW="233" imgH="233" progId="TCLayout.ActiveDocument.1">
                  <p:embed/>
                </p:oleObj>
              </mc:Choice>
              <mc:Fallback>
                <p:oleObj name="Слайд think-cell" r:id="rId13" imgW="233" imgH="233" progId="TCLayout.ActiveDocument.1">
                  <p:embed/>
                  <p:pic>
                    <p:nvPicPr>
                      <p:cNvPr id="15" name="Объект 14" hidden="1">
                        <a:extLst>
                          <a:ext uri="{FF2B5EF4-FFF2-40B4-BE49-F238E27FC236}">
                            <a16:creationId xmlns:a16="http://schemas.microsoft.com/office/drawing/2014/main" id="{1A29F7CF-5EA7-385D-A6B8-3F74846ECF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id="{69EB17E6-0D76-E72E-817B-D0C2F75924C4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752414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3" imgW="233" imgH="233" progId="TCLayout.ActiveDocument.1">
                  <p:embed/>
                </p:oleObj>
              </mc:Choice>
              <mc:Fallback>
                <p:oleObj name="Слайд think-cell" r:id="rId13" imgW="233" imgH="233" progId="TCLayout.ActiveDocument.1">
                  <p:embed/>
                  <p:pic>
                    <p:nvPicPr>
                      <p:cNvPr id="18" name="Объект 17" hidden="1">
                        <a:extLst>
                          <a:ext uri="{FF2B5EF4-FFF2-40B4-BE49-F238E27FC236}">
                            <a16:creationId xmlns:a16="http://schemas.microsoft.com/office/drawing/2014/main" id="{69EB17E6-0D76-E72E-817B-D0C2F75924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EE0D4A2C-56C5-17DB-0E5E-7516F66FD05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6718" y="2152745"/>
            <a:ext cx="8206245" cy="2277549"/>
          </a:xfrm>
        </p:spPr>
        <p:txBody>
          <a:bodyPr vert="horz" anchor="b">
            <a:noAutofit/>
          </a:bodyPr>
          <a:lstStyle>
            <a:lvl1pPr algn="l">
              <a:lnSpc>
                <a:spcPct val="90000"/>
              </a:lnSpc>
              <a:defRPr sz="4800" spc="-50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ru-RU" dirty="0"/>
              <a:t>Напиши смысловой заголовок презентации </a:t>
            </a:r>
            <a:br>
              <a:rPr lang="ru-RU" dirty="0"/>
            </a:br>
            <a:r>
              <a:rPr lang="ru-RU" dirty="0"/>
              <a:t>в 2–3 строки</a:t>
            </a:r>
          </a:p>
        </p:txBody>
      </p:sp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1D77E8B5-7B50-6479-7248-130A739ECA38}"/>
              </a:ext>
            </a:extLst>
          </p:cNvPr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752414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3" imgW="233" imgH="233" progId="TCLayout.ActiveDocument.1">
                  <p:embed/>
                </p:oleObj>
              </mc:Choice>
              <mc:Fallback>
                <p:oleObj name="Слайд think-cell" r:id="rId13" imgW="233" imgH="233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1D77E8B5-7B50-6479-7248-130A739ECA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4E5DA3C2-0A7F-674E-A5B0-30B7E3A95F0E}"/>
              </a:ext>
            </a:extLst>
          </p:cNvPr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752414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3" imgW="233" imgH="233" progId="TCLayout.ActiveDocument.1">
                  <p:embed/>
                </p:oleObj>
              </mc:Choice>
              <mc:Fallback>
                <p:oleObj name="Слайд think-cell" r:id="rId13" imgW="233" imgH="233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4E5DA3C2-0A7F-674E-A5B0-30B7E3A95F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" name="Объект 10" hidden="1">
            <a:extLst>
              <a:ext uri="{FF2B5EF4-FFF2-40B4-BE49-F238E27FC236}">
                <a16:creationId xmlns:a16="http://schemas.microsoft.com/office/drawing/2014/main" id="{6F240980-E205-E34B-560B-418ADE4D2190}"/>
              </a:ext>
            </a:extLst>
          </p:cNvPr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752414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3" imgW="233" imgH="233" progId="TCLayout.ActiveDocument.1">
                  <p:embed/>
                </p:oleObj>
              </mc:Choice>
              <mc:Fallback>
                <p:oleObj name="Слайд think-cell" r:id="rId13" imgW="233" imgH="233" progId="TCLayout.ActiveDocument.1">
                  <p:embed/>
                  <p:pic>
                    <p:nvPicPr>
                      <p:cNvPr id="11" name="Объект 10" hidden="1">
                        <a:extLst>
                          <a:ext uri="{FF2B5EF4-FFF2-40B4-BE49-F238E27FC236}">
                            <a16:creationId xmlns:a16="http://schemas.microsoft.com/office/drawing/2014/main" id="{6F240980-E205-E34B-560B-418ADE4D21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" name="Объект 12" hidden="1">
            <a:extLst>
              <a:ext uri="{FF2B5EF4-FFF2-40B4-BE49-F238E27FC236}">
                <a16:creationId xmlns:a16="http://schemas.microsoft.com/office/drawing/2014/main" id="{AE319448-558B-6C3F-A87B-6F88A75AA87B}"/>
              </a:ext>
            </a:extLst>
          </p:cNvPr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752414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3" imgW="233" imgH="233" progId="TCLayout.ActiveDocument.1">
                  <p:embed/>
                </p:oleObj>
              </mc:Choice>
              <mc:Fallback>
                <p:oleObj name="Слайд think-cell" r:id="rId13" imgW="233" imgH="233" progId="TCLayout.ActiveDocument.1">
                  <p:embed/>
                  <p:pic>
                    <p:nvPicPr>
                      <p:cNvPr id="13" name="Объект 12" hidden="1">
                        <a:extLst>
                          <a:ext uri="{FF2B5EF4-FFF2-40B4-BE49-F238E27FC236}">
                            <a16:creationId xmlns:a16="http://schemas.microsoft.com/office/drawing/2014/main" id="{AE319448-558B-6C3F-A87B-6F88A75AA8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4" name="Объект 13" hidden="1">
            <a:extLst>
              <a:ext uri="{FF2B5EF4-FFF2-40B4-BE49-F238E27FC236}">
                <a16:creationId xmlns:a16="http://schemas.microsoft.com/office/drawing/2014/main" id="{4AA46163-C0B9-4B45-7146-A7012B609A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752414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3" imgW="233" imgH="233" progId="TCLayout.ActiveDocument.1">
                  <p:embed/>
                </p:oleObj>
              </mc:Choice>
              <mc:Fallback>
                <p:oleObj name="Слайд think-cell" r:id="rId13" imgW="233" imgH="233" progId="TCLayout.ActiveDocument.1">
                  <p:embed/>
                  <p:pic>
                    <p:nvPicPr>
                      <p:cNvPr id="14" name="Объект 13" hidden="1">
                        <a:extLst>
                          <a:ext uri="{FF2B5EF4-FFF2-40B4-BE49-F238E27FC236}">
                            <a16:creationId xmlns:a16="http://schemas.microsoft.com/office/drawing/2014/main" id="{4AA46163-C0B9-4B45-7146-A7012B609A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5592245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sic_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ACBFDDBA-C89E-74A9-2B9B-09F01BBBFF66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641985" y="6415289"/>
            <a:ext cx="1044575" cy="231716"/>
            <a:chOff x="8489504" y="910877"/>
            <a:chExt cx="2734509" cy="606592"/>
          </a:xfrm>
          <a:solidFill>
            <a:schemeClr val="bg1"/>
          </a:solidFill>
        </p:grpSpPr>
        <p:sp>
          <p:nvSpPr>
            <p:cNvPr id="5" name="Полилиния 4">
              <a:extLst>
                <a:ext uri="{FF2B5EF4-FFF2-40B4-BE49-F238E27FC236}">
                  <a16:creationId xmlns:a16="http://schemas.microsoft.com/office/drawing/2014/main" id="{B3BBE626-21CF-2C0F-49DC-7B9189E1351C}"/>
                </a:ext>
              </a:extLst>
            </p:cNvPr>
            <p:cNvSpPr/>
            <p:nvPr/>
          </p:nvSpPr>
          <p:spPr>
            <a:xfrm>
              <a:off x="10064626" y="910877"/>
              <a:ext cx="1159387" cy="606592"/>
            </a:xfrm>
            <a:custGeom>
              <a:avLst/>
              <a:gdLst>
                <a:gd name="connsiteX0" fmla="*/ 0 w 1159387"/>
                <a:gd name="connsiteY0" fmla="*/ 178242 h 606592"/>
                <a:gd name="connsiteX1" fmla="*/ 0 w 1159387"/>
                <a:gd name="connsiteY1" fmla="*/ 237024 h 606592"/>
                <a:gd name="connsiteX2" fmla="*/ 9135 w 1159387"/>
                <a:gd name="connsiteY2" fmla="*/ 246098 h 606592"/>
                <a:gd name="connsiteX3" fmla="*/ 30214 w 1159387"/>
                <a:gd name="connsiteY3" fmla="*/ 250009 h 606592"/>
                <a:gd name="connsiteX4" fmla="*/ 32261 w 1159387"/>
                <a:gd name="connsiteY4" fmla="*/ 250607 h 606592"/>
                <a:gd name="connsiteX5" fmla="*/ 85030 w 1159387"/>
                <a:gd name="connsiteY5" fmla="*/ 319338 h 606592"/>
                <a:gd name="connsiteX6" fmla="*/ 85030 w 1159387"/>
                <a:gd name="connsiteY6" fmla="*/ 483817 h 606592"/>
                <a:gd name="connsiteX7" fmla="*/ 120863 w 1159387"/>
                <a:gd name="connsiteY7" fmla="*/ 570989 h 606592"/>
                <a:gd name="connsiteX8" fmla="*/ 205874 w 1159387"/>
                <a:gd name="connsiteY8" fmla="*/ 606364 h 606592"/>
                <a:gd name="connsiteX9" fmla="*/ 207284 w 1159387"/>
                <a:gd name="connsiteY9" fmla="*/ 606364 h 606592"/>
                <a:gd name="connsiteX10" fmla="*/ 235964 w 1159387"/>
                <a:gd name="connsiteY10" fmla="*/ 606364 h 606592"/>
                <a:gd name="connsiteX11" fmla="*/ 247356 w 1159387"/>
                <a:gd name="connsiteY11" fmla="*/ 593268 h 606592"/>
                <a:gd name="connsiteX12" fmla="*/ 247337 w 1159387"/>
                <a:gd name="connsiteY12" fmla="*/ 563750 h 606592"/>
                <a:gd name="connsiteX13" fmla="*/ 247337 w 1159387"/>
                <a:gd name="connsiteY13" fmla="*/ 541928 h 606592"/>
                <a:gd name="connsiteX14" fmla="*/ 236802 w 1159387"/>
                <a:gd name="connsiteY14" fmla="*/ 530565 h 606592"/>
                <a:gd name="connsiteX15" fmla="*/ 197454 w 1159387"/>
                <a:gd name="connsiteY15" fmla="*/ 530527 h 606592"/>
                <a:gd name="connsiteX16" fmla="*/ 159506 w 1159387"/>
                <a:gd name="connsiteY16" fmla="*/ 492285 h 606592"/>
                <a:gd name="connsiteX17" fmla="*/ 159506 w 1159387"/>
                <a:gd name="connsiteY17" fmla="*/ 403084 h 606592"/>
                <a:gd name="connsiteX18" fmla="*/ 159506 w 1159387"/>
                <a:gd name="connsiteY18" fmla="*/ 316772 h 606592"/>
                <a:gd name="connsiteX19" fmla="*/ 100365 w 1159387"/>
                <a:gd name="connsiteY19" fmla="*/ 207274 h 606592"/>
                <a:gd name="connsiteX20" fmla="*/ 99080 w 1159387"/>
                <a:gd name="connsiteY20" fmla="*/ 206423 h 606592"/>
                <a:gd name="connsiteX21" fmla="*/ 100356 w 1159387"/>
                <a:gd name="connsiteY21" fmla="*/ 205547 h 606592"/>
                <a:gd name="connsiteX22" fmla="*/ 159506 w 1159387"/>
                <a:gd name="connsiteY22" fmla="*/ 90665 h 606592"/>
                <a:gd name="connsiteX23" fmla="*/ 159506 w 1159387"/>
                <a:gd name="connsiteY23" fmla="*/ 10992 h 606592"/>
                <a:gd name="connsiteX24" fmla="*/ 148962 w 1159387"/>
                <a:gd name="connsiteY24" fmla="*/ 0 h 606592"/>
                <a:gd name="connsiteX25" fmla="*/ 95565 w 1159387"/>
                <a:gd name="connsiteY25" fmla="*/ 0 h 606592"/>
                <a:gd name="connsiteX26" fmla="*/ 85030 w 1159387"/>
                <a:gd name="connsiteY26" fmla="*/ 10992 h 606592"/>
                <a:gd name="connsiteX27" fmla="*/ 85030 w 1159387"/>
                <a:gd name="connsiteY27" fmla="*/ 90665 h 606592"/>
                <a:gd name="connsiteX28" fmla="*/ 32366 w 1159387"/>
                <a:gd name="connsiteY28" fmla="*/ 162761 h 606592"/>
                <a:gd name="connsiteX29" fmla="*/ 30214 w 1159387"/>
                <a:gd name="connsiteY29" fmla="*/ 163402 h 606592"/>
                <a:gd name="connsiteX30" fmla="*/ 9135 w 1159387"/>
                <a:gd name="connsiteY30" fmla="*/ 167302 h 606592"/>
                <a:gd name="connsiteX31" fmla="*/ 0 w 1159387"/>
                <a:gd name="connsiteY31" fmla="*/ 178242 h 606592"/>
                <a:gd name="connsiteX32" fmla="*/ 933768 w 1159387"/>
                <a:gd name="connsiteY32" fmla="*/ 313343 h 606592"/>
                <a:gd name="connsiteX33" fmla="*/ 933768 w 1159387"/>
                <a:gd name="connsiteY33" fmla="*/ 468558 h 606592"/>
                <a:gd name="connsiteX34" fmla="*/ 930749 w 1159387"/>
                <a:gd name="connsiteY34" fmla="*/ 475902 h 606592"/>
                <a:gd name="connsiteX35" fmla="*/ 923472 w 1159387"/>
                <a:gd name="connsiteY35" fmla="*/ 478940 h 606592"/>
                <a:gd name="connsiteX36" fmla="*/ 869627 w 1159387"/>
                <a:gd name="connsiteY36" fmla="*/ 478902 h 606592"/>
                <a:gd name="connsiteX37" fmla="*/ 859349 w 1159387"/>
                <a:gd name="connsiteY37" fmla="*/ 468530 h 606592"/>
                <a:gd name="connsiteX38" fmla="*/ 859349 w 1159387"/>
                <a:gd name="connsiteY38" fmla="*/ 10375 h 606592"/>
                <a:gd name="connsiteX39" fmla="*/ 869636 w 1159387"/>
                <a:gd name="connsiteY39" fmla="*/ 0 h 606592"/>
                <a:gd name="connsiteX40" fmla="*/ 923472 w 1159387"/>
                <a:gd name="connsiteY40" fmla="*/ 0 h 606592"/>
                <a:gd name="connsiteX41" fmla="*/ 933768 w 1159387"/>
                <a:gd name="connsiteY41" fmla="*/ 10375 h 606592"/>
                <a:gd name="connsiteX42" fmla="*/ 933768 w 1159387"/>
                <a:gd name="connsiteY42" fmla="*/ 193355 h 606592"/>
                <a:gd name="connsiteX43" fmla="*/ 1159388 w 1159387"/>
                <a:gd name="connsiteY43" fmla="*/ 312995 h 606592"/>
                <a:gd name="connsiteX44" fmla="*/ 1159388 w 1159387"/>
                <a:gd name="connsiteY44" fmla="*/ 468520 h 606592"/>
                <a:gd name="connsiteX45" fmla="*/ 1156378 w 1159387"/>
                <a:gd name="connsiteY45" fmla="*/ 475854 h 606592"/>
                <a:gd name="connsiteX46" fmla="*/ 1149101 w 1159387"/>
                <a:gd name="connsiteY46" fmla="*/ 478893 h 606592"/>
                <a:gd name="connsiteX47" fmla="*/ 1095199 w 1159387"/>
                <a:gd name="connsiteY47" fmla="*/ 478893 h 606592"/>
                <a:gd name="connsiteX48" fmla="*/ 1087922 w 1159387"/>
                <a:gd name="connsiteY48" fmla="*/ 475854 h 606592"/>
                <a:gd name="connsiteX49" fmla="*/ 1084912 w 1159387"/>
                <a:gd name="connsiteY49" fmla="*/ 468520 h 606592"/>
                <a:gd name="connsiteX50" fmla="*/ 1084912 w 1159387"/>
                <a:gd name="connsiteY50" fmla="*/ 312995 h 606592"/>
                <a:gd name="connsiteX51" fmla="*/ 966868 w 1159387"/>
                <a:gd name="connsiteY51" fmla="*/ 246504 h 606592"/>
                <a:gd name="connsiteX52" fmla="*/ 933768 w 1159387"/>
                <a:gd name="connsiteY52" fmla="*/ 313343 h 606592"/>
                <a:gd name="connsiteX53" fmla="*/ 596563 w 1159387"/>
                <a:gd name="connsiteY53" fmla="*/ 207040 h 606592"/>
                <a:gd name="connsiteX54" fmla="*/ 549471 w 1159387"/>
                <a:gd name="connsiteY54" fmla="*/ 323084 h 606592"/>
                <a:gd name="connsiteX55" fmla="*/ 596563 w 1159387"/>
                <a:gd name="connsiteY55" fmla="*/ 439145 h 606592"/>
                <a:gd name="connsiteX56" fmla="*/ 797522 w 1159387"/>
                <a:gd name="connsiteY56" fmla="*/ 460995 h 606592"/>
                <a:gd name="connsiteX57" fmla="*/ 799923 w 1159387"/>
                <a:gd name="connsiteY57" fmla="*/ 459357 h 606592"/>
                <a:gd name="connsiteX58" fmla="*/ 805247 w 1159387"/>
                <a:gd name="connsiteY58" fmla="*/ 455385 h 606592"/>
                <a:gd name="connsiteX59" fmla="*/ 806018 w 1159387"/>
                <a:gd name="connsiteY59" fmla="*/ 438745 h 606592"/>
                <a:gd name="connsiteX60" fmla="*/ 790226 w 1159387"/>
                <a:gd name="connsiteY60" fmla="*/ 417067 h 606592"/>
                <a:gd name="connsiteX61" fmla="*/ 776110 w 1159387"/>
                <a:gd name="connsiteY61" fmla="*/ 397747 h 606592"/>
                <a:gd name="connsiteX62" fmla="*/ 760975 w 1159387"/>
                <a:gd name="connsiteY62" fmla="*/ 394585 h 606592"/>
                <a:gd name="connsiteX63" fmla="*/ 757003 w 1159387"/>
                <a:gd name="connsiteY63" fmla="*/ 397067 h 606592"/>
                <a:gd name="connsiteX64" fmla="*/ 619737 w 1159387"/>
                <a:gd name="connsiteY64" fmla="*/ 323084 h 606592"/>
                <a:gd name="connsiteX65" fmla="*/ 756945 w 1159387"/>
                <a:gd name="connsiteY65" fmla="*/ 249203 h 606592"/>
                <a:gd name="connsiteX66" fmla="*/ 760975 w 1159387"/>
                <a:gd name="connsiteY66" fmla="*/ 251591 h 606592"/>
                <a:gd name="connsiteX67" fmla="*/ 776148 w 1159387"/>
                <a:gd name="connsiteY67" fmla="*/ 248416 h 606592"/>
                <a:gd name="connsiteX68" fmla="*/ 790207 w 1159387"/>
                <a:gd name="connsiteY68" fmla="*/ 229138 h 606592"/>
                <a:gd name="connsiteX69" fmla="*/ 804618 w 1159387"/>
                <a:gd name="connsiteY69" fmla="*/ 209395 h 606592"/>
                <a:gd name="connsiteX70" fmla="*/ 799903 w 1159387"/>
                <a:gd name="connsiteY70" fmla="*/ 186809 h 606592"/>
                <a:gd name="connsiteX71" fmla="*/ 797522 w 1159387"/>
                <a:gd name="connsiteY71" fmla="*/ 185195 h 606592"/>
                <a:gd name="connsiteX72" fmla="*/ 596563 w 1159387"/>
                <a:gd name="connsiteY72" fmla="*/ 207040 h 606592"/>
                <a:gd name="connsiteX73" fmla="*/ 293714 w 1159387"/>
                <a:gd name="connsiteY73" fmla="*/ 350313 h 606592"/>
                <a:gd name="connsiteX74" fmla="*/ 469385 w 1159387"/>
                <a:gd name="connsiteY74" fmla="*/ 350313 h 606592"/>
                <a:gd name="connsiteX75" fmla="*/ 507323 w 1159387"/>
                <a:gd name="connsiteY75" fmla="*/ 312290 h 606592"/>
                <a:gd name="connsiteX76" fmla="*/ 472890 w 1159387"/>
                <a:gd name="connsiteY76" fmla="*/ 208836 h 606592"/>
                <a:gd name="connsiteX77" fmla="*/ 368190 w 1159387"/>
                <a:gd name="connsiteY77" fmla="*/ 159530 h 606592"/>
                <a:gd name="connsiteX78" fmla="*/ 219228 w 1159387"/>
                <a:gd name="connsiteY78" fmla="*/ 323103 h 606592"/>
                <a:gd name="connsiteX79" fmla="*/ 375915 w 1159387"/>
                <a:gd name="connsiteY79" fmla="*/ 486674 h 606592"/>
                <a:gd name="connsiteX80" fmla="*/ 502398 w 1159387"/>
                <a:gd name="connsiteY80" fmla="*/ 450623 h 606592"/>
                <a:gd name="connsiteX81" fmla="*/ 505913 w 1159387"/>
                <a:gd name="connsiteY81" fmla="*/ 435907 h 606592"/>
                <a:gd name="connsiteX82" fmla="*/ 504818 w 1159387"/>
                <a:gd name="connsiteY82" fmla="*/ 434088 h 606592"/>
                <a:gd name="connsiteX83" fmla="*/ 478519 w 1159387"/>
                <a:gd name="connsiteY83" fmla="*/ 391689 h 606592"/>
                <a:gd name="connsiteX84" fmla="*/ 464460 w 1159387"/>
                <a:gd name="connsiteY84" fmla="*/ 388476 h 606592"/>
                <a:gd name="connsiteX85" fmla="*/ 377335 w 1159387"/>
                <a:gd name="connsiteY85" fmla="*/ 414990 h 606592"/>
                <a:gd name="connsiteX86" fmla="*/ 293714 w 1159387"/>
                <a:gd name="connsiteY86" fmla="*/ 350313 h 606592"/>
                <a:gd name="connsiteX87" fmla="*/ 430732 w 1159387"/>
                <a:gd name="connsiteY87" fmla="*/ 287912 h 606592"/>
                <a:gd name="connsiteX88" fmla="*/ 368190 w 1159387"/>
                <a:gd name="connsiteY88" fmla="*/ 232071 h 606592"/>
                <a:gd name="connsiteX89" fmla="*/ 296524 w 1159387"/>
                <a:gd name="connsiteY89" fmla="*/ 287912 h 606592"/>
                <a:gd name="connsiteX90" fmla="*/ 430732 w 1159387"/>
                <a:gd name="connsiteY90" fmla="*/ 287912 h 606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</a:cxnLst>
              <a:rect l="l" t="t" r="r" b="b"/>
              <a:pathLst>
                <a:path w="1159387" h="606592">
                  <a:moveTo>
                    <a:pt x="0" y="178242"/>
                  </a:moveTo>
                  <a:lnTo>
                    <a:pt x="0" y="237024"/>
                  </a:lnTo>
                  <a:cubicBezTo>
                    <a:pt x="695" y="241577"/>
                    <a:pt x="4220" y="245266"/>
                    <a:pt x="9135" y="246098"/>
                  </a:cubicBezTo>
                  <a:cubicBezTo>
                    <a:pt x="16869" y="247387"/>
                    <a:pt x="27404" y="249197"/>
                    <a:pt x="30214" y="250009"/>
                  </a:cubicBezTo>
                  <a:cubicBezTo>
                    <a:pt x="30833" y="250193"/>
                    <a:pt x="31518" y="250390"/>
                    <a:pt x="32261" y="250607"/>
                  </a:cubicBezTo>
                  <a:cubicBezTo>
                    <a:pt x="46749" y="254784"/>
                    <a:pt x="83697" y="265433"/>
                    <a:pt x="85030" y="319338"/>
                  </a:cubicBezTo>
                  <a:lnTo>
                    <a:pt x="85030" y="483817"/>
                  </a:lnTo>
                  <a:cubicBezTo>
                    <a:pt x="85030" y="516573"/>
                    <a:pt x="97670" y="547958"/>
                    <a:pt x="120863" y="570989"/>
                  </a:cubicBezTo>
                  <a:cubicBezTo>
                    <a:pt x="143342" y="593696"/>
                    <a:pt x="174261" y="606402"/>
                    <a:pt x="205874" y="606364"/>
                  </a:cubicBezTo>
                  <a:lnTo>
                    <a:pt x="207284" y="606364"/>
                  </a:lnTo>
                  <a:cubicBezTo>
                    <a:pt x="207284" y="606364"/>
                    <a:pt x="207284" y="606879"/>
                    <a:pt x="235964" y="606364"/>
                  </a:cubicBezTo>
                  <a:cubicBezTo>
                    <a:pt x="243232" y="606231"/>
                    <a:pt x="247461" y="601383"/>
                    <a:pt x="247356" y="593268"/>
                  </a:cubicBezTo>
                  <a:cubicBezTo>
                    <a:pt x="247222" y="582028"/>
                    <a:pt x="247527" y="573246"/>
                    <a:pt x="247337" y="563750"/>
                  </a:cubicBezTo>
                  <a:cubicBezTo>
                    <a:pt x="247184" y="555816"/>
                    <a:pt x="247337" y="548520"/>
                    <a:pt x="247337" y="541928"/>
                  </a:cubicBezTo>
                  <a:cubicBezTo>
                    <a:pt x="247337" y="535804"/>
                    <a:pt x="242422" y="530794"/>
                    <a:pt x="236802" y="530565"/>
                  </a:cubicBezTo>
                  <a:cubicBezTo>
                    <a:pt x="226258" y="530527"/>
                    <a:pt x="211504" y="530527"/>
                    <a:pt x="197454" y="530527"/>
                  </a:cubicBezTo>
                  <a:cubicBezTo>
                    <a:pt x="177071" y="530527"/>
                    <a:pt x="159506" y="513401"/>
                    <a:pt x="159506" y="492285"/>
                  </a:cubicBezTo>
                  <a:lnTo>
                    <a:pt x="159506" y="403084"/>
                  </a:lnTo>
                  <a:cubicBezTo>
                    <a:pt x="160202" y="402874"/>
                    <a:pt x="159506" y="317750"/>
                    <a:pt x="159506" y="316772"/>
                  </a:cubicBezTo>
                  <a:cubicBezTo>
                    <a:pt x="157544" y="243958"/>
                    <a:pt x="109233" y="212964"/>
                    <a:pt x="100365" y="207274"/>
                  </a:cubicBezTo>
                  <a:cubicBezTo>
                    <a:pt x="99708" y="206855"/>
                    <a:pt x="99270" y="206569"/>
                    <a:pt x="99080" y="206423"/>
                  </a:cubicBezTo>
                  <a:cubicBezTo>
                    <a:pt x="99270" y="206264"/>
                    <a:pt x="99708" y="205979"/>
                    <a:pt x="100356" y="205547"/>
                  </a:cubicBezTo>
                  <a:cubicBezTo>
                    <a:pt x="109395" y="199604"/>
                    <a:pt x="159506" y="166622"/>
                    <a:pt x="159506" y="90665"/>
                  </a:cubicBezTo>
                  <a:lnTo>
                    <a:pt x="159506" y="10992"/>
                  </a:lnTo>
                  <a:cubicBezTo>
                    <a:pt x="159506" y="4922"/>
                    <a:pt x="155287" y="0"/>
                    <a:pt x="148962" y="0"/>
                  </a:cubicBezTo>
                  <a:lnTo>
                    <a:pt x="95565" y="0"/>
                  </a:lnTo>
                  <a:cubicBezTo>
                    <a:pt x="89945" y="0"/>
                    <a:pt x="85030" y="4922"/>
                    <a:pt x="85030" y="10992"/>
                  </a:cubicBezTo>
                  <a:lnTo>
                    <a:pt x="85030" y="90665"/>
                  </a:lnTo>
                  <a:cubicBezTo>
                    <a:pt x="85030" y="147350"/>
                    <a:pt x="47054" y="158469"/>
                    <a:pt x="32366" y="162761"/>
                  </a:cubicBezTo>
                  <a:cubicBezTo>
                    <a:pt x="31576" y="162997"/>
                    <a:pt x="30861" y="163206"/>
                    <a:pt x="30214" y="163402"/>
                  </a:cubicBezTo>
                  <a:cubicBezTo>
                    <a:pt x="27404" y="164209"/>
                    <a:pt x="16869" y="166026"/>
                    <a:pt x="9135" y="167302"/>
                  </a:cubicBezTo>
                  <a:cubicBezTo>
                    <a:pt x="3515" y="168248"/>
                    <a:pt x="0" y="172858"/>
                    <a:pt x="0" y="178242"/>
                  </a:cubicBezTo>
                  <a:close/>
                  <a:moveTo>
                    <a:pt x="933768" y="313343"/>
                  </a:moveTo>
                  <a:lnTo>
                    <a:pt x="933768" y="468558"/>
                  </a:lnTo>
                  <a:cubicBezTo>
                    <a:pt x="933768" y="471320"/>
                    <a:pt x="932682" y="473949"/>
                    <a:pt x="930749" y="475902"/>
                  </a:cubicBezTo>
                  <a:cubicBezTo>
                    <a:pt x="928825" y="477845"/>
                    <a:pt x="926206" y="478940"/>
                    <a:pt x="923472" y="478940"/>
                  </a:cubicBezTo>
                  <a:cubicBezTo>
                    <a:pt x="909270" y="478921"/>
                    <a:pt x="883819" y="478912"/>
                    <a:pt x="869627" y="478902"/>
                  </a:cubicBezTo>
                  <a:cubicBezTo>
                    <a:pt x="863950" y="478893"/>
                    <a:pt x="859349" y="474254"/>
                    <a:pt x="859349" y="468530"/>
                  </a:cubicBezTo>
                  <a:cubicBezTo>
                    <a:pt x="859349" y="405427"/>
                    <a:pt x="859349" y="73513"/>
                    <a:pt x="859349" y="10375"/>
                  </a:cubicBezTo>
                  <a:cubicBezTo>
                    <a:pt x="859349" y="4648"/>
                    <a:pt x="863959" y="0"/>
                    <a:pt x="869636" y="0"/>
                  </a:cubicBezTo>
                  <a:cubicBezTo>
                    <a:pt x="883838" y="0"/>
                    <a:pt x="909279" y="0"/>
                    <a:pt x="923472" y="0"/>
                  </a:cubicBezTo>
                  <a:cubicBezTo>
                    <a:pt x="929158" y="0"/>
                    <a:pt x="933768" y="4648"/>
                    <a:pt x="933768" y="10375"/>
                  </a:cubicBezTo>
                  <a:cubicBezTo>
                    <a:pt x="933768" y="50513"/>
                    <a:pt x="933768" y="193355"/>
                    <a:pt x="933768" y="193355"/>
                  </a:cubicBezTo>
                  <a:cubicBezTo>
                    <a:pt x="1013169" y="118433"/>
                    <a:pt x="1159388" y="172318"/>
                    <a:pt x="1159388" y="312995"/>
                  </a:cubicBezTo>
                  <a:lnTo>
                    <a:pt x="1159388" y="468520"/>
                  </a:lnTo>
                  <a:cubicBezTo>
                    <a:pt x="1159388" y="471273"/>
                    <a:pt x="1158302" y="473911"/>
                    <a:pt x="1156378" y="475854"/>
                  </a:cubicBezTo>
                  <a:cubicBezTo>
                    <a:pt x="1154445" y="477797"/>
                    <a:pt x="1151835" y="478893"/>
                    <a:pt x="1149101" y="478893"/>
                  </a:cubicBezTo>
                  <a:cubicBezTo>
                    <a:pt x="1134899" y="478893"/>
                    <a:pt x="1109401" y="478893"/>
                    <a:pt x="1095199" y="478893"/>
                  </a:cubicBezTo>
                  <a:cubicBezTo>
                    <a:pt x="1092465" y="478893"/>
                    <a:pt x="1089855" y="477797"/>
                    <a:pt x="1087922" y="475854"/>
                  </a:cubicBezTo>
                  <a:cubicBezTo>
                    <a:pt x="1085998" y="473911"/>
                    <a:pt x="1084912" y="471273"/>
                    <a:pt x="1084912" y="468520"/>
                  </a:cubicBezTo>
                  <a:cubicBezTo>
                    <a:pt x="1084912" y="432211"/>
                    <a:pt x="1084912" y="312995"/>
                    <a:pt x="1084912" y="312995"/>
                  </a:cubicBezTo>
                  <a:cubicBezTo>
                    <a:pt x="1084912" y="239513"/>
                    <a:pt x="1011121" y="217047"/>
                    <a:pt x="966868" y="246504"/>
                  </a:cubicBezTo>
                  <a:cubicBezTo>
                    <a:pt x="947885" y="259141"/>
                    <a:pt x="933768" y="281804"/>
                    <a:pt x="933768" y="313343"/>
                  </a:cubicBezTo>
                  <a:close/>
                  <a:moveTo>
                    <a:pt x="596563" y="207040"/>
                  </a:moveTo>
                  <a:cubicBezTo>
                    <a:pt x="564235" y="238922"/>
                    <a:pt x="549471" y="280953"/>
                    <a:pt x="549471" y="323084"/>
                  </a:cubicBezTo>
                  <a:cubicBezTo>
                    <a:pt x="549471" y="365223"/>
                    <a:pt x="564235" y="407246"/>
                    <a:pt x="596563" y="439145"/>
                  </a:cubicBezTo>
                  <a:cubicBezTo>
                    <a:pt x="650665" y="494085"/>
                    <a:pt x="734285" y="501400"/>
                    <a:pt x="797522" y="460995"/>
                  </a:cubicBezTo>
                  <a:cubicBezTo>
                    <a:pt x="798208" y="460481"/>
                    <a:pt x="799037" y="459938"/>
                    <a:pt x="799923" y="459357"/>
                  </a:cubicBezTo>
                  <a:cubicBezTo>
                    <a:pt x="801761" y="458147"/>
                    <a:pt x="803828" y="456795"/>
                    <a:pt x="805247" y="455385"/>
                  </a:cubicBezTo>
                  <a:cubicBezTo>
                    <a:pt x="808762" y="451909"/>
                    <a:pt x="810762" y="445470"/>
                    <a:pt x="806018" y="438745"/>
                  </a:cubicBezTo>
                  <a:cubicBezTo>
                    <a:pt x="801761" y="432697"/>
                    <a:pt x="796170" y="425153"/>
                    <a:pt x="790226" y="417067"/>
                  </a:cubicBezTo>
                  <a:cubicBezTo>
                    <a:pt x="785121" y="410132"/>
                    <a:pt x="780339" y="403665"/>
                    <a:pt x="776110" y="397747"/>
                  </a:cubicBezTo>
                  <a:cubicBezTo>
                    <a:pt x="772671" y="392947"/>
                    <a:pt x="765890" y="391664"/>
                    <a:pt x="760975" y="394585"/>
                  </a:cubicBezTo>
                  <a:cubicBezTo>
                    <a:pt x="759565" y="395461"/>
                    <a:pt x="758393" y="396172"/>
                    <a:pt x="757003" y="397067"/>
                  </a:cubicBezTo>
                  <a:cubicBezTo>
                    <a:pt x="686032" y="442936"/>
                    <a:pt x="619737" y="382374"/>
                    <a:pt x="619737" y="323084"/>
                  </a:cubicBezTo>
                  <a:cubicBezTo>
                    <a:pt x="619737" y="263795"/>
                    <a:pt x="687384" y="203573"/>
                    <a:pt x="756945" y="249203"/>
                  </a:cubicBezTo>
                  <a:cubicBezTo>
                    <a:pt x="758308" y="250105"/>
                    <a:pt x="759565" y="250708"/>
                    <a:pt x="760975" y="251591"/>
                  </a:cubicBezTo>
                  <a:cubicBezTo>
                    <a:pt x="765890" y="254512"/>
                    <a:pt x="772805" y="253115"/>
                    <a:pt x="776148" y="248416"/>
                  </a:cubicBezTo>
                  <a:cubicBezTo>
                    <a:pt x="780377" y="242497"/>
                    <a:pt x="785102" y="236065"/>
                    <a:pt x="790207" y="229138"/>
                  </a:cubicBezTo>
                  <a:cubicBezTo>
                    <a:pt x="795560" y="221854"/>
                    <a:pt x="800580" y="215072"/>
                    <a:pt x="804618" y="209395"/>
                  </a:cubicBezTo>
                  <a:cubicBezTo>
                    <a:pt x="811362" y="199928"/>
                    <a:pt x="809571" y="193191"/>
                    <a:pt x="799903" y="186809"/>
                  </a:cubicBezTo>
                  <a:cubicBezTo>
                    <a:pt x="799027" y="186231"/>
                    <a:pt x="798199" y="185691"/>
                    <a:pt x="797522" y="185195"/>
                  </a:cubicBezTo>
                  <a:cubicBezTo>
                    <a:pt x="734285" y="144778"/>
                    <a:pt x="650665" y="152087"/>
                    <a:pt x="596563" y="207040"/>
                  </a:cubicBezTo>
                  <a:close/>
                  <a:moveTo>
                    <a:pt x="293714" y="350313"/>
                  </a:moveTo>
                  <a:lnTo>
                    <a:pt x="469385" y="350313"/>
                  </a:lnTo>
                  <a:cubicBezTo>
                    <a:pt x="490463" y="350313"/>
                    <a:pt x="507323" y="333283"/>
                    <a:pt x="507323" y="312290"/>
                  </a:cubicBezTo>
                  <a:cubicBezTo>
                    <a:pt x="507323" y="265561"/>
                    <a:pt x="499588" y="240644"/>
                    <a:pt x="472890" y="208836"/>
                  </a:cubicBezTo>
                  <a:cubicBezTo>
                    <a:pt x="445486" y="176865"/>
                    <a:pt x="401919" y="159530"/>
                    <a:pt x="368190" y="159530"/>
                  </a:cubicBezTo>
                  <a:cubicBezTo>
                    <a:pt x="283875" y="159530"/>
                    <a:pt x="219228" y="231722"/>
                    <a:pt x="219228" y="323103"/>
                  </a:cubicBezTo>
                  <a:cubicBezTo>
                    <a:pt x="219228" y="435697"/>
                    <a:pt x="306354" y="486674"/>
                    <a:pt x="375915" y="486674"/>
                  </a:cubicBezTo>
                  <a:cubicBezTo>
                    <a:pt x="425807" y="486674"/>
                    <a:pt x="464460" y="474616"/>
                    <a:pt x="502398" y="450623"/>
                  </a:cubicBezTo>
                  <a:cubicBezTo>
                    <a:pt x="506618" y="447470"/>
                    <a:pt x="508723" y="441003"/>
                    <a:pt x="505913" y="435907"/>
                  </a:cubicBezTo>
                  <a:lnTo>
                    <a:pt x="504818" y="434088"/>
                  </a:lnTo>
                  <a:cubicBezTo>
                    <a:pt x="497150" y="421362"/>
                    <a:pt x="486558" y="403789"/>
                    <a:pt x="478519" y="391689"/>
                  </a:cubicBezTo>
                  <a:cubicBezTo>
                    <a:pt x="475709" y="386901"/>
                    <a:pt x="469385" y="385492"/>
                    <a:pt x="464460" y="388476"/>
                  </a:cubicBezTo>
                  <a:cubicBezTo>
                    <a:pt x="440571" y="402722"/>
                    <a:pt x="415273" y="415266"/>
                    <a:pt x="377335" y="414990"/>
                  </a:cubicBezTo>
                  <a:cubicBezTo>
                    <a:pt x="342197" y="414742"/>
                    <a:pt x="304954" y="392280"/>
                    <a:pt x="293714" y="350313"/>
                  </a:cubicBezTo>
                  <a:close/>
                  <a:moveTo>
                    <a:pt x="430732" y="287912"/>
                  </a:moveTo>
                  <a:cubicBezTo>
                    <a:pt x="424407" y="240694"/>
                    <a:pt x="392079" y="232071"/>
                    <a:pt x="368190" y="232071"/>
                  </a:cubicBezTo>
                  <a:cubicBezTo>
                    <a:pt x="335872" y="232071"/>
                    <a:pt x="308478" y="256182"/>
                    <a:pt x="296524" y="287912"/>
                  </a:cubicBezTo>
                  <a:lnTo>
                    <a:pt x="430732" y="287912"/>
                  </a:lnTo>
                  <a:close/>
                </a:path>
              </a:pathLst>
            </a:custGeom>
            <a:grpFill/>
            <a:ln w="76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7" name="Полилиния 6">
              <a:extLst>
                <a:ext uri="{FF2B5EF4-FFF2-40B4-BE49-F238E27FC236}">
                  <a16:creationId xmlns:a16="http://schemas.microsoft.com/office/drawing/2014/main" id="{1CF7CFB8-8200-382F-7DBB-29C09AF7AE1B}"/>
                </a:ext>
              </a:extLst>
            </p:cNvPr>
            <p:cNvSpPr/>
            <p:nvPr/>
          </p:nvSpPr>
          <p:spPr>
            <a:xfrm>
              <a:off x="8489504" y="1070894"/>
              <a:ext cx="1492273" cy="326563"/>
            </a:xfrm>
            <a:custGeom>
              <a:avLst/>
              <a:gdLst>
                <a:gd name="connsiteX0" fmla="*/ 180273 w 1492273"/>
                <a:gd name="connsiteY0" fmla="*/ 900 h 326563"/>
                <a:gd name="connsiteX1" fmla="*/ 83526 w 1492273"/>
                <a:gd name="connsiteY1" fmla="*/ 20775 h 326563"/>
                <a:gd name="connsiteX2" fmla="*/ 15954 w 1492273"/>
                <a:gd name="connsiteY2" fmla="*/ 92853 h 326563"/>
                <a:gd name="connsiteX3" fmla="*/ 2323 w 1492273"/>
                <a:gd name="connsiteY3" fmla="*/ 190737 h 326563"/>
                <a:gd name="connsiteX4" fmla="*/ 47618 w 1492273"/>
                <a:gd name="connsiteY4" fmla="*/ 278557 h 326563"/>
                <a:gd name="connsiteX5" fmla="*/ 135243 w 1492273"/>
                <a:gd name="connsiteY5" fmla="*/ 324153 h 326563"/>
                <a:gd name="connsiteX6" fmla="*/ 233098 w 1492273"/>
                <a:gd name="connsiteY6" fmla="*/ 310818 h 326563"/>
                <a:gd name="connsiteX7" fmla="*/ 305341 w 1492273"/>
                <a:gd name="connsiteY7" fmla="*/ 243429 h 326563"/>
                <a:gd name="connsiteX8" fmla="*/ 325507 w 1492273"/>
                <a:gd name="connsiteY8" fmla="*/ 146675 h 326563"/>
                <a:gd name="connsiteX9" fmla="*/ 278778 w 1492273"/>
                <a:gd name="connsiteY9" fmla="*/ 47965 h 326563"/>
                <a:gd name="connsiteX10" fmla="*/ 180273 w 1492273"/>
                <a:gd name="connsiteY10" fmla="*/ 900 h 326563"/>
                <a:gd name="connsiteX11" fmla="*/ 174984 w 1492273"/>
                <a:gd name="connsiteY11" fmla="*/ 249697 h 326563"/>
                <a:gd name="connsiteX12" fmla="*/ 122555 w 1492273"/>
                <a:gd name="connsiteY12" fmla="*/ 240277 h 326563"/>
                <a:gd name="connsiteX13" fmla="*/ 85427 w 1492273"/>
                <a:gd name="connsiteY13" fmla="*/ 202047 h 326563"/>
                <a:gd name="connsiteX14" fmla="*/ 77507 w 1492273"/>
                <a:gd name="connsiteY14" fmla="*/ 149329 h 326563"/>
                <a:gd name="connsiteX15" fmla="*/ 101766 w 1492273"/>
                <a:gd name="connsiteY15" fmla="*/ 101883 h 326563"/>
                <a:gd name="connsiteX16" fmla="*/ 149113 w 1492273"/>
                <a:gd name="connsiteY16" fmla="*/ 77461 h 326563"/>
                <a:gd name="connsiteX17" fmla="*/ 201825 w 1492273"/>
                <a:gd name="connsiteY17" fmla="*/ 85220 h 326563"/>
                <a:gd name="connsiteX18" fmla="*/ 240132 w 1492273"/>
                <a:gd name="connsiteY18" fmla="*/ 122247 h 326563"/>
                <a:gd name="connsiteX19" fmla="*/ 249714 w 1492273"/>
                <a:gd name="connsiteY19" fmla="*/ 174684 h 326563"/>
                <a:gd name="connsiteX20" fmla="*/ 225058 w 1492273"/>
                <a:gd name="connsiteY20" fmla="*/ 224868 h 326563"/>
                <a:gd name="connsiteX21" fmla="*/ 174984 w 1492273"/>
                <a:gd name="connsiteY21" fmla="*/ 249697 h 326563"/>
                <a:gd name="connsiteX22" fmla="*/ 412780 w 1492273"/>
                <a:gd name="connsiteY22" fmla="*/ 7358 h 326563"/>
                <a:gd name="connsiteX23" fmla="*/ 396435 w 1492273"/>
                <a:gd name="connsiteY23" fmla="*/ 11091 h 326563"/>
                <a:gd name="connsiteX24" fmla="*/ 383276 w 1492273"/>
                <a:gd name="connsiteY24" fmla="*/ 21498 h 326563"/>
                <a:gd name="connsiteX25" fmla="*/ 375859 w 1492273"/>
                <a:gd name="connsiteY25" fmla="*/ 36548 h 326563"/>
                <a:gd name="connsiteX26" fmla="*/ 375620 w 1492273"/>
                <a:gd name="connsiteY26" fmla="*/ 53325 h 326563"/>
                <a:gd name="connsiteX27" fmla="*/ 414209 w 1492273"/>
                <a:gd name="connsiteY27" fmla="*/ 83537 h 326563"/>
                <a:gd name="connsiteX28" fmla="*/ 520143 w 1492273"/>
                <a:gd name="connsiteY28" fmla="*/ 83537 h 326563"/>
                <a:gd name="connsiteX29" fmla="*/ 355289 w 1492273"/>
                <a:gd name="connsiteY29" fmla="*/ 301846 h 326563"/>
                <a:gd name="connsiteX30" fmla="*/ 353136 w 1492273"/>
                <a:gd name="connsiteY30" fmla="*/ 307389 h 326563"/>
                <a:gd name="connsiteX31" fmla="*/ 354212 w 1492273"/>
                <a:gd name="connsiteY31" fmla="*/ 313237 h 326563"/>
                <a:gd name="connsiteX32" fmla="*/ 358204 w 1492273"/>
                <a:gd name="connsiteY32" fmla="*/ 317647 h 326563"/>
                <a:gd name="connsiteX33" fmla="*/ 363921 w 1492273"/>
                <a:gd name="connsiteY33" fmla="*/ 319295 h 326563"/>
                <a:gd name="connsiteX34" fmla="*/ 622504 w 1492273"/>
                <a:gd name="connsiteY34" fmla="*/ 319295 h 326563"/>
                <a:gd name="connsiteX35" fmla="*/ 661099 w 1492273"/>
                <a:gd name="connsiteY35" fmla="*/ 289082 h 326563"/>
                <a:gd name="connsiteX36" fmla="*/ 660861 w 1492273"/>
                <a:gd name="connsiteY36" fmla="*/ 272299 h 326563"/>
                <a:gd name="connsiteX37" fmla="*/ 653451 w 1492273"/>
                <a:gd name="connsiteY37" fmla="*/ 257250 h 326563"/>
                <a:gd name="connsiteX38" fmla="*/ 640297 w 1492273"/>
                <a:gd name="connsiteY38" fmla="*/ 246849 h 326563"/>
                <a:gd name="connsiteX39" fmla="*/ 623952 w 1492273"/>
                <a:gd name="connsiteY39" fmla="*/ 243105 h 326563"/>
                <a:gd name="connsiteX40" fmla="*/ 494883 w 1492273"/>
                <a:gd name="connsiteY40" fmla="*/ 243105 h 326563"/>
                <a:gd name="connsiteX41" fmla="*/ 659613 w 1492273"/>
                <a:gd name="connsiteY41" fmla="*/ 24972 h 326563"/>
                <a:gd name="connsiteX42" fmla="*/ 661785 w 1492273"/>
                <a:gd name="connsiteY42" fmla="*/ 19371 h 326563"/>
                <a:gd name="connsiteX43" fmla="*/ 660690 w 1492273"/>
                <a:gd name="connsiteY43" fmla="*/ 13473 h 326563"/>
                <a:gd name="connsiteX44" fmla="*/ 656661 w 1492273"/>
                <a:gd name="connsiteY44" fmla="*/ 9021 h 326563"/>
                <a:gd name="connsiteX45" fmla="*/ 650888 w 1492273"/>
                <a:gd name="connsiteY45" fmla="*/ 7358 h 326563"/>
                <a:gd name="connsiteX46" fmla="*/ 412780 w 1492273"/>
                <a:gd name="connsiteY46" fmla="*/ 7358 h 326563"/>
                <a:gd name="connsiteX47" fmla="*/ 1446105 w 1492273"/>
                <a:gd name="connsiteY47" fmla="*/ 8240 h 326563"/>
                <a:gd name="connsiteX48" fmla="*/ 1424484 w 1492273"/>
                <a:gd name="connsiteY48" fmla="*/ 22127 h 326563"/>
                <a:gd name="connsiteX49" fmla="*/ 1416378 w 1492273"/>
                <a:gd name="connsiteY49" fmla="*/ 46473 h 326563"/>
                <a:gd name="connsiteX50" fmla="*/ 1416378 w 1492273"/>
                <a:gd name="connsiteY50" fmla="*/ 173313 h 326563"/>
                <a:gd name="connsiteX51" fmla="*/ 1210980 w 1492273"/>
                <a:gd name="connsiteY51" fmla="*/ 9758 h 326563"/>
                <a:gd name="connsiteX52" fmla="*/ 1205389 w 1492273"/>
                <a:gd name="connsiteY52" fmla="*/ 7453 h 326563"/>
                <a:gd name="connsiteX53" fmla="*/ 1199426 w 1492273"/>
                <a:gd name="connsiteY53" fmla="*/ 8482 h 326563"/>
                <a:gd name="connsiteX54" fmla="*/ 1194921 w 1492273"/>
                <a:gd name="connsiteY54" fmla="*/ 12520 h 326563"/>
                <a:gd name="connsiteX55" fmla="*/ 1193263 w 1492273"/>
                <a:gd name="connsiteY55" fmla="*/ 18343 h 326563"/>
                <a:gd name="connsiteX56" fmla="*/ 1193263 w 1492273"/>
                <a:gd name="connsiteY56" fmla="*/ 280243 h 326563"/>
                <a:gd name="connsiteX57" fmla="*/ 1201388 w 1492273"/>
                <a:gd name="connsiteY57" fmla="*/ 304589 h 326563"/>
                <a:gd name="connsiteX58" fmla="*/ 1222962 w 1492273"/>
                <a:gd name="connsiteY58" fmla="*/ 318486 h 326563"/>
                <a:gd name="connsiteX59" fmla="*/ 1239803 w 1492273"/>
                <a:gd name="connsiteY59" fmla="*/ 318362 h 326563"/>
                <a:gd name="connsiteX60" fmla="*/ 1254966 w 1492273"/>
                <a:gd name="connsiteY60" fmla="*/ 310961 h 326563"/>
                <a:gd name="connsiteX61" fmla="*/ 1265444 w 1492273"/>
                <a:gd name="connsiteY61" fmla="*/ 297721 h 326563"/>
                <a:gd name="connsiteX62" fmla="*/ 1269159 w 1492273"/>
                <a:gd name="connsiteY62" fmla="*/ 281272 h 326563"/>
                <a:gd name="connsiteX63" fmla="*/ 1269159 w 1492273"/>
                <a:gd name="connsiteY63" fmla="*/ 153323 h 326563"/>
                <a:gd name="connsiteX64" fmla="*/ 1474538 w 1492273"/>
                <a:gd name="connsiteY64" fmla="*/ 316885 h 326563"/>
                <a:gd name="connsiteX65" fmla="*/ 1480148 w 1492273"/>
                <a:gd name="connsiteY65" fmla="*/ 319190 h 326563"/>
                <a:gd name="connsiteX66" fmla="*/ 1486120 w 1492273"/>
                <a:gd name="connsiteY66" fmla="*/ 318162 h 326563"/>
                <a:gd name="connsiteX67" fmla="*/ 1490625 w 1492273"/>
                <a:gd name="connsiteY67" fmla="*/ 314123 h 326563"/>
                <a:gd name="connsiteX68" fmla="*/ 1492273 w 1492273"/>
                <a:gd name="connsiteY68" fmla="*/ 308303 h 326563"/>
                <a:gd name="connsiteX69" fmla="*/ 1492273 w 1492273"/>
                <a:gd name="connsiteY69" fmla="*/ 45444 h 326563"/>
                <a:gd name="connsiteX70" fmla="*/ 1488559 w 1492273"/>
                <a:gd name="connsiteY70" fmla="*/ 28985 h 326563"/>
                <a:gd name="connsiteX71" fmla="*/ 1478081 w 1492273"/>
                <a:gd name="connsiteY71" fmla="*/ 15759 h 326563"/>
                <a:gd name="connsiteX72" fmla="*/ 1462908 w 1492273"/>
                <a:gd name="connsiteY72" fmla="*/ 8354 h 326563"/>
                <a:gd name="connsiteX73" fmla="*/ 1446105 w 1492273"/>
                <a:gd name="connsiteY73" fmla="*/ 8240 h 326563"/>
                <a:gd name="connsiteX74" fmla="*/ 911265 w 1492273"/>
                <a:gd name="connsiteY74" fmla="*/ 76254 h 326563"/>
                <a:gd name="connsiteX75" fmla="*/ 1063066 w 1492273"/>
                <a:gd name="connsiteY75" fmla="*/ 163286 h 326563"/>
                <a:gd name="connsiteX76" fmla="*/ 911265 w 1492273"/>
                <a:gd name="connsiteY76" fmla="*/ 250325 h 326563"/>
                <a:gd name="connsiteX77" fmla="*/ 759483 w 1492273"/>
                <a:gd name="connsiteY77" fmla="*/ 163286 h 326563"/>
                <a:gd name="connsiteX78" fmla="*/ 911265 w 1492273"/>
                <a:gd name="connsiteY78" fmla="*/ 76254 h 326563"/>
                <a:gd name="connsiteX79" fmla="*/ 911265 w 1492273"/>
                <a:gd name="connsiteY79" fmla="*/ 67 h 326563"/>
                <a:gd name="connsiteX80" fmla="*/ 683578 w 1492273"/>
                <a:gd name="connsiteY80" fmla="*/ 163286 h 326563"/>
                <a:gd name="connsiteX81" fmla="*/ 911265 w 1492273"/>
                <a:gd name="connsiteY81" fmla="*/ 326506 h 326563"/>
                <a:gd name="connsiteX82" fmla="*/ 1138961 w 1492273"/>
                <a:gd name="connsiteY82" fmla="*/ 163286 h 326563"/>
                <a:gd name="connsiteX83" fmla="*/ 911265 w 1492273"/>
                <a:gd name="connsiteY83" fmla="*/ 67 h 3265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</a:cxnLst>
              <a:rect l="l" t="t" r="r" b="b"/>
              <a:pathLst>
                <a:path w="1492273" h="326563">
                  <a:moveTo>
                    <a:pt x="180273" y="900"/>
                  </a:moveTo>
                  <a:cubicBezTo>
                    <a:pt x="146739" y="-2638"/>
                    <a:pt x="112948" y="4310"/>
                    <a:pt x="83526" y="20775"/>
                  </a:cubicBezTo>
                  <a:cubicBezTo>
                    <a:pt x="54104" y="37240"/>
                    <a:pt x="30499" y="62424"/>
                    <a:pt x="15954" y="92853"/>
                  </a:cubicBezTo>
                  <a:cubicBezTo>
                    <a:pt x="1417" y="123295"/>
                    <a:pt x="-3344" y="157489"/>
                    <a:pt x="2323" y="190737"/>
                  </a:cubicBezTo>
                  <a:cubicBezTo>
                    <a:pt x="7990" y="223998"/>
                    <a:pt x="23812" y="254669"/>
                    <a:pt x="47618" y="278557"/>
                  </a:cubicBezTo>
                  <a:cubicBezTo>
                    <a:pt x="71412" y="302455"/>
                    <a:pt x="102030" y="318381"/>
                    <a:pt x="135243" y="324153"/>
                  </a:cubicBezTo>
                  <a:cubicBezTo>
                    <a:pt x="168455" y="329925"/>
                    <a:pt x="202644" y="325277"/>
                    <a:pt x="233098" y="310818"/>
                  </a:cubicBezTo>
                  <a:cubicBezTo>
                    <a:pt x="263559" y="296359"/>
                    <a:pt x="288801" y="272814"/>
                    <a:pt x="305341" y="243429"/>
                  </a:cubicBezTo>
                  <a:cubicBezTo>
                    <a:pt x="321894" y="214035"/>
                    <a:pt x="328933" y="180240"/>
                    <a:pt x="325507" y="146675"/>
                  </a:cubicBezTo>
                  <a:cubicBezTo>
                    <a:pt x="321736" y="109375"/>
                    <a:pt x="305234" y="74514"/>
                    <a:pt x="278778" y="47965"/>
                  </a:cubicBezTo>
                  <a:cubicBezTo>
                    <a:pt x="252327" y="21410"/>
                    <a:pt x="217534" y="4786"/>
                    <a:pt x="180273" y="900"/>
                  </a:cubicBezTo>
                  <a:close/>
                  <a:moveTo>
                    <a:pt x="174984" y="249697"/>
                  </a:moveTo>
                  <a:cubicBezTo>
                    <a:pt x="156946" y="252116"/>
                    <a:pt x="138617" y="248820"/>
                    <a:pt x="122555" y="240277"/>
                  </a:cubicBezTo>
                  <a:cubicBezTo>
                    <a:pt x="106488" y="231725"/>
                    <a:pt x="93505" y="218366"/>
                    <a:pt x="85427" y="202047"/>
                  </a:cubicBezTo>
                  <a:cubicBezTo>
                    <a:pt x="77349" y="185733"/>
                    <a:pt x="74579" y="167300"/>
                    <a:pt x="77507" y="149329"/>
                  </a:cubicBezTo>
                  <a:cubicBezTo>
                    <a:pt x="80440" y="131372"/>
                    <a:pt x="88922" y="114773"/>
                    <a:pt x="101766" y="101883"/>
                  </a:cubicBezTo>
                  <a:cubicBezTo>
                    <a:pt x="114610" y="88986"/>
                    <a:pt x="131176" y="80452"/>
                    <a:pt x="149113" y="77461"/>
                  </a:cubicBezTo>
                  <a:cubicBezTo>
                    <a:pt x="167057" y="74470"/>
                    <a:pt x="185493" y="77181"/>
                    <a:pt x="201825" y="85220"/>
                  </a:cubicBezTo>
                  <a:cubicBezTo>
                    <a:pt x="218145" y="93247"/>
                    <a:pt x="231543" y="106194"/>
                    <a:pt x="240132" y="122247"/>
                  </a:cubicBezTo>
                  <a:cubicBezTo>
                    <a:pt x="248725" y="138293"/>
                    <a:pt x="252068" y="156625"/>
                    <a:pt x="249714" y="174684"/>
                  </a:cubicBezTo>
                  <a:cubicBezTo>
                    <a:pt x="247233" y="193670"/>
                    <a:pt x="238569" y="211305"/>
                    <a:pt x="225058" y="224868"/>
                  </a:cubicBezTo>
                  <a:cubicBezTo>
                    <a:pt x="211546" y="238425"/>
                    <a:pt x="193948" y="247154"/>
                    <a:pt x="174984" y="249697"/>
                  </a:cubicBezTo>
                  <a:close/>
                  <a:moveTo>
                    <a:pt x="412780" y="7358"/>
                  </a:moveTo>
                  <a:cubicBezTo>
                    <a:pt x="407126" y="7370"/>
                    <a:pt x="401534" y="8646"/>
                    <a:pt x="396435" y="11091"/>
                  </a:cubicBezTo>
                  <a:cubicBezTo>
                    <a:pt x="391328" y="13536"/>
                    <a:pt x="386833" y="17092"/>
                    <a:pt x="383276" y="21498"/>
                  </a:cubicBezTo>
                  <a:cubicBezTo>
                    <a:pt x="379712" y="25899"/>
                    <a:pt x="377174" y="31042"/>
                    <a:pt x="375859" y="36548"/>
                  </a:cubicBezTo>
                  <a:cubicBezTo>
                    <a:pt x="374537" y="42053"/>
                    <a:pt x="374448" y="47787"/>
                    <a:pt x="375620" y="53325"/>
                  </a:cubicBezTo>
                  <a:cubicBezTo>
                    <a:pt x="379202" y="71282"/>
                    <a:pt x="395956" y="83537"/>
                    <a:pt x="414209" y="83537"/>
                  </a:cubicBezTo>
                  <a:lnTo>
                    <a:pt x="520143" y="83537"/>
                  </a:lnTo>
                  <a:lnTo>
                    <a:pt x="355289" y="301846"/>
                  </a:lnTo>
                  <a:cubicBezTo>
                    <a:pt x="354067" y="303455"/>
                    <a:pt x="353324" y="305379"/>
                    <a:pt x="353136" y="307389"/>
                  </a:cubicBezTo>
                  <a:cubicBezTo>
                    <a:pt x="352940" y="309399"/>
                    <a:pt x="353319" y="311428"/>
                    <a:pt x="354212" y="313237"/>
                  </a:cubicBezTo>
                  <a:cubicBezTo>
                    <a:pt x="355113" y="315047"/>
                    <a:pt x="356491" y="316581"/>
                    <a:pt x="358204" y="317647"/>
                  </a:cubicBezTo>
                  <a:cubicBezTo>
                    <a:pt x="359923" y="318714"/>
                    <a:pt x="361900" y="319286"/>
                    <a:pt x="363921" y="319295"/>
                  </a:cubicBezTo>
                  <a:lnTo>
                    <a:pt x="622504" y="319295"/>
                  </a:lnTo>
                  <a:cubicBezTo>
                    <a:pt x="640744" y="319295"/>
                    <a:pt x="657518" y="307037"/>
                    <a:pt x="661099" y="289082"/>
                  </a:cubicBezTo>
                  <a:cubicBezTo>
                    <a:pt x="662271" y="283539"/>
                    <a:pt x="662185" y="277805"/>
                    <a:pt x="660861" y="272299"/>
                  </a:cubicBezTo>
                  <a:cubicBezTo>
                    <a:pt x="659537" y="266794"/>
                    <a:pt x="657004" y="261650"/>
                    <a:pt x="653451" y="257250"/>
                  </a:cubicBezTo>
                  <a:cubicBezTo>
                    <a:pt x="649898" y="252849"/>
                    <a:pt x="645402" y="249297"/>
                    <a:pt x="640297" y="246849"/>
                  </a:cubicBezTo>
                  <a:cubicBezTo>
                    <a:pt x="635191" y="244391"/>
                    <a:pt x="629610" y="243115"/>
                    <a:pt x="623952" y="243105"/>
                  </a:cubicBezTo>
                  <a:lnTo>
                    <a:pt x="494883" y="243105"/>
                  </a:lnTo>
                  <a:lnTo>
                    <a:pt x="659613" y="24972"/>
                  </a:lnTo>
                  <a:cubicBezTo>
                    <a:pt x="660842" y="23340"/>
                    <a:pt x="661595" y="21403"/>
                    <a:pt x="661785" y="19371"/>
                  </a:cubicBezTo>
                  <a:cubicBezTo>
                    <a:pt x="661976" y="17340"/>
                    <a:pt x="661604" y="15295"/>
                    <a:pt x="660690" y="13473"/>
                  </a:cubicBezTo>
                  <a:cubicBezTo>
                    <a:pt x="659785" y="11637"/>
                    <a:pt x="658385" y="10101"/>
                    <a:pt x="656661" y="9021"/>
                  </a:cubicBezTo>
                  <a:cubicBezTo>
                    <a:pt x="654937" y="7942"/>
                    <a:pt x="652927" y="7363"/>
                    <a:pt x="650888" y="7358"/>
                  </a:cubicBezTo>
                  <a:lnTo>
                    <a:pt x="412780" y="7358"/>
                  </a:lnTo>
                  <a:close/>
                  <a:moveTo>
                    <a:pt x="1446105" y="8240"/>
                  </a:moveTo>
                  <a:cubicBezTo>
                    <a:pt x="1437514" y="10272"/>
                    <a:pt x="1429894" y="15174"/>
                    <a:pt x="1424484" y="22127"/>
                  </a:cubicBezTo>
                  <a:cubicBezTo>
                    <a:pt x="1419112" y="29080"/>
                    <a:pt x="1416254" y="37666"/>
                    <a:pt x="1416378" y="46473"/>
                  </a:cubicBezTo>
                  <a:lnTo>
                    <a:pt x="1416378" y="173313"/>
                  </a:lnTo>
                  <a:lnTo>
                    <a:pt x="1210980" y="9758"/>
                  </a:lnTo>
                  <a:cubicBezTo>
                    <a:pt x="1209361" y="8475"/>
                    <a:pt x="1207427" y="7675"/>
                    <a:pt x="1205389" y="7453"/>
                  </a:cubicBezTo>
                  <a:cubicBezTo>
                    <a:pt x="1203341" y="7230"/>
                    <a:pt x="1201274" y="7580"/>
                    <a:pt x="1199426" y="8482"/>
                  </a:cubicBezTo>
                  <a:cubicBezTo>
                    <a:pt x="1197569" y="9377"/>
                    <a:pt x="1196006" y="10773"/>
                    <a:pt x="1194921" y="12520"/>
                  </a:cubicBezTo>
                  <a:cubicBezTo>
                    <a:pt x="1193835" y="14273"/>
                    <a:pt x="1193254" y="16285"/>
                    <a:pt x="1193263" y="18343"/>
                  </a:cubicBezTo>
                  <a:lnTo>
                    <a:pt x="1193263" y="280243"/>
                  </a:lnTo>
                  <a:cubicBezTo>
                    <a:pt x="1193120" y="289054"/>
                    <a:pt x="1195987" y="297645"/>
                    <a:pt x="1201388" y="304589"/>
                  </a:cubicBezTo>
                  <a:cubicBezTo>
                    <a:pt x="1206789" y="311542"/>
                    <a:pt x="1214409" y="316447"/>
                    <a:pt x="1222962" y="318486"/>
                  </a:cubicBezTo>
                  <a:cubicBezTo>
                    <a:pt x="1228525" y="319714"/>
                    <a:pt x="1234288" y="319667"/>
                    <a:pt x="1239803" y="318362"/>
                  </a:cubicBezTo>
                  <a:cubicBezTo>
                    <a:pt x="1245346" y="317066"/>
                    <a:pt x="1250518" y="314533"/>
                    <a:pt x="1254966" y="310961"/>
                  </a:cubicBezTo>
                  <a:cubicBezTo>
                    <a:pt x="1259415" y="307389"/>
                    <a:pt x="1263006" y="302874"/>
                    <a:pt x="1265444" y="297721"/>
                  </a:cubicBezTo>
                  <a:cubicBezTo>
                    <a:pt x="1267882" y="292587"/>
                    <a:pt x="1269159" y="286958"/>
                    <a:pt x="1269159" y="281272"/>
                  </a:cubicBezTo>
                  <a:lnTo>
                    <a:pt x="1269159" y="153323"/>
                  </a:lnTo>
                  <a:lnTo>
                    <a:pt x="1474538" y="316885"/>
                  </a:lnTo>
                  <a:cubicBezTo>
                    <a:pt x="1476195" y="318171"/>
                    <a:pt x="1478138" y="318962"/>
                    <a:pt x="1480148" y="319190"/>
                  </a:cubicBezTo>
                  <a:cubicBezTo>
                    <a:pt x="1482224" y="319419"/>
                    <a:pt x="1484291" y="319057"/>
                    <a:pt x="1486120" y="318162"/>
                  </a:cubicBezTo>
                  <a:cubicBezTo>
                    <a:pt x="1487949" y="317266"/>
                    <a:pt x="1489530" y="315866"/>
                    <a:pt x="1490625" y="314123"/>
                  </a:cubicBezTo>
                  <a:cubicBezTo>
                    <a:pt x="1491721" y="312380"/>
                    <a:pt x="1492273" y="310361"/>
                    <a:pt x="1492273" y="308303"/>
                  </a:cubicBezTo>
                  <a:lnTo>
                    <a:pt x="1492273" y="45444"/>
                  </a:lnTo>
                  <a:cubicBezTo>
                    <a:pt x="1492273" y="39748"/>
                    <a:pt x="1490997" y="34123"/>
                    <a:pt x="1488559" y="28985"/>
                  </a:cubicBezTo>
                  <a:cubicBezTo>
                    <a:pt x="1486120" y="23848"/>
                    <a:pt x="1482529" y="19327"/>
                    <a:pt x="1478081" y="15759"/>
                  </a:cubicBezTo>
                  <a:cubicBezTo>
                    <a:pt x="1473633" y="12190"/>
                    <a:pt x="1468461" y="9656"/>
                    <a:pt x="1462908" y="8354"/>
                  </a:cubicBezTo>
                  <a:cubicBezTo>
                    <a:pt x="1457364" y="7059"/>
                    <a:pt x="1451649" y="7015"/>
                    <a:pt x="1446105" y="8240"/>
                  </a:cubicBezTo>
                  <a:close/>
                  <a:moveTo>
                    <a:pt x="911265" y="76254"/>
                  </a:moveTo>
                  <a:cubicBezTo>
                    <a:pt x="998152" y="76254"/>
                    <a:pt x="1063066" y="122196"/>
                    <a:pt x="1063066" y="163286"/>
                  </a:cubicBezTo>
                  <a:cubicBezTo>
                    <a:pt x="1063066" y="204383"/>
                    <a:pt x="998152" y="250325"/>
                    <a:pt x="911265" y="250325"/>
                  </a:cubicBezTo>
                  <a:cubicBezTo>
                    <a:pt x="824397" y="250325"/>
                    <a:pt x="759483" y="204383"/>
                    <a:pt x="759483" y="163286"/>
                  </a:cubicBezTo>
                  <a:cubicBezTo>
                    <a:pt x="759483" y="122196"/>
                    <a:pt x="824397" y="76254"/>
                    <a:pt x="911265" y="76254"/>
                  </a:cubicBezTo>
                  <a:close/>
                  <a:moveTo>
                    <a:pt x="911265" y="67"/>
                  </a:moveTo>
                  <a:cubicBezTo>
                    <a:pt x="785515" y="67"/>
                    <a:pt x="683578" y="73142"/>
                    <a:pt x="683578" y="163286"/>
                  </a:cubicBezTo>
                  <a:cubicBezTo>
                    <a:pt x="683578" y="253421"/>
                    <a:pt x="785515" y="326506"/>
                    <a:pt x="911265" y="326506"/>
                  </a:cubicBezTo>
                  <a:cubicBezTo>
                    <a:pt x="1037024" y="326506"/>
                    <a:pt x="1138961" y="253421"/>
                    <a:pt x="1138961" y="163286"/>
                  </a:cubicBezTo>
                  <a:cubicBezTo>
                    <a:pt x="1138961" y="73142"/>
                    <a:pt x="1037024" y="67"/>
                    <a:pt x="911265" y="67"/>
                  </a:cubicBezTo>
                  <a:close/>
                </a:path>
              </a:pathLst>
            </a:custGeom>
            <a:grpFill/>
            <a:ln w="76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9C6A208F-2A8F-8640-1889-7EF3989875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6547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33" imgH="233" progId="TCLayout.ActiveDocument.1">
                  <p:embed/>
                </p:oleObj>
              </mc:Choice>
              <mc:Fallback>
                <p:oleObj name="Слайд think-cell" r:id="rId3" imgW="233" imgH="233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9C6A208F-2A8F-8640-1889-7EF3989875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Заголовок 1">
            <a:extLst>
              <a:ext uri="{FF2B5EF4-FFF2-40B4-BE49-F238E27FC236}">
                <a16:creationId xmlns:a16="http://schemas.microsoft.com/office/drawing/2014/main" id="{1E7388FD-D149-4D25-0D53-8FD5721832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9764" y="411163"/>
            <a:ext cx="10910888" cy="68446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7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ru-RU"/>
              <a:t>Сформулируй заголовок </a:t>
            </a:r>
            <a:br>
              <a:rPr lang="ru-RU"/>
            </a:br>
            <a:r>
              <a:rPr lang="ru-RU"/>
              <a:t>слайда в 1–2 строки</a:t>
            </a:r>
          </a:p>
        </p:txBody>
      </p:sp>
      <p:sp>
        <p:nvSpPr>
          <p:cNvPr id="15" name="Объект 2">
            <a:extLst>
              <a:ext uri="{FF2B5EF4-FFF2-40B4-BE49-F238E27FC236}">
                <a16:creationId xmlns:a16="http://schemas.microsoft.com/office/drawing/2014/main" id="{00E81AAF-ABDB-4D08-7BE3-C7B407E68E1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763" y="1520824"/>
            <a:ext cx="10910887" cy="47418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5">
            <a:extLst>
              <a:ext uri="{FF2B5EF4-FFF2-40B4-BE49-F238E27FC236}">
                <a16:creationId xmlns:a16="http://schemas.microsoft.com/office/drawing/2014/main" id="{371F2FD1-0E8C-A36C-3CEF-FF20A77F36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57744" y="6430370"/>
            <a:ext cx="908050" cy="216000"/>
          </a:xfrm>
        </p:spPr>
        <p:txBody>
          <a:bodyPr/>
          <a:lstStyle>
            <a:lvl1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fld id="{EB5249F5-0093-48B0-B996-C4E44A87EAF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35" name="Прямоугольник: скругленные углы 34">
            <a:extLst>
              <a:ext uri="{FF2B5EF4-FFF2-40B4-BE49-F238E27FC236}">
                <a16:creationId xmlns:a16="http://schemas.microsoft.com/office/drawing/2014/main" id="{C9800CF7-ABC5-B2F5-0454-607E6375863B}"/>
              </a:ext>
            </a:extLst>
          </p:cNvPr>
          <p:cNvSpPr/>
          <p:nvPr userDrawn="1"/>
        </p:nvSpPr>
        <p:spPr>
          <a:xfrm>
            <a:off x="-2138458" y="54865"/>
            <a:ext cx="1928241" cy="2826069"/>
          </a:xfrm>
          <a:prstGeom prst="roundRect">
            <a:avLst>
              <a:gd name="adj" fmla="val 5926"/>
            </a:avLst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" name="Прямоугольник: скругленные верхние углы 35">
            <a:extLst>
              <a:ext uri="{FF2B5EF4-FFF2-40B4-BE49-F238E27FC236}">
                <a16:creationId xmlns:a16="http://schemas.microsoft.com/office/drawing/2014/main" id="{C2940C45-7EC6-0986-B020-2D94E4C01F25}"/>
              </a:ext>
            </a:extLst>
          </p:cNvPr>
          <p:cNvSpPr/>
          <p:nvPr/>
        </p:nvSpPr>
        <p:spPr>
          <a:xfrm>
            <a:off x="-2136930" y="0"/>
            <a:ext cx="1926713" cy="2880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36000" rtlCol="0" anchor="ctr"/>
          <a:lstStyle/>
          <a:p>
            <a:pPr algn="ctr"/>
            <a:r>
              <a:rPr lang="ru-RU" sz="1100" b="1">
                <a:solidFill>
                  <a:schemeClr val="tx1"/>
                </a:solidFill>
              </a:rPr>
              <a:t>Размеры текста</a:t>
            </a:r>
          </a:p>
        </p:txBody>
      </p:sp>
      <p:graphicFrame>
        <p:nvGraphicFramePr>
          <p:cNvPr id="37" name="Таблица 46">
            <a:extLst>
              <a:ext uri="{FF2B5EF4-FFF2-40B4-BE49-F238E27FC236}">
                <a16:creationId xmlns:a16="http://schemas.microsoft.com/office/drawing/2014/main" id="{22E21D68-4F58-F199-36D3-C10450C366F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97993614"/>
              </p:ext>
            </p:extLst>
          </p:nvPr>
        </p:nvGraphicFramePr>
        <p:xfrm>
          <a:off x="-2046114" y="312643"/>
          <a:ext cx="1958731" cy="2142000"/>
        </p:xfrm>
        <a:graphic>
          <a:graphicData uri="http://schemas.openxmlformats.org/drawingml/2006/table">
            <a:tbl>
              <a:tblPr/>
              <a:tblGrid>
                <a:gridCol w="532517">
                  <a:extLst>
                    <a:ext uri="{9D8B030D-6E8A-4147-A177-3AD203B41FA5}">
                      <a16:colId xmlns:a16="http://schemas.microsoft.com/office/drawing/2014/main" val="2594385797"/>
                    </a:ext>
                  </a:extLst>
                </a:gridCol>
                <a:gridCol w="1426214">
                  <a:extLst>
                    <a:ext uri="{9D8B030D-6E8A-4147-A177-3AD203B41FA5}">
                      <a16:colId xmlns:a16="http://schemas.microsoft.com/office/drawing/2014/main" val="1017723076"/>
                    </a:ext>
                  </a:extLst>
                </a:gridCol>
              </a:tblGrid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44+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0" spc="-40" baseline="0"/>
                        <a:t>акцентные цифр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8329665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32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заголовки и самые </a:t>
                      </a:r>
                      <a:br>
                        <a:rPr lang="ru-RU" sz="1000" spc="-40" baseline="0"/>
                      </a:br>
                      <a:r>
                        <a:rPr lang="ru-RU" sz="1000" spc="-40" baseline="0"/>
                        <a:t>важные данные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17697917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24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8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подзаголовки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72780009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18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4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основной текст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0685745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4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2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торой уровень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текста (менее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ажная информация)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1997433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0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сноски, пояснения, </a:t>
                      </a:r>
                      <a:br>
                        <a:rPr lang="en-US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большие таблиц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76660845"/>
                  </a:ext>
                </a:extLst>
              </a:tr>
            </a:tbl>
          </a:graphicData>
        </a:graphic>
      </p:graphicFrame>
      <p:sp>
        <p:nvSpPr>
          <p:cNvPr id="38" name="Полилиния: фигура 37">
            <a:extLst>
              <a:ext uri="{FF2B5EF4-FFF2-40B4-BE49-F238E27FC236}">
                <a16:creationId xmlns:a16="http://schemas.microsoft.com/office/drawing/2014/main" id="{84FF97CD-0431-AB46-37C2-E699CA989913}"/>
              </a:ext>
            </a:extLst>
          </p:cNvPr>
          <p:cNvSpPr/>
          <p:nvPr/>
        </p:nvSpPr>
        <p:spPr>
          <a:xfrm>
            <a:off x="-2004344" y="2488864"/>
            <a:ext cx="216624" cy="228657"/>
          </a:xfrm>
          <a:custGeom>
            <a:avLst/>
            <a:gdLst>
              <a:gd name="connsiteX0" fmla="*/ 72536 w 171450"/>
              <a:gd name="connsiteY0" fmla="*/ 162210 h 180974"/>
              <a:gd name="connsiteX1" fmla="*/ 98923 w 171450"/>
              <a:gd name="connsiteY1" fmla="*/ 162210 h 180974"/>
              <a:gd name="connsiteX2" fmla="*/ 103600 w 171450"/>
              <a:gd name="connsiteY2" fmla="*/ 172160 h 180974"/>
              <a:gd name="connsiteX3" fmla="*/ 85726 w 171450"/>
              <a:gd name="connsiteY3" fmla="*/ 180974 h 180974"/>
              <a:gd name="connsiteX4" fmla="*/ 67852 w 171450"/>
              <a:gd name="connsiteY4" fmla="*/ 172160 h 180974"/>
              <a:gd name="connsiteX5" fmla="*/ 72536 w 171450"/>
              <a:gd name="connsiteY5" fmla="*/ 162210 h 180974"/>
              <a:gd name="connsiteX6" fmla="*/ 152400 w 171450"/>
              <a:gd name="connsiteY6" fmla="*/ 76200 h 180974"/>
              <a:gd name="connsiteX7" fmla="*/ 161925 w 171450"/>
              <a:gd name="connsiteY7" fmla="*/ 76200 h 180974"/>
              <a:gd name="connsiteX8" fmla="*/ 171450 w 171450"/>
              <a:gd name="connsiteY8" fmla="*/ 85725 h 180974"/>
              <a:gd name="connsiteX9" fmla="*/ 161925 w 171450"/>
              <a:gd name="connsiteY9" fmla="*/ 95250 h 180974"/>
              <a:gd name="connsiteX10" fmla="*/ 152400 w 171450"/>
              <a:gd name="connsiteY10" fmla="*/ 95250 h 180974"/>
              <a:gd name="connsiteX11" fmla="*/ 142875 w 171450"/>
              <a:gd name="connsiteY11" fmla="*/ 85725 h 180974"/>
              <a:gd name="connsiteX12" fmla="*/ 152400 w 171450"/>
              <a:gd name="connsiteY12" fmla="*/ 76200 h 180974"/>
              <a:gd name="connsiteX13" fmla="*/ 9525 w 171450"/>
              <a:gd name="connsiteY13" fmla="*/ 76200 h 180974"/>
              <a:gd name="connsiteX14" fmla="*/ 19050 w 171450"/>
              <a:gd name="connsiteY14" fmla="*/ 76200 h 180974"/>
              <a:gd name="connsiteX15" fmla="*/ 28575 w 171450"/>
              <a:gd name="connsiteY15" fmla="*/ 85725 h 180974"/>
              <a:gd name="connsiteX16" fmla="*/ 19050 w 171450"/>
              <a:gd name="connsiteY16" fmla="*/ 95250 h 180974"/>
              <a:gd name="connsiteX17" fmla="*/ 9525 w 171450"/>
              <a:gd name="connsiteY17" fmla="*/ 95250 h 180974"/>
              <a:gd name="connsiteX18" fmla="*/ 0 w 171450"/>
              <a:gd name="connsiteY18" fmla="*/ 85725 h 180974"/>
              <a:gd name="connsiteX19" fmla="*/ 9525 w 171450"/>
              <a:gd name="connsiteY19" fmla="*/ 76200 h 180974"/>
              <a:gd name="connsiteX20" fmla="*/ 85725 w 171450"/>
              <a:gd name="connsiteY20" fmla="*/ 38100 h 180974"/>
              <a:gd name="connsiteX21" fmla="*/ 133350 w 171450"/>
              <a:gd name="connsiteY21" fmla="*/ 85725 h 180974"/>
              <a:gd name="connsiteX22" fmla="*/ 123174 w 171450"/>
              <a:gd name="connsiteY22" fmla="*/ 114596 h 180974"/>
              <a:gd name="connsiteX23" fmla="*/ 114300 w 171450"/>
              <a:gd name="connsiteY23" fmla="*/ 138113 h 180974"/>
              <a:gd name="connsiteX24" fmla="*/ 85725 w 171450"/>
              <a:gd name="connsiteY24" fmla="*/ 152400 h 180974"/>
              <a:gd name="connsiteX25" fmla="*/ 57150 w 171450"/>
              <a:gd name="connsiteY25" fmla="*/ 138113 h 180974"/>
              <a:gd name="connsiteX26" fmla="*/ 48275 w 171450"/>
              <a:gd name="connsiteY26" fmla="*/ 114596 h 180974"/>
              <a:gd name="connsiteX27" fmla="*/ 38100 w 171450"/>
              <a:gd name="connsiteY27" fmla="*/ 85725 h 180974"/>
              <a:gd name="connsiteX28" fmla="*/ 85725 w 171450"/>
              <a:gd name="connsiteY28" fmla="*/ 38100 h 180974"/>
              <a:gd name="connsiteX29" fmla="*/ 136141 w 171450"/>
              <a:gd name="connsiteY29" fmla="*/ 21840 h 180974"/>
              <a:gd name="connsiteX30" fmla="*/ 149611 w 171450"/>
              <a:gd name="connsiteY30" fmla="*/ 21840 h 180974"/>
              <a:gd name="connsiteX31" fmla="*/ 149611 w 171450"/>
              <a:gd name="connsiteY31" fmla="*/ 35310 h 180974"/>
              <a:gd name="connsiteX32" fmla="*/ 140086 w 171450"/>
              <a:gd name="connsiteY32" fmla="*/ 44835 h 180974"/>
              <a:gd name="connsiteX33" fmla="*/ 126616 w 171450"/>
              <a:gd name="connsiteY33" fmla="*/ 44835 h 180974"/>
              <a:gd name="connsiteX34" fmla="*/ 126616 w 171450"/>
              <a:gd name="connsiteY34" fmla="*/ 31365 h 180974"/>
              <a:gd name="connsiteX35" fmla="*/ 21840 w 171450"/>
              <a:gd name="connsiteY35" fmla="*/ 21840 h 180974"/>
              <a:gd name="connsiteX36" fmla="*/ 35310 w 171450"/>
              <a:gd name="connsiteY36" fmla="*/ 21840 h 180974"/>
              <a:gd name="connsiteX37" fmla="*/ 44835 w 171450"/>
              <a:gd name="connsiteY37" fmla="*/ 31365 h 180974"/>
              <a:gd name="connsiteX38" fmla="*/ 44835 w 171450"/>
              <a:gd name="connsiteY38" fmla="*/ 44835 h 180974"/>
              <a:gd name="connsiteX39" fmla="*/ 31365 w 171450"/>
              <a:gd name="connsiteY39" fmla="*/ 44835 h 180974"/>
              <a:gd name="connsiteX40" fmla="*/ 21840 w 171450"/>
              <a:gd name="connsiteY40" fmla="*/ 35310 h 180974"/>
              <a:gd name="connsiteX41" fmla="*/ 21840 w 171450"/>
              <a:gd name="connsiteY41" fmla="*/ 21840 h 180974"/>
              <a:gd name="connsiteX42" fmla="*/ 85725 w 171450"/>
              <a:gd name="connsiteY42" fmla="*/ 0 h 180974"/>
              <a:gd name="connsiteX43" fmla="*/ 95250 w 171450"/>
              <a:gd name="connsiteY43" fmla="*/ 9525 h 180974"/>
              <a:gd name="connsiteX44" fmla="*/ 95250 w 171450"/>
              <a:gd name="connsiteY44" fmla="*/ 19050 h 180974"/>
              <a:gd name="connsiteX45" fmla="*/ 85725 w 171450"/>
              <a:gd name="connsiteY45" fmla="*/ 28575 h 180974"/>
              <a:gd name="connsiteX46" fmla="*/ 76200 w 171450"/>
              <a:gd name="connsiteY46" fmla="*/ 19050 h 180974"/>
              <a:gd name="connsiteX47" fmla="*/ 76200 w 171450"/>
              <a:gd name="connsiteY47" fmla="*/ 9525 h 180974"/>
              <a:gd name="connsiteX48" fmla="*/ 85725 w 171450"/>
              <a:gd name="connsiteY48" fmla="*/ 0 h 18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1450" h="180974">
                <a:moveTo>
                  <a:pt x="72536" y="162210"/>
                </a:moveTo>
                <a:cubicBezTo>
                  <a:pt x="80449" y="164140"/>
                  <a:pt x="90933" y="164211"/>
                  <a:pt x="98923" y="162210"/>
                </a:cubicBezTo>
                <a:cubicBezTo>
                  <a:pt x="105617" y="160534"/>
                  <a:pt x="105617" y="166533"/>
                  <a:pt x="103600" y="172160"/>
                </a:cubicBezTo>
                <a:cubicBezTo>
                  <a:pt x="100950" y="179549"/>
                  <a:pt x="95451" y="180974"/>
                  <a:pt x="85726" y="180974"/>
                </a:cubicBezTo>
                <a:cubicBezTo>
                  <a:pt x="76000" y="180974"/>
                  <a:pt x="70501" y="179549"/>
                  <a:pt x="67852" y="172160"/>
                </a:cubicBezTo>
                <a:cubicBezTo>
                  <a:pt x="65835" y="166534"/>
                  <a:pt x="65835" y="160576"/>
                  <a:pt x="72536" y="162210"/>
                </a:cubicBezTo>
                <a:close/>
                <a:moveTo>
                  <a:pt x="152400" y="76200"/>
                </a:moveTo>
                <a:lnTo>
                  <a:pt x="161925" y="76200"/>
                </a:lnTo>
                <a:cubicBezTo>
                  <a:pt x="167186" y="76200"/>
                  <a:pt x="171450" y="80464"/>
                  <a:pt x="171450" y="85725"/>
                </a:cubicBezTo>
                <a:cubicBezTo>
                  <a:pt x="171450" y="90986"/>
                  <a:pt x="167186" y="95250"/>
                  <a:pt x="161925" y="95250"/>
                </a:cubicBezTo>
                <a:lnTo>
                  <a:pt x="152400" y="95250"/>
                </a:lnTo>
                <a:cubicBezTo>
                  <a:pt x="147139" y="95250"/>
                  <a:pt x="142875" y="90986"/>
                  <a:pt x="142875" y="85725"/>
                </a:cubicBezTo>
                <a:cubicBezTo>
                  <a:pt x="142875" y="80464"/>
                  <a:pt x="147139" y="76200"/>
                  <a:pt x="152400" y="76200"/>
                </a:cubicBezTo>
                <a:close/>
                <a:moveTo>
                  <a:pt x="9525" y="76200"/>
                </a:moveTo>
                <a:lnTo>
                  <a:pt x="19050" y="76200"/>
                </a:lnTo>
                <a:cubicBezTo>
                  <a:pt x="24310" y="76200"/>
                  <a:pt x="28575" y="80464"/>
                  <a:pt x="28575" y="85725"/>
                </a:cubicBezTo>
                <a:cubicBezTo>
                  <a:pt x="28575" y="90986"/>
                  <a:pt x="24310" y="95250"/>
                  <a:pt x="19050" y="95250"/>
                </a:cubicBezTo>
                <a:lnTo>
                  <a:pt x="9525" y="95250"/>
                </a:lnTo>
                <a:cubicBezTo>
                  <a:pt x="4265" y="95250"/>
                  <a:pt x="0" y="90986"/>
                  <a:pt x="0" y="85725"/>
                </a:cubicBezTo>
                <a:cubicBezTo>
                  <a:pt x="0" y="80464"/>
                  <a:pt x="4265" y="76200"/>
                  <a:pt x="9525" y="76200"/>
                </a:cubicBezTo>
                <a:close/>
                <a:moveTo>
                  <a:pt x="85725" y="38100"/>
                </a:moveTo>
                <a:cubicBezTo>
                  <a:pt x="112027" y="38100"/>
                  <a:pt x="133350" y="58671"/>
                  <a:pt x="133350" y="85725"/>
                </a:cubicBezTo>
                <a:cubicBezTo>
                  <a:pt x="133350" y="100663"/>
                  <a:pt x="128144" y="107793"/>
                  <a:pt x="123174" y="114596"/>
                </a:cubicBezTo>
                <a:cubicBezTo>
                  <a:pt x="118639" y="120807"/>
                  <a:pt x="114300" y="126748"/>
                  <a:pt x="114300" y="138113"/>
                </a:cubicBezTo>
                <a:cubicBezTo>
                  <a:pt x="114300" y="147638"/>
                  <a:pt x="104775" y="152400"/>
                  <a:pt x="85725" y="152400"/>
                </a:cubicBezTo>
                <a:cubicBezTo>
                  <a:pt x="66675" y="152400"/>
                  <a:pt x="57150" y="147638"/>
                  <a:pt x="57150" y="138113"/>
                </a:cubicBezTo>
                <a:cubicBezTo>
                  <a:pt x="57150" y="126748"/>
                  <a:pt x="52811" y="120807"/>
                  <a:pt x="48275" y="114596"/>
                </a:cubicBezTo>
                <a:cubicBezTo>
                  <a:pt x="43306" y="107793"/>
                  <a:pt x="38100" y="100663"/>
                  <a:pt x="38100" y="85725"/>
                </a:cubicBezTo>
                <a:cubicBezTo>
                  <a:pt x="38100" y="57150"/>
                  <a:pt x="59422" y="38100"/>
                  <a:pt x="85725" y="38100"/>
                </a:cubicBezTo>
                <a:close/>
                <a:moveTo>
                  <a:pt x="136141" y="21840"/>
                </a:moveTo>
                <a:cubicBezTo>
                  <a:pt x="139860" y="18120"/>
                  <a:pt x="145891" y="18120"/>
                  <a:pt x="149611" y="21840"/>
                </a:cubicBezTo>
                <a:cubicBezTo>
                  <a:pt x="153330" y="25560"/>
                  <a:pt x="153330" y="31590"/>
                  <a:pt x="149611" y="35310"/>
                </a:cubicBezTo>
                <a:lnTo>
                  <a:pt x="140086" y="44835"/>
                </a:lnTo>
                <a:cubicBezTo>
                  <a:pt x="136366" y="48555"/>
                  <a:pt x="130335" y="48555"/>
                  <a:pt x="126616" y="44835"/>
                </a:cubicBezTo>
                <a:cubicBezTo>
                  <a:pt x="122896" y="41115"/>
                  <a:pt x="122896" y="35085"/>
                  <a:pt x="126616" y="31365"/>
                </a:cubicBezTo>
                <a:close/>
                <a:moveTo>
                  <a:pt x="21840" y="21840"/>
                </a:moveTo>
                <a:cubicBezTo>
                  <a:pt x="25560" y="18120"/>
                  <a:pt x="31590" y="18120"/>
                  <a:pt x="35310" y="21840"/>
                </a:cubicBezTo>
                <a:lnTo>
                  <a:pt x="44835" y="31365"/>
                </a:lnTo>
                <a:cubicBezTo>
                  <a:pt x="48555" y="35085"/>
                  <a:pt x="48555" y="41115"/>
                  <a:pt x="44835" y="44835"/>
                </a:cubicBezTo>
                <a:cubicBezTo>
                  <a:pt x="41115" y="48555"/>
                  <a:pt x="35085" y="48555"/>
                  <a:pt x="31365" y="44835"/>
                </a:cubicBezTo>
                <a:lnTo>
                  <a:pt x="21840" y="35310"/>
                </a:lnTo>
                <a:cubicBezTo>
                  <a:pt x="18120" y="31590"/>
                  <a:pt x="18120" y="25560"/>
                  <a:pt x="21840" y="21840"/>
                </a:cubicBezTo>
                <a:close/>
                <a:moveTo>
                  <a:pt x="85725" y="0"/>
                </a:moveTo>
                <a:cubicBezTo>
                  <a:pt x="90986" y="0"/>
                  <a:pt x="95250" y="4265"/>
                  <a:pt x="95250" y="9525"/>
                </a:cubicBezTo>
                <a:lnTo>
                  <a:pt x="95250" y="19050"/>
                </a:lnTo>
                <a:cubicBezTo>
                  <a:pt x="95250" y="24310"/>
                  <a:pt x="90986" y="28575"/>
                  <a:pt x="85725" y="28575"/>
                </a:cubicBezTo>
                <a:cubicBezTo>
                  <a:pt x="80464" y="28575"/>
                  <a:pt x="76200" y="24310"/>
                  <a:pt x="76200" y="19050"/>
                </a:cubicBezTo>
                <a:lnTo>
                  <a:pt x="76200" y="9525"/>
                </a:lnTo>
                <a:cubicBezTo>
                  <a:pt x="76200" y="4265"/>
                  <a:pt x="80464" y="0"/>
                  <a:pt x="85725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EC11CE47-F2DE-CA1C-5C0F-C21FAC0B5671}"/>
              </a:ext>
            </a:extLst>
          </p:cNvPr>
          <p:cNvSpPr txBox="1"/>
          <p:nvPr/>
        </p:nvSpPr>
        <p:spPr>
          <a:xfrm>
            <a:off x="-1691344" y="2506490"/>
            <a:ext cx="1373969" cy="2428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</a:pPr>
            <a:r>
              <a:rPr lang="ru-RU" sz="900" b="0">
                <a:solidFill>
                  <a:schemeClr val="accent1"/>
                </a:solidFill>
              </a:rPr>
              <a:t>Используй эти размеры </a:t>
            </a:r>
            <a:br>
              <a:rPr lang="ru-RU" sz="900" b="0">
                <a:solidFill>
                  <a:schemeClr val="accent1"/>
                </a:solidFill>
              </a:rPr>
            </a:br>
            <a:r>
              <a:rPr lang="ru-RU" sz="900" b="0">
                <a:solidFill>
                  <a:schemeClr val="accent1"/>
                </a:solidFill>
              </a:rPr>
              <a:t>по всей презентации</a:t>
            </a:r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F67C59A3-D429-7B31-A5B0-0D1EFC446FA3}"/>
              </a:ext>
            </a:extLst>
          </p:cNvPr>
          <p:cNvGrpSpPr/>
          <p:nvPr userDrawn="1"/>
        </p:nvGrpSpPr>
        <p:grpSpPr>
          <a:xfrm>
            <a:off x="-2138458" y="3070447"/>
            <a:ext cx="1935384" cy="3787553"/>
            <a:chOff x="-2138458" y="3070447"/>
            <a:chExt cx="1935384" cy="3787553"/>
          </a:xfrm>
        </p:grpSpPr>
        <p:sp>
          <p:nvSpPr>
            <p:cNvPr id="39" name="Прямоугольник: скругленные углы 38">
              <a:extLst>
                <a:ext uri="{FF2B5EF4-FFF2-40B4-BE49-F238E27FC236}">
                  <a16:creationId xmlns:a16="http://schemas.microsoft.com/office/drawing/2014/main" id="{26561D24-BBBB-253A-7A51-A96C57F40E5B}"/>
                </a:ext>
              </a:extLst>
            </p:cNvPr>
            <p:cNvSpPr/>
            <p:nvPr/>
          </p:nvSpPr>
          <p:spPr>
            <a:xfrm>
              <a:off x="-2138458" y="3125312"/>
              <a:ext cx="1928241" cy="2468818"/>
            </a:xfrm>
            <a:prstGeom prst="roundRect">
              <a:avLst>
                <a:gd name="adj" fmla="val 5926"/>
              </a:avLst>
            </a:prstGeom>
            <a:solidFill>
              <a:schemeClr val="bg1"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0" name="Прямоугольник: скругленные верхние углы 39">
              <a:extLst>
                <a:ext uri="{FF2B5EF4-FFF2-40B4-BE49-F238E27FC236}">
                  <a16:creationId xmlns:a16="http://schemas.microsoft.com/office/drawing/2014/main" id="{A2B8DFB7-79B0-0439-C360-6941BF32E4D7}"/>
                </a:ext>
              </a:extLst>
            </p:cNvPr>
            <p:cNvSpPr/>
            <p:nvPr/>
          </p:nvSpPr>
          <p:spPr>
            <a:xfrm>
              <a:off x="-2136930" y="3070447"/>
              <a:ext cx="1926713" cy="28800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36000" rtlCol="0" anchor="ctr"/>
            <a:lstStyle/>
            <a:p>
              <a:pPr algn="ctr"/>
              <a:r>
                <a:rPr lang="ru-RU" sz="1100" b="1">
                  <a:solidFill>
                    <a:schemeClr val="tx1"/>
                  </a:solidFill>
                </a:rPr>
                <a:t>Цвета </a:t>
              </a:r>
              <a:r>
                <a:rPr lang="en-US" sz="1100" b="1">
                  <a:solidFill>
                    <a:schemeClr val="tx1"/>
                  </a:solidFill>
                </a:rPr>
                <a:t>Ozon</a:t>
              </a:r>
              <a:endParaRPr lang="ru-RU" sz="1100" b="1">
                <a:solidFill>
                  <a:schemeClr val="tx1"/>
                </a:solidFill>
              </a:endParaRP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69298A01-26D5-77F0-1B44-28C8BBA32B5A}"/>
                </a:ext>
              </a:extLst>
            </p:cNvPr>
            <p:cNvSpPr txBox="1"/>
            <p:nvPr userDrawn="1"/>
          </p:nvSpPr>
          <p:spPr>
            <a:xfrm>
              <a:off x="-2003446" y="3412239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текста </a:t>
              </a:r>
            </a:p>
          </p:txBody>
        </p:sp>
        <p:sp>
          <p:nvSpPr>
            <p:cNvPr id="42" name="Прямоугольник: скругленные углы 41">
              <a:extLst>
                <a:ext uri="{FF2B5EF4-FFF2-40B4-BE49-F238E27FC236}">
                  <a16:creationId xmlns:a16="http://schemas.microsoft.com/office/drawing/2014/main" id="{21EA26B0-23BA-7A00-892D-A1F326878E52}"/>
                </a:ext>
              </a:extLst>
            </p:cNvPr>
            <p:cNvSpPr/>
            <p:nvPr userDrawn="1"/>
          </p:nvSpPr>
          <p:spPr>
            <a:xfrm>
              <a:off x="-2004344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3" name="Прямоугольник: скругленные углы 42">
              <a:extLst>
                <a:ext uri="{FF2B5EF4-FFF2-40B4-BE49-F238E27FC236}">
                  <a16:creationId xmlns:a16="http://schemas.microsoft.com/office/drawing/2014/main" id="{A5D3FC7E-9D3D-EB60-5F4A-AB0976EFEC60}"/>
                </a:ext>
              </a:extLst>
            </p:cNvPr>
            <p:cNvSpPr/>
            <p:nvPr userDrawn="1"/>
          </p:nvSpPr>
          <p:spPr>
            <a:xfrm>
              <a:off x="-1738339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6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4" name="Прямоугольник: скругленные углы 43">
              <a:extLst>
                <a:ext uri="{FF2B5EF4-FFF2-40B4-BE49-F238E27FC236}">
                  <a16:creationId xmlns:a16="http://schemas.microsoft.com/office/drawing/2014/main" id="{E6DA982A-4819-86A4-B3E3-3820BE19C0E0}"/>
                </a:ext>
              </a:extLst>
            </p:cNvPr>
            <p:cNvSpPr/>
            <p:nvPr userDrawn="1"/>
          </p:nvSpPr>
          <p:spPr>
            <a:xfrm>
              <a:off x="-1739900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3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5" name="Прямоугольник: скругленные углы 44">
              <a:extLst>
                <a:ext uri="{FF2B5EF4-FFF2-40B4-BE49-F238E27FC236}">
                  <a16:creationId xmlns:a16="http://schemas.microsoft.com/office/drawing/2014/main" id="{682E6276-38E4-B43E-1997-1EB72EA2A914}"/>
                </a:ext>
              </a:extLst>
            </p:cNvPr>
            <p:cNvSpPr/>
            <p:nvPr userDrawn="1"/>
          </p:nvSpPr>
          <p:spPr>
            <a:xfrm>
              <a:off x="-2004963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9068336B-339F-1776-3C0F-78C717AA59C8}"/>
                </a:ext>
              </a:extLst>
            </p:cNvPr>
            <p:cNvSpPr txBox="1"/>
            <p:nvPr userDrawn="1"/>
          </p:nvSpPr>
          <p:spPr>
            <a:xfrm>
              <a:off x="-2003446" y="3935644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больших плашек</a:t>
              </a:r>
            </a:p>
          </p:txBody>
        </p:sp>
        <p:sp>
          <p:nvSpPr>
            <p:cNvPr id="48" name="Прямоугольник: скругленные углы 47">
              <a:extLst>
                <a:ext uri="{FF2B5EF4-FFF2-40B4-BE49-F238E27FC236}">
                  <a16:creationId xmlns:a16="http://schemas.microsoft.com/office/drawing/2014/main" id="{FE2D34FD-CFD5-F181-5F8D-99FE8F6B9336}"/>
                </a:ext>
              </a:extLst>
            </p:cNvPr>
            <p:cNvSpPr/>
            <p:nvPr userDrawn="1"/>
          </p:nvSpPr>
          <p:spPr>
            <a:xfrm>
              <a:off x="-2004963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tx2">
                <a:lumMod val="90000"/>
                <a:lumOff val="10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9" name="Прямоугольник: скругленные углы 48">
              <a:extLst>
                <a:ext uri="{FF2B5EF4-FFF2-40B4-BE49-F238E27FC236}">
                  <a16:creationId xmlns:a16="http://schemas.microsoft.com/office/drawing/2014/main" id="{48ABCE10-7A7F-1324-4D1D-7AD10D1042B1}"/>
                </a:ext>
              </a:extLst>
            </p:cNvPr>
            <p:cNvSpPr/>
            <p:nvPr userDrawn="1"/>
          </p:nvSpPr>
          <p:spPr>
            <a:xfrm>
              <a:off x="-1739900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0FA92F67-A433-8731-5914-B14989A94311}"/>
                </a:ext>
              </a:extLst>
            </p:cNvPr>
            <p:cNvSpPr txBox="1"/>
            <p:nvPr userDrawn="1"/>
          </p:nvSpPr>
          <p:spPr>
            <a:xfrm>
              <a:off x="-2003446" y="4451492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а маленьких плашек</a:t>
              </a:r>
            </a:p>
          </p:txBody>
        </p:sp>
        <p:sp>
          <p:nvSpPr>
            <p:cNvPr id="52" name="Прямоугольник: скругленные углы 51">
              <a:extLst>
                <a:ext uri="{FF2B5EF4-FFF2-40B4-BE49-F238E27FC236}">
                  <a16:creationId xmlns:a16="http://schemas.microsoft.com/office/drawing/2014/main" id="{4C7A1397-7A11-591D-AA68-55A9039699E9}"/>
                </a:ext>
              </a:extLst>
            </p:cNvPr>
            <p:cNvSpPr/>
            <p:nvPr userDrawn="1"/>
          </p:nvSpPr>
          <p:spPr>
            <a:xfrm>
              <a:off x="-1475201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tx2"/>
            </a:solidFill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3" name="Прямоугольник: скругленные углы 52">
              <a:extLst>
                <a:ext uri="{FF2B5EF4-FFF2-40B4-BE49-F238E27FC236}">
                  <a16:creationId xmlns:a16="http://schemas.microsoft.com/office/drawing/2014/main" id="{504D71D0-6847-ADE8-467F-77206D5DE761}"/>
                </a:ext>
              </a:extLst>
            </p:cNvPr>
            <p:cNvSpPr/>
            <p:nvPr userDrawn="1"/>
          </p:nvSpPr>
          <p:spPr>
            <a:xfrm>
              <a:off x="-1739900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B7EDC9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4" name="Прямоугольник: скругленные углы 53">
              <a:extLst>
                <a:ext uri="{FF2B5EF4-FFF2-40B4-BE49-F238E27FC236}">
                  <a16:creationId xmlns:a16="http://schemas.microsoft.com/office/drawing/2014/main" id="{AB17545C-2653-11B9-6AAD-F2414CA88813}"/>
                </a:ext>
              </a:extLst>
            </p:cNvPr>
            <p:cNvSpPr/>
            <p:nvPr userDrawn="1"/>
          </p:nvSpPr>
          <p:spPr>
            <a:xfrm>
              <a:off x="-1474837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FA800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5" name="Прямоугольник: скругленные углы 54">
              <a:extLst>
                <a:ext uri="{FF2B5EF4-FFF2-40B4-BE49-F238E27FC236}">
                  <a16:creationId xmlns:a16="http://schemas.microsoft.com/office/drawing/2014/main" id="{1D454EF4-1099-5940-A5D4-5F82D3172AE1}"/>
                </a:ext>
              </a:extLst>
            </p:cNvPr>
            <p:cNvSpPr/>
            <p:nvPr userDrawn="1"/>
          </p:nvSpPr>
          <p:spPr>
            <a:xfrm>
              <a:off x="-2004963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10C44C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FAB6D7EE-DAF5-E7EF-6D1E-0891469BD32B}"/>
                </a:ext>
              </a:extLst>
            </p:cNvPr>
            <p:cNvSpPr txBox="1"/>
            <p:nvPr userDrawn="1"/>
          </p:nvSpPr>
          <p:spPr>
            <a:xfrm>
              <a:off x="-2003446" y="4973480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900"/>
                <a:t>Рост / падение показателей</a:t>
              </a:r>
            </a:p>
          </p:txBody>
        </p:sp>
        <p:sp>
          <p:nvSpPr>
            <p:cNvPr id="57" name="Прямоугольник: скругленные углы 56">
              <a:extLst>
                <a:ext uri="{FF2B5EF4-FFF2-40B4-BE49-F238E27FC236}">
                  <a16:creationId xmlns:a16="http://schemas.microsoft.com/office/drawing/2014/main" id="{64568EE7-F81D-84C3-5AE6-8B77C2134C94}"/>
                </a:ext>
              </a:extLst>
            </p:cNvPr>
            <p:cNvSpPr/>
            <p:nvPr userDrawn="1"/>
          </p:nvSpPr>
          <p:spPr>
            <a:xfrm>
              <a:off x="-1209774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1">
                <a:lumMod val="20000"/>
                <a:lumOff val="80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8" name="Прямоугольник: скругленные углы 57">
              <a:extLst>
                <a:ext uri="{FF2B5EF4-FFF2-40B4-BE49-F238E27FC236}">
                  <a16:creationId xmlns:a16="http://schemas.microsoft.com/office/drawing/2014/main" id="{0BC0B63B-AFDA-54FE-3829-EC8AA6CFBAEB}"/>
                </a:ext>
              </a:extLst>
            </p:cNvPr>
            <p:cNvSpPr/>
            <p:nvPr/>
          </p:nvSpPr>
          <p:spPr>
            <a:xfrm>
              <a:off x="-2131314" y="5782119"/>
              <a:ext cx="1928240" cy="1075881"/>
            </a:xfrm>
            <a:prstGeom prst="roundRect">
              <a:avLst>
                <a:gd name="adj" fmla="val 12985"/>
              </a:avLst>
            </a:prstGeom>
            <a:solidFill>
              <a:schemeClr val="bg1"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72FE7B29-A123-EF1E-09DB-12AADC874FA6}"/>
                </a:ext>
              </a:extLst>
            </p:cNvPr>
            <p:cNvSpPr txBox="1"/>
            <p:nvPr/>
          </p:nvSpPr>
          <p:spPr>
            <a:xfrm>
              <a:off x="-1788338" y="5868204"/>
              <a:ext cx="1155882" cy="15109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l">
                <a:lnSpc>
                  <a:spcPct val="90000"/>
                </a:lnSpc>
              </a:pPr>
              <a:r>
                <a:rPr lang="ru-RU" sz="1000" b="1">
                  <a:solidFill>
                    <a:schemeClr val="accent1"/>
                  </a:solidFill>
                </a:rPr>
                <a:t>Шаблон </a:t>
              </a:r>
              <a:r>
                <a:rPr lang="en-US" sz="1000" b="1">
                  <a:solidFill>
                    <a:schemeClr val="accent1"/>
                  </a:solidFill>
                </a:rPr>
                <a:t>Ozon</a:t>
              </a:r>
              <a:endParaRPr lang="ru-RU" sz="1000" b="1">
                <a:solidFill>
                  <a:schemeClr val="accent1"/>
                </a:solidFill>
              </a:endParaRPr>
            </a:p>
          </p:txBody>
        </p:sp>
        <p:sp>
          <p:nvSpPr>
            <p:cNvPr id="60" name="Рисунок 93">
              <a:extLst>
                <a:ext uri="{FF2B5EF4-FFF2-40B4-BE49-F238E27FC236}">
                  <a16:creationId xmlns:a16="http://schemas.microsoft.com/office/drawing/2014/main" id="{AA53B632-DD94-4453-746B-3AC3CCA27D0B}"/>
                </a:ext>
              </a:extLst>
            </p:cNvPr>
            <p:cNvSpPr/>
            <p:nvPr/>
          </p:nvSpPr>
          <p:spPr>
            <a:xfrm>
              <a:off x="-2004963" y="5853908"/>
              <a:ext cx="161099" cy="161099"/>
            </a:xfrm>
            <a:custGeom>
              <a:avLst/>
              <a:gdLst>
                <a:gd name="connsiteX0" fmla="*/ 85725 w 171450"/>
                <a:gd name="connsiteY0" fmla="*/ 171450 h 171450"/>
                <a:gd name="connsiteX1" fmla="*/ 171450 w 171450"/>
                <a:gd name="connsiteY1" fmla="*/ 85725 h 171450"/>
                <a:gd name="connsiteX2" fmla="*/ 85725 w 171450"/>
                <a:gd name="connsiteY2" fmla="*/ 0 h 171450"/>
                <a:gd name="connsiteX3" fmla="*/ 0 w 171450"/>
                <a:gd name="connsiteY3" fmla="*/ 85725 h 171450"/>
                <a:gd name="connsiteX4" fmla="*/ 85725 w 171450"/>
                <a:gd name="connsiteY4" fmla="*/ 171450 h 171450"/>
                <a:gd name="connsiteX5" fmla="*/ 130560 w 171450"/>
                <a:gd name="connsiteY5" fmla="*/ 73410 h 171450"/>
                <a:gd name="connsiteX6" fmla="*/ 82935 w 171450"/>
                <a:gd name="connsiteY6" fmla="*/ 121035 h 171450"/>
                <a:gd name="connsiteX7" fmla="*/ 69465 w 171450"/>
                <a:gd name="connsiteY7" fmla="*/ 121035 h 171450"/>
                <a:gd name="connsiteX8" fmla="*/ 40890 w 171450"/>
                <a:gd name="connsiteY8" fmla="*/ 92460 h 171450"/>
                <a:gd name="connsiteX9" fmla="*/ 40890 w 171450"/>
                <a:gd name="connsiteY9" fmla="*/ 78990 h 171450"/>
                <a:gd name="connsiteX10" fmla="*/ 54360 w 171450"/>
                <a:gd name="connsiteY10" fmla="*/ 78990 h 171450"/>
                <a:gd name="connsiteX11" fmla="*/ 76200 w 171450"/>
                <a:gd name="connsiteY11" fmla="*/ 100830 h 171450"/>
                <a:gd name="connsiteX12" fmla="*/ 117090 w 171450"/>
                <a:gd name="connsiteY12" fmla="*/ 59940 h 171450"/>
                <a:gd name="connsiteX13" fmla="*/ 130560 w 171450"/>
                <a:gd name="connsiteY13" fmla="*/ 59940 h 171450"/>
                <a:gd name="connsiteX14" fmla="*/ 130560 w 171450"/>
                <a:gd name="connsiteY14" fmla="*/ 7341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71450" h="171450">
                  <a:moveTo>
                    <a:pt x="85725" y="171450"/>
                  </a:moveTo>
                  <a:cubicBezTo>
                    <a:pt x="138915" y="171450"/>
                    <a:pt x="171450" y="138915"/>
                    <a:pt x="171450" y="85725"/>
                  </a:cubicBezTo>
                  <a:cubicBezTo>
                    <a:pt x="171450" y="32535"/>
                    <a:pt x="138915" y="0"/>
                    <a:pt x="85725" y="0"/>
                  </a:cubicBezTo>
                  <a:cubicBezTo>
                    <a:pt x="32535" y="0"/>
                    <a:pt x="0" y="32535"/>
                    <a:pt x="0" y="85725"/>
                  </a:cubicBezTo>
                  <a:cubicBezTo>
                    <a:pt x="0" y="138915"/>
                    <a:pt x="32535" y="171450"/>
                    <a:pt x="85725" y="171450"/>
                  </a:cubicBezTo>
                  <a:close/>
                  <a:moveTo>
                    <a:pt x="130560" y="73410"/>
                  </a:moveTo>
                  <a:lnTo>
                    <a:pt x="82935" y="121035"/>
                  </a:lnTo>
                  <a:cubicBezTo>
                    <a:pt x="79216" y="124755"/>
                    <a:pt x="73184" y="124755"/>
                    <a:pt x="69465" y="121035"/>
                  </a:cubicBezTo>
                  <a:lnTo>
                    <a:pt x="40890" y="92460"/>
                  </a:lnTo>
                  <a:cubicBezTo>
                    <a:pt x="37170" y="88741"/>
                    <a:pt x="37170" y="82709"/>
                    <a:pt x="40890" y="78990"/>
                  </a:cubicBezTo>
                  <a:cubicBezTo>
                    <a:pt x="44610" y="75270"/>
                    <a:pt x="50640" y="75270"/>
                    <a:pt x="54360" y="78990"/>
                  </a:cubicBezTo>
                  <a:lnTo>
                    <a:pt x="76200" y="100830"/>
                  </a:lnTo>
                  <a:lnTo>
                    <a:pt x="117090" y="59940"/>
                  </a:lnTo>
                  <a:cubicBezTo>
                    <a:pt x="120809" y="56220"/>
                    <a:pt x="126841" y="56220"/>
                    <a:pt x="130560" y="59940"/>
                  </a:cubicBezTo>
                  <a:cubicBezTo>
                    <a:pt x="134280" y="63660"/>
                    <a:pt x="134280" y="69691"/>
                    <a:pt x="130560" y="7341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8DE6F264-2180-A77B-E487-478DC7F970C2}"/>
                </a:ext>
              </a:extLst>
            </p:cNvPr>
            <p:cNvSpPr txBox="1"/>
            <p:nvPr/>
          </p:nvSpPr>
          <p:spPr>
            <a:xfrm>
              <a:off x="-2004962" y="6072106"/>
              <a:ext cx="1687587" cy="60024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>
                <a:lnSpc>
                  <a:spcPct val="110000"/>
                </a:lnSpc>
              </a:pPr>
              <a:r>
                <a:rPr lang="ru-RU" sz="900" spc="-30" baseline="0">
                  <a:solidFill>
                    <a:schemeClr val="tx2"/>
                  </a:solidFill>
                </a:rPr>
                <a:t>Если нужно больше материалов: </a:t>
              </a:r>
              <a:r>
                <a:rPr lang="ru-RU" sz="900" b="1" spc="-30" baseline="0">
                  <a:solidFill>
                    <a:schemeClr val="tx2"/>
                  </a:solidFill>
                </a:rPr>
                <a:t>правое меню </a:t>
              </a:r>
              <a:r>
                <a:rPr lang="en-US" sz="900" b="1" spc="-30" baseline="0">
                  <a:solidFill>
                    <a:schemeClr val="tx2"/>
                  </a:solidFill>
                </a:rPr>
                <a:t>Staff — Brand </a:t>
              </a:r>
              <a:r>
                <a:rPr lang="ru-RU" sz="900" b="1" spc="-30" baseline="0">
                  <a:solidFill>
                    <a:schemeClr val="tx2"/>
                  </a:solidFill>
                </a:rPr>
                <a:t>— Всё для презентаций. </a:t>
              </a:r>
              <a:r>
                <a:rPr lang="ru-RU" sz="900" b="0" spc="-30" baseline="0">
                  <a:solidFill>
                    <a:schemeClr val="tx2"/>
                  </a:solidFill>
                </a:rPr>
                <a:t>Или пиши нам на </a:t>
              </a:r>
              <a:r>
                <a:rPr lang="en-US" sz="900" b="0" spc="-30" baseline="0">
                  <a:solidFill>
                    <a:schemeClr val="tx2"/>
                  </a:solidFill>
                </a:rPr>
                <a:t>presentations@ozon.ru.</a:t>
              </a:r>
              <a:r>
                <a:rPr lang="ru-RU" sz="900" b="0" spc="-30" baseline="0">
                  <a:solidFill>
                    <a:schemeClr val="tx2"/>
                  </a:solidFill>
                </a:rPr>
                <a:t> </a:t>
              </a:r>
            </a:p>
          </p:txBody>
        </p:sp>
        <p:sp>
          <p:nvSpPr>
            <p:cNvPr id="64" name="Прямоугольник: скругленные углы 63">
              <a:extLst>
                <a:ext uri="{FF2B5EF4-FFF2-40B4-BE49-F238E27FC236}">
                  <a16:creationId xmlns:a16="http://schemas.microsoft.com/office/drawing/2014/main" id="{2B9BFCAF-86CA-1244-E85A-F30E4AC766F2}"/>
                </a:ext>
              </a:extLst>
            </p:cNvPr>
            <p:cNvSpPr/>
            <p:nvPr userDrawn="1"/>
          </p:nvSpPr>
          <p:spPr>
            <a:xfrm>
              <a:off x="-944711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53C14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5" name="Прямоугольник: скругленные углы 64">
              <a:extLst>
                <a:ext uri="{FF2B5EF4-FFF2-40B4-BE49-F238E27FC236}">
                  <a16:creationId xmlns:a16="http://schemas.microsoft.com/office/drawing/2014/main" id="{860A63BB-781E-AEA8-4E5D-D35214A49880}"/>
                </a:ext>
              </a:extLst>
            </p:cNvPr>
            <p:cNvSpPr/>
            <p:nvPr userDrawn="1"/>
          </p:nvSpPr>
          <p:spPr>
            <a:xfrm>
              <a:off x="-679648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CC4B8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6" name="Прямоугольник: скругленные углы 65">
              <a:extLst>
                <a:ext uri="{FF2B5EF4-FFF2-40B4-BE49-F238E27FC236}">
                  <a16:creationId xmlns:a16="http://schemas.microsoft.com/office/drawing/2014/main" id="{09CABE96-EC03-3157-B363-C0896B3891CC}"/>
                </a:ext>
              </a:extLst>
            </p:cNvPr>
            <p:cNvSpPr/>
            <p:nvPr userDrawn="1"/>
          </p:nvSpPr>
          <p:spPr>
            <a:xfrm>
              <a:off x="-1209774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FE5B2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4" name="Прямоугольник: скругленные углы 13">
              <a:extLst>
                <a:ext uri="{FF2B5EF4-FFF2-40B4-BE49-F238E27FC236}">
                  <a16:creationId xmlns:a16="http://schemas.microsoft.com/office/drawing/2014/main" id="{10235599-9C22-810F-AFFE-43B3719F8049}"/>
                </a:ext>
              </a:extLst>
            </p:cNvPr>
            <p:cNvSpPr/>
            <p:nvPr userDrawn="1"/>
          </p:nvSpPr>
          <p:spPr>
            <a:xfrm>
              <a:off x="-2004344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6" name="Прямоугольник: скругленные углы 15">
              <a:extLst>
                <a:ext uri="{FF2B5EF4-FFF2-40B4-BE49-F238E27FC236}">
                  <a16:creationId xmlns:a16="http://schemas.microsoft.com/office/drawing/2014/main" id="{BCCB48D8-60A8-9E17-D2F8-C11A8EA8C284}"/>
                </a:ext>
              </a:extLst>
            </p:cNvPr>
            <p:cNvSpPr/>
            <p:nvPr userDrawn="1"/>
          </p:nvSpPr>
          <p:spPr>
            <a:xfrm>
              <a:off x="-1738339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6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00" name="Прямоугольник: скругленные углы 48">
              <a:extLst>
                <a:ext uri="{FF2B5EF4-FFF2-40B4-BE49-F238E27FC236}">
                  <a16:creationId xmlns:a16="http://schemas.microsoft.com/office/drawing/2014/main" id="{5FE503CD-B1B5-1547-AFB0-C04820859122}"/>
                </a:ext>
              </a:extLst>
            </p:cNvPr>
            <p:cNvSpPr/>
            <p:nvPr userDrawn="1"/>
          </p:nvSpPr>
          <p:spPr>
            <a:xfrm>
              <a:off x="-1475201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tx2"/>
            </a:solidFill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01" name="Прямоугольник: скругленные углы 56">
              <a:extLst>
                <a:ext uri="{FF2B5EF4-FFF2-40B4-BE49-F238E27FC236}">
                  <a16:creationId xmlns:a16="http://schemas.microsoft.com/office/drawing/2014/main" id="{9ED3D159-6E3E-E74B-B704-06E7EF66176B}"/>
                </a:ext>
              </a:extLst>
            </p:cNvPr>
            <p:cNvSpPr/>
            <p:nvPr userDrawn="1"/>
          </p:nvSpPr>
          <p:spPr>
            <a:xfrm>
              <a:off x="-946163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47" name="Нижний колонтитул 4">
            <a:extLst>
              <a:ext uri="{FF2B5EF4-FFF2-40B4-BE49-F238E27FC236}">
                <a16:creationId xmlns:a16="http://schemas.microsoft.com/office/drawing/2014/main" id="{10253803-6842-474F-8345-1128330D55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458800" y="6465600"/>
            <a:ext cx="7274114" cy="144500"/>
          </a:xfrm>
        </p:spPr>
        <p:txBody>
          <a:bodyPr anchor="b"/>
          <a:lstStyle>
            <a:lvl1pPr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82112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8">
          <p15:clr>
            <a:srgbClr val="F26B43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title_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9C6A208F-2A8F-8640-1889-7EF3989875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6547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33" imgH="233" progId="TCLayout.ActiveDocument.1">
                  <p:embed/>
                </p:oleObj>
              </mc:Choice>
              <mc:Fallback>
                <p:oleObj name="Слайд think-cell" r:id="rId3" imgW="233" imgH="233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9C6A208F-2A8F-8640-1889-7EF3989875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Объект 2">
            <a:extLst>
              <a:ext uri="{FF2B5EF4-FFF2-40B4-BE49-F238E27FC236}">
                <a16:creationId xmlns:a16="http://schemas.microsoft.com/office/drawing/2014/main" id="{00E81AAF-ABDB-4D08-7BE3-C7B407E68E1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763" y="1520824"/>
            <a:ext cx="10910887" cy="47418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5">
            <a:extLst>
              <a:ext uri="{FF2B5EF4-FFF2-40B4-BE49-F238E27FC236}">
                <a16:creationId xmlns:a16="http://schemas.microsoft.com/office/drawing/2014/main" id="{371F2FD1-0E8C-A36C-3CEF-FF20A77F36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57744" y="6430370"/>
            <a:ext cx="908050" cy="216000"/>
          </a:xfrm>
        </p:spPr>
        <p:txBody>
          <a:bodyPr/>
          <a:lstStyle>
            <a:lvl1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fld id="{EB5249F5-0093-48B0-B996-C4E44A87EAFB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35" name="Заголовок 1">
            <a:extLst>
              <a:ext uri="{FF2B5EF4-FFF2-40B4-BE49-F238E27FC236}">
                <a16:creationId xmlns:a16="http://schemas.microsoft.com/office/drawing/2014/main" id="{64D5D928-54C7-0515-241F-75818620F1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9764" y="411164"/>
            <a:ext cx="10910888" cy="35885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5000"/>
              </a:lnSpc>
              <a:defRPr spc="-30" baseline="0">
                <a:solidFill>
                  <a:schemeClr val="bg1"/>
                </a:solidFill>
              </a:defRPr>
            </a:lvl1pPr>
          </a:lstStyle>
          <a:p>
            <a:r>
              <a:rPr lang="ru-RU"/>
              <a:t>Сформулируй заголовок слайда в 1 строку</a:t>
            </a:r>
          </a:p>
        </p:txBody>
      </p:sp>
      <p:sp>
        <p:nvSpPr>
          <p:cNvPr id="36" name="Текст 10">
            <a:extLst>
              <a:ext uri="{FF2B5EF4-FFF2-40B4-BE49-F238E27FC236}">
                <a16:creationId xmlns:a16="http://schemas.microsoft.com/office/drawing/2014/main" id="{214F87F9-9F23-A982-C724-BD3B326E88D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9763" y="833072"/>
            <a:ext cx="10926762" cy="358858"/>
          </a:xfrm>
        </p:spPr>
        <p:txBody>
          <a:bodyPr/>
          <a:lstStyle>
            <a:lvl1pPr>
              <a:lnSpc>
                <a:spcPct val="90000"/>
              </a:lnSpc>
              <a:defRPr sz="1800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ru-RU" dirty="0"/>
              <a:t>Сформулируй подзаголовок в 1–2 строки</a:t>
            </a:r>
          </a:p>
        </p:txBody>
      </p:sp>
      <p:sp>
        <p:nvSpPr>
          <p:cNvPr id="37" name="Прямоугольник: скругленные углы 36">
            <a:extLst>
              <a:ext uri="{FF2B5EF4-FFF2-40B4-BE49-F238E27FC236}">
                <a16:creationId xmlns:a16="http://schemas.microsoft.com/office/drawing/2014/main" id="{FA396019-081A-9B04-222C-8B96235EC847}"/>
              </a:ext>
            </a:extLst>
          </p:cNvPr>
          <p:cNvSpPr/>
          <p:nvPr userDrawn="1"/>
        </p:nvSpPr>
        <p:spPr>
          <a:xfrm>
            <a:off x="-2138458" y="54865"/>
            <a:ext cx="1928241" cy="2826069"/>
          </a:xfrm>
          <a:prstGeom prst="roundRect">
            <a:avLst>
              <a:gd name="adj" fmla="val 5926"/>
            </a:avLst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8" name="Прямоугольник: скругленные верхние углы 37">
            <a:extLst>
              <a:ext uri="{FF2B5EF4-FFF2-40B4-BE49-F238E27FC236}">
                <a16:creationId xmlns:a16="http://schemas.microsoft.com/office/drawing/2014/main" id="{CC120812-6660-E8D7-71B4-58E1CA35329D}"/>
              </a:ext>
            </a:extLst>
          </p:cNvPr>
          <p:cNvSpPr/>
          <p:nvPr userDrawn="1"/>
        </p:nvSpPr>
        <p:spPr>
          <a:xfrm>
            <a:off x="-2136930" y="0"/>
            <a:ext cx="1926713" cy="2880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36000" rtlCol="0" anchor="ctr"/>
          <a:lstStyle/>
          <a:p>
            <a:pPr algn="ctr"/>
            <a:r>
              <a:rPr lang="ru-RU" sz="1100" b="1">
                <a:solidFill>
                  <a:schemeClr val="tx1"/>
                </a:solidFill>
              </a:rPr>
              <a:t>Размеры текста</a:t>
            </a:r>
          </a:p>
        </p:txBody>
      </p:sp>
      <p:graphicFrame>
        <p:nvGraphicFramePr>
          <p:cNvPr id="39" name="Таблица 46">
            <a:extLst>
              <a:ext uri="{FF2B5EF4-FFF2-40B4-BE49-F238E27FC236}">
                <a16:creationId xmlns:a16="http://schemas.microsoft.com/office/drawing/2014/main" id="{C214627B-A561-23DE-11FC-3859ACF30955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503260718"/>
              </p:ext>
            </p:extLst>
          </p:nvPr>
        </p:nvGraphicFramePr>
        <p:xfrm>
          <a:off x="-2046114" y="312643"/>
          <a:ext cx="1958731" cy="2142000"/>
        </p:xfrm>
        <a:graphic>
          <a:graphicData uri="http://schemas.openxmlformats.org/drawingml/2006/table">
            <a:tbl>
              <a:tblPr/>
              <a:tblGrid>
                <a:gridCol w="532517">
                  <a:extLst>
                    <a:ext uri="{9D8B030D-6E8A-4147-A177-3AD203B41FA5}">
                      <a16:colId xmlns:a16="http://schemas.microsoft.com/office/drawing/2014/main" val="2594385797"/>
                    </a:ext>
                  </a:extLst>
                </a:gridCol>
                <a:gridCol w="1426214">
                  <a:extLst>
                    <a:ext uri="{9D8B030D-6E8A-4147-A177-3AD203B41FA5}">
                      <a16:colId xmlns:a16="http://schemas.microsoft.com/office/drawing/2014/main" val="1017723076"/>
                    </a:ext>
                  </a:extLst>
                </a:gridCol>
              </a:tblGrid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44+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0" spc="-40" baseline="0"/>
                        <a:t>акцентные цифр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8329665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32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заголовки и самые </a:t>
                      </a:r>
                      <a:br>
                        <a:rPr lang="ru-RU" sz="1000" spc="-40" baseline="0"/>
                      </a:br>
                      <a:r>
                        <a:rPr lang="ru-RU" sz="1000" spc="-40" baseline="0"/>
                        <a:t>важные данные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17697917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24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8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подзаголовки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72780009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18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4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основной текст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0685745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4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2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торой уровень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текста (менее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ажная информация)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1997433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0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сноски, пояснения, </a:t>
                      </a:r>
                      <a:br>
                        <a:rPr lang="en-US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большие таблиц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76660845"/>
                  </a:ext>
                </a:extLst>
              </a:tr>
            </a:tbl>
          </a:graphicData>
        </a:graphic>
      </p:graphicFrame>
      <p:sp>
        <p:nvSpPr>
          <p:cNvPr id="40" name="Полилиния: фигура 39">
            <a:extLst>
              <a:ext uri="{FF2B5EF4-FFF2-40B4-BE49-F238E27FC236}">
                <a16:creationId xmlns:a16="http://schemas.microsoft.com/office/drawing/2014/main" id="{D1137D18-51FF-7720-A2D7-B37EEEBBCC0C}"/>
              </a:ext>
            </a:extLst>
          </p:cNvPr>
          <p:cNvSpPr/>
          <p:nvPr userDrawn="1"/>
        </p:nvSpPr>
        <p:spPr>
          <a:xfrm>
            <a:off x="-2004344" y="2488864"/>
            <a:ext cx="216624" cy="228657"/>
          </a:xfrm>
          <a:custGeom>
            <a:avLst/>
            <a:gdLst>
              <a:gd name="connsiteX0" fmla="*/ 72536 w 171450"/>
              <a:gd name="connsiteY0" fmla="*/ 162210 h 180974"/>
              <a:gd name="connsiteX1" fmla="*/ 98923 w 171450"/>
              <a:gd name="connsiteY1" fmla="*/ 162210 h 180974"/>
              <a:gd name="connsiteX2" fmla="*/ 103600 w 171450"/>
              <a:gd name="connsiteY2" fmla="*/ 172160 h 180974"/>
              <a:gd name="connsiteX3" fmla="*/ 85726 w 171450"/>
              <a:gd name="connsiteY3" fmla="*/ 180974 h 180974"/>
              <a:gd name="connsiteX4" fmla="*/ 67852 w 171450"/>
              <a:gd name="connsiteY4" fmla="*/ 172160 h 180974"/>
              <a:gd name="connsiteX5" fmla="*/ 72536 w 171450"/>
              <a:gd name="connsiteY5" fmla="*/ 162210 h 180974"/>
              <a:gd name="connsiteX6" fmla="*/ 152400 w 171450"/>
              <a:gd name="connsiteY6" fmla="*/ 76200 h 180974"/>
              <a:gd name="connsiteX7" fmla="*/ 161925 w 171450"/>
              <a:gd name="connsiteY7" fmla="*/ 76200 h 180974"/>
              <a:gd name="connsiteX8" fmla="*/ 171450 w 171450"/>
              <a:gd name="connsiteY8" fmla="*/ 85725 h 180974"/>
              <a:gd name="connsiteX9" fmla="*/ 161925 w 171450"/>
              <a:gd name="connsiteY9" fmla="*/ 95250 h 180974"/>
              <a:gd name="connsiteX10" fmla="*/ 152400 w 171450"/>
              <a:gd name="connsiteY10" fmla="*/ 95250 h 180974"/>
              <a:gd name="connsiteX11" fmla="*/ 142875 w 171450"/>
              <a:gd name="connsiteY11" fmla="*/ 85725 h 180974"/>
              <a:gd name="connsiteX12" fmla="*/ 152400 w 171450"/>
              <a:gd name="connsiteY12" fmla="*/ 76200 h 180974"/>
              <a:gd name="connsiteX13" fmla="*/ 9525 w 171450"/>
              <a:gd name="connsiteY13" fmla="*/ 76200 h 180974"/>
              <a:gd name="connsiteX14" fmla="*/ 19050 w 171450"/>
              <a:gd name="connsiteY14" fmla="*/ 76200 h 180974"/>
              <a:gd name="connsiteX15" fmla="*/ 28575 w 171450"/>
              <a:gd name="connsiteY15" fmla="*/ 85725 h 180974"/>
              <a:gd name="connsiteX16" fmla="*/ 19050 w 171450"/>
              <a:gd name="connsiteY16" fmla="*/ 95250 h 180974"/>
              <a:gd name="connsiteX17" fmla="*/ 9525 w 171450"/>
              <a:gd name="connsiteY17" fmla="*/ 95250 h 180974"/>
              <a:gd name="connsiteX18" fmla="*/ 0 w 171450"/>
              <a:gd name="connsiteY18" fmla="*/ 85725 h 180974"/>
              <a:gd name="connsiteX19" fmla="*/ 9525 w 171450"/>
              <a:gd name="connsiteY19" fmla="*/ 76200 h 180974"/>
              <a:gd name="connsiteX20" fmla="*/ 85725 w 171450"/>
              <a:gd name="connsiteY20" fmla="*/ 38100 h 180974"/>
              <a:gd name="connsiteX21" fmla="*/ 133350 w 171450"/>
              <a:gd name="connsiteY21" fmla="*/ 85725 h 180974"/>
              <a:gd name="connsiteX22" fmla="*/ 123174 w 171450"/>
              <a:gd name="connsiteY22" fmla="*/ 114596 h 180974"/>
              <a:gd name="connsiteX23" fmla="*/ 114300 w 171450"/>
              <a:gd name="connsiteY23" fmla="*/ 138113 h 180974"/>
              <a:gd name="connsiteX24" fmla="*/ 85725 w 171450"/>
              <a:gd name="connsiteY24" fmla="*/ 152400 h 180974"/>
              <a:gd name="connsiteX25" fmla="*/ 57150 w 171450"/>
              <a:gd name="connsiteY25" fmla="*/ 138113 h 180974"/>
              <a:gd name="connsiteX26" fmla="*/ 48275 w 171450"/>
              <a:gd name="connsiteY26" fmla="*/ 114596 h 180974"/>
              <a:gd name="connsiteX27" fmla="*/ 38100 w 171450"/>
              <a:gd name="connsiteY27" fmla="*/ 85725 h 180974"/>
              <a:gd name="connsiteX28" fmla="*/ 85725 w 171450"/>
              <a:gd name="connsiteY28" fmla="*/ 38100 h 180974"/>
              <a:gd name="connsiteX29" fmla="*/ 136141 w 171450"/>
              <a:gd name="connsiteY29" fmla="*/ 21840 h 180974"/>
              <a:gd name="connsiteX30" fmla="*/ 149611 w 171450"/>
              <a:gd name="connsiteY30" fmla="*/ 21840 h 180974"/>
              <a:gd name="connsiteX31" fmla="*/ 149611 w 171450"/>
              <a:gd name="connsiteY31" fmla="*/ 35310 h 180974"/>
              <a:gd name="connsiteX32" fmla="*/ 140086 w 171450"/>
              <a:gd name="connsiteY32" fmla="*/ 44835 h 180974"/>
              <a:gd name="connsiteX33" fmla="*/ 126616 w 171450"/>
              <a:gd name="connsiteY33" fmla="*/ 44835 h 180974"/>
              <a:gd name="connsiteX34" fmla="*/ 126616 w 171450"/>
              <a:gd name="connsiteY34" fmla="*/ 31365 h 180974"/>
              <a:gd name="connsiteX35" fmla="*/ 21840 w 171450"/>
              <a:gd name="connsiteY35" fmla="*/ 21840 h 180974"/>
              <a:gd name="connsiteX36" fmla="*/ 35310 w 171450"/>
              <a:gd name="connsiteY36" fmla="*/ 21840 h 180974"/>
              <a:gd name="connsiteX37" fmla="*/ 44835 w 171450"/>
              <a:gd name="connsiteY37" fmla="*/ 31365 h 180974"/>
              <a:gd name="connsiteX38" fmla="*/ 44835 w 171450"/>
              <a:gd name="connsiteY38" fmla="*/ 44835 h 180974"/>
              <a:gd name="connsiteX39" fmla="*/ 31365 w 171450"/>
              <a:gd name="connsiteY39" fmla="*/ 44835 h 180974"/>
              <a:gd name="connsiteX40" fmla="*/ 21840 w 171450"/>
              <a:gd name="connsiteY40" fmla="*/ 35310 h 180974"/>
              <a:gd name="connsiteX41" fmla="*/ 21840 w 171450"/>
              <a:gd name="connsiteY41" fmla="*/ 21840 h 180974"/>
              <a:gd name="connsiteX42" fmla="*/ 85725 w 171450"/>
              <a:gd name="connsiteY42" fmla="*/ 0 h 180974"/>
              <a:gd name="connsiteX43" fmla="*/ 95250 w 171450"/>
              <a:gd name="connsiteY43" fmla="*/ 9525 h 180974"/>
              <a:gd name="connsiteX44" fmla="*/ 95250 w 171450"/>
              <a:gd name="connsiteY44" fmla="*/ 19050 h 180974"/>
              <a:gd name="connsiteX45" fmla="*/ 85725 w 171450"/>
              <a:gd name="connsiteY45" fmla="*/ 28575 h 180974"/>
              <a:gd name="connsiteX46" fmla="*/ 76200 w 171450"/>
              <a:gd name="connsiteY46" fmla="*/ 19050 h 180974"/>
              <a:gd name="connsiteX47" fmla="*/ 76200 w 171450"/>
              <a:gd name="connsiteY47" fmla="*/ 9525 h 180974"/>
              <a:gd name="connsiteX48" fmla="*/ 85725 w 171450"/>
              <a:gd name="connsiteY48" fmla="*/ 0 h 18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1450" h="180974">
                <a:moveTo>
                  <a:pt x="72536" y="162210"/>
                </a:moveTo>
                <a:cubicBezTo>
                  <a:pt x="80449" y="164140"/>
                  <a:pt x="90933" y="164211"/>
                  <a:pt x="98923" y="162210"/>
                </a:cubicBezTo>
                <a:cubicBezTo>
                  <a:pt x="105617" y="160534"/>
                  <a:pt x="105617" y="166533"/>
                  <a:pt x="103600" y="172160"/>
                </a:cubicBezTo>
                <a:cubicBezTo>
                  <a:pt x="100950" y="179549"/>
                  <a:pt x="95451" y="180974"/>
                  <a:pt x="85726" y="180974"/>
                </a:cubicBezTo>
                <a:cubicBezTo>
                  <a:pt x="76000" y="180974"/>
                  <a:pt x="70501" y="179549"/>
                  <a:pt x="67852" y="172160"/>
                </a:cubicBezTo>
                <a:cubicBezTo>
                  <a:pt x="65835" y="166534"/>
                  <a:pt x="65835" y="160576"/>
                  <a:pt x="72536" y="162210"/>
                </a:cubicBezTo>
                <a:close/>
                <a:moveTo>
                  <a:pt x="152400" y="76200"/>
                </a:moveTo>
                <a:lnTo>
                  <a:pt x="161925" y="76200"/>
                </a:lnTo>
                <a:cubicBezTo>
                  <a:pt x="167186" y="76200"/>
                  <a:pt x="171450" y="80464"/>
                  <a:pt x="171450" y="85725"/>
                </a:cubicBezTo>
                <a:cubicBezTo>
                  <a:pt x="171450" y="90986"/>
                  <a:pt x="167186" y="95250"/>
                  <a:pt x="161925" y="95250"/>
                </a:cubicBezTo>
                <a:lnTo>
                  <a:pt x="152400" y="95250"/>
                </a:lnTo>
                <a:cubicBezTo>
                  <a:pt x="147139" y="95250"/>
                  <a:pt x="142875" y="90986"/>
                  <a:pt x="142875" y="85725"/>
                </a:cubicBezTo>
                <a:cubicBezTo>
                  <a:pt x="142875" y="80464"/>
                  <a:pt x="147139" y="76200"/>
                  <a:pt x="152400" y="76200"/>
                </a:cubicBezTo>
                <a:close/>
                <a:moveTo>
                  <a:pt x="9525" y="76200"/>
                </a:moveTo>
                <a:lnTo>
                  <a:pt x="19050" y="76200"/>
                </a:lnTo>
                <a:cubicBezTo>
                  <a:pt x="24310" y="76200"/>
                  <a:pt x="28575" y="80464"/>
                  <a:pt x="28575" y="85725"/>
                </a:cubicBezTo>
                <a:cubicBezTo>
                  <a:pt x="28575" y="90986"/>
                  <a:pt x="24310" y="95250"/>
                  <a:pt x="19050" y="95250"/>
                </a:cubicBezTo>
                <a:lnTo>
                  <a:pt x="9525" y="95250"/>
                </a:lnTo>
                <a:cubicBezTo>
                  <a:pt x="4265" y="95250"/>
                  <a:pt x="0" y="90986"/>
                  <a:pt x="0" y="85725"/>
                </a:cubicBezTo>
                <a:cubicBezTo>
                  <a:pt x="0" y="80464"/>
                  <a:pt x="4265" y="76200"/>
                  <a:pt x="9525" y="76200"/>
                </a:cubicBezTo>
                <a:close/>
                <a:moveTo>
                  <a:pt x="85725" y="38100"/>
                </a:moveTo>
                <a:cubicBezTo>
                  <a:pt x="112027" y="38100"/>
                  <a:pt x="133350" y="58671"/>
                  <a:pt x="133350" y="85725"/>
                </a:cubicBezTo>
                <a:cubicBezTo>
                  <a:pt x="133350" y="100663"/>
                  <a:pt x="128144" y="107793"/>
                  <a:pt x="123174" y="114596"/>
                </a:cubicBezTo>
                <a:cubicBezTo>
                  <a:pt x="118639" y="120807"/>
                  <a:pt x="114300" y="126748"/>
                  <a:pt x="114300" y="138113"/>
                </a:cubicBezTo>
                <a:cubicBezTo>
                  <a:pt x="114300" y="147638"/>
                  <a:pt x="104775" y="152400"/>
                  <a:pt x="85725" y="152400"/>
                </a:cubicBezTo>
                <a:cubicBezTo>
                  <a:pt x="66675" y="152400"/>
                  <a:pt x="57150" y="147638"/>
                  <a:pt x="57150" y="138113"/>
                </a:cubicBezTo>
                <a:cubicBezTo>
                  <a:pt x="57150" y="126748"/>
                  <a:pt x="52811" y="120807"/>
                  <a:pt x="48275" y="114596"/>
                </a:cubicBezTo>
                <a:cubicBezTo>
                  <a:pt x="43306" y="107793"/>
                  <a:pt x="38100" y="100663"/>
                  <a:pt x="38100" y="85725"/>
                </a:cubicBezTo>
                <a:cubicBezTo>
                  <a:pt x="38100" y="57150"/>
                  <a:pt x="59422" y="38100"/>
                  <a:pt x="85725" y="38100"/>
                </a:cubicBezTo>
                <a:close/>
                <a:moveTo>
                  <a:pt x="136141" y="21840"/>
                </a:moveTo>
                <a:cubicBezTo>
                  <a:pt x="139860" y="18120"/>
                  <a:pt x="145891" y="18120"/>
                  <a:pt x="149611" y="21840"/>
                </a:cubicBezTo>
                <a:cubicBezTo>
                  <a:pt x="153330" y="25560"/>
                  <a:pt x="153330" y="31590"/>
                  <a:pt x="149611" y="35310"/>
                </a:cubicBezTo>
                <a:lnTo>
                  <a:pt x="140086" y="44835"/>
                </a:lnTo>
                <a:cubicBezTo>
                  <a:pt x="136366" y="48555"/>
                  <a:pt x="130335" y="48555"/>
                  <a:pt x="126616" y="44835"/>
                </a:cubicBezTo>
                <a:cubicBezTo>
                  <a:pt x="122896" y="41115"/>
                  <a:pt x="122896" y="35085"/>
                  <a:pt x="126616" y="31365"/>
                </a:cubicBezTo>
                <a:close/>
                <a:moveTo>
                  <a:pt x="21840" y="21840"/>
                </a:moveTo>
                <a:cubicBezTo>
                  <a:pt x="25560" y="18120"/>
                  <a:pt x="31590" y="18120"/>
                  <a:pt x="35310" y="21840"/>
                </a:cubicBezTo>
                <a:lnTo>
                  <a:pt x="44835" y="31365"/>
                </a:lnTo>
                <a:cubicBezTo>
                  <a:pt x="48555" y="35085"/>
                  <a:pt x="48555" y="41115"/>
                  <a:pt x="44835" y="44835"/>
                </a:cubicBezTo>
                <a:cubicBezTo>
                  <a:pt x="41115" y="48555"/>
                  <a:pt x="35085" y="48555"/>
                  <a:pt x="31365" y="44835"/>
                </a:cubicBezTo>
                <a:lnTo>
                  <a:pt x="21840" y="35310"/>
                </a:lnTo>
                <a:cubicBezTo>
                  <a:pt x="18120" y="31590"/>
                  <a:pt x="18120" y="25560"/>
                  <a:pt x="21840" y="21840"/>
                </a:cubicBezTo>
                <a:close/>
                <a:moveTo>
                  <a:pt x="85725" y="0"/>
                </a:moveTo>
                <a:cubicBezTo>
                  <a:pt x="90986" y="0"/>
                  <a:pt x="95250" y="4265"/>
                  <a:pt x="95250" y="9525"/>
                </a:cubicBezTo>
                <a:lnTo>
                  <a:pt x="95250" y="19050"/>
                </a:lnTo>
                <a:cubicBezTo>
                  <a:pt x="95250" y="24310"/>
                  <a:pt x="90986" y="28575"/>
                  <a:pt x="85725" y="28575"/>
                </a:cubicBezTo>
                <a:cubicBezTo>
                  <a:pt x="80464" y="28575"/>
                  <a:pt x="76200" y="24310"/>
                  <a:pt x="76200" y="19050"/>
                </a:cubicBezTo>
                <a:lnTo>
                  <a:pt x="76200" y="9525"/>
                </a:lnTo>
                <a:cubicBezTo>
                  <a:pt x="76200" y="4265"/>
                  <a:pt x="80464" y="0"/>
                  <a:pt x="85725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EC930174-278D-1164-093F-8AF71562C0CA}"/>
              </a:ext>
            </a:extLst>
          </p:cNvPr>
          <p:cNvSpPr txBox="1"/>
          <p:nvPr userDrawn="1"/>
        </p:nvSpPr>
        <p:spPr>
          <a:xfrm>
            <a:off x="-1691344" y="2506490"/>
            <a:ext cx="1373969" cy="2428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</a:pPr>
            <a:r>
              <a:rPr lang="ru-RU" sz="900" b="0">
                <a:solidFill>
                  <a:schemeClr val="accent1"/>
                </a:solidFill>
              </a:rPr>
              <a:t>Используй эти размеры </a:t>
            </a:r>
            <a:br>
              <a:rPr lang="ru-RU" sz="900" b="0">
                <a:solidFill>
                  <a:schemeClr val="accent1"/>
                </a:solidFill>
              </a:rPr>
            </a:br>
            <a:r>
              <a:rPr lang="ru-RU" sz="900" b="0">
                <a:solidFill>
                  <a:schemeClr val="accent1"/>
                </a:solidFill>
              </a:rPr>
              <a:t>по всей презентации</a:t>
            </a:r>
          </a:p>
        </p:txBody>
      </p:sp>
      <p:sp>
        <p:nvSpPr>
          <p:cNvPr id="62" name="Нижний колонтитул 4">
            <a:extLst>
              <a:ext uri="{FF2B5EF4-FFF2-40B4-BE49-F238E27FC236}">
                <a16:creationId xmlns:a16="http://schemas.microsoft.com/office/drawing/2014/main" id="{0606E0FB-6379-DF40-BFFA-E43FBE816E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458800" y="6465600"/>
            <a:ext cx="7274114" cy="144500"/>
          </a:xfrm>
        </p:spPr>
        <p:txBody>
          <a:bodyPr anchor="b"/>
          <a:lstStyle>
            <a:lvl1pPr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endParaRPr lang="ru-RU" dirty="0"/>
          </a:p>
        </p:txBody>
      </p:sp>
      <p:grpSp>
        <p:nvGrpSpPr>
          <p:cNvPr id="68" name="Группа 67">
            <a:extLst>
              <a:ext uri="{FF2B5EF4-FFF2-40B4-BE49-F238E27FC236}">
                <a16:creationId xmlns:a16="http://schemas.microsoft.com/office/drawing/2014/main" id="{ACADBB40-3E4B-BA47-9B0D-41DC98B980C0}"/>
              </a:ext>
            </a:extLst>
          </p:cNvPr>
          <p:cNvGrpSpPr/>
          <p:nvPr userDrawn="1"/>
        </p:nvGrpSpPr>
        <p:grpSpPr>
          <a:xfrm>
            <a:off x="-2138458" y="3070447"/>
            <a:ext cx="1935384" cy="3787553"/>
            <a:chOff x="-2138458" y="3070447"/>
            <a:chExt cx="1935384" cy="3787553"/>
          </a:xfrm>
        </p:grpSpPr>
        <p:sp>
          <p:nvSpPr>
            <p:cNvPr id="69" name="Прямоугольник: скругленные углы 38">
              <a:extLst>
                <a:ext uri="{FF2B5EF4-FFF2-40B4-BE49-F238E27FC236}">
                  <a16:creationId xmlns:a16="http://schemas.microsoft.com/office/drawing/2014/main" id="{8BC913CB-3DD4-6A44-AFB9-84356EBADC1D}"/>
                </a:ext>
              </a:extLst>
            </p:cNvPr>
            <p:cNvSpPr/>
            <p:nvPr/>
          </p:nvSpPr>
          <p:spPr>
            <a:xfrm>
              <a:off x="-2138458" y="3125312"/>
              <a:ext cx="1928241" cy="2468818"/>
            </a:xfrm>
            <a:prstGeom prst="roundRect">
              <a:avLst>
                <a:gd name="adj" fmla="val 5926"/>
              </a:avLst>
            </a:prstGeom>
            <a:solidFill>
              <a:schemeClr val="bg1"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0" name="Прямоугольник: скругленные верхние углы 39">
              <a:extLst>
                <a:ext uri="{FF2B5EF4-FFF2-40B4-BE49-F238E27FC236}">
                  <a16:creationId xmlns:a16="http://schemas.microsoft.com/office/drawing/2014/main" id="{959C18BF-1BE5-B543-B223-77C360ED66CF}"/>
                </a:ext>
              </a:extLst>
            </p:cNvPr>
            <p:cNvSpPr/>
            <p:nvPr/>
          </p:nvSpPr>
          <p:spPr>
            <a:xfrm>
              <a:off x="-2136930" y="3070447"/>
              <a:ext cx="1926713" cy="28800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36000" rtlCol="0" anchor="ctr"/>
            <a:lstStyle/>
            <a:p>
              <a:pPr algn="ctr"/>
              <a:r>
                <a:rPr lang="ru-RU" sz="1100" b="1">
                  <a:solidFill>
                    <a:schemeClr val="tx1"/>
                  </a:solidFill>
                </a:rPr>
                <a:t>Цвета </a:t>
              </a:r>
              <a:r>
                <a:rPr lang="en-US" sz="1100" b="1">
                  <a:solidFill>
                    <a:schemeClr val="tx1"/>
                  </a:solidFill>
                </a:rPr>
                <a:t>Ozon</a:t>
              </a:r>
              <a:endParaRPr lang="ru-RU" sz="1100" b="1">
                <a:solidFill>
                  <a:schemeClr val="tx1"/>
                </a:solidFill>
              </a:endParaRPr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E441BCCA-D30C-A945-86F3-9E84282D3446}"/>
                </a:ext>
              </a:extLst>
            </p:cNvPr>
            <p:cNvSpPr txBox="1"/>
            <p:nvPr userDrawn="1"/>
          </p:nvSpPr>
          <p:spPr>
            <a:xfrm>
              <a:off x="-2003446" y="3412239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текста </a:t>
              </a:r>
            </a:p>
          </p:txBody>
        </p:sp>
        <p:sp>
          <p:nvSpPr>
            <p:cNvPr id="72" name="Прямоугольник: скругленные углы 41">
              <a:extLst>
                <a:ext uri="{FF2B5EF4-FFF2-40B4-BE49-F238E27FC236}">
                  <a16:creationId xmlns:a16="http://schemas.microsoft.com/office/drawing/2014/main" id="{A5F56424-48C0-5B42-BA81-1D94ADB9088F}"/>
                </a:ext>
              </a:extLst>
            </p:cNvPr>
            <p:cNvSpPr/>
            <p:nvPr userDrawn="1"/>
          </p:nvSpPr>
          <p:spPr>
            <a:xfrm>
              <a:off x="-2004344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3" name="Прямоугольник: скругленные углы 42">
              <a:extLst>
                <a:ext uri="{FF2B5EF4-FFF2-40B4-BE49-F238E27FC236}">
                  <a16:creationId xmlns:a16="http://schemas.microsoft.com/office/drawing/2014/main" id="{70F71935-B459-1946-9685-15173A969D4A}"/>
                </a:ext>
              </a:extLst>
            </p:cNvPr>
            <p:cNvSpPr/>
            <p:nvPr userDrawn="1"/>
          </p:nvSpPr>
          <p:spPr>
            <a:xfrm>
              <a:off x="-1738339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6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4" name="Прямоугольник: скругленные углы 43">
              <a:extLst>
                <a:ext uri="{FF2B5EF4-FFF2-40B4-BE49-F238E27FC236}">
                  <a16:creationId xmlns:a16="http://schemas.microsoft.com/office/drawing/2014/main" id="{C5493070-C997-C047-80CE-050317916ABA}"/>
                </a:ext>
              </a:extLst>
            </p:cNvPr>
            <p:cNvSpPr/>
            <p:nvPr userDrawn="1"/>
          </p:nvSpPr>
          <p:spPr>
            <a:xfrm>
              <a:off x="-1739900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3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5" name="Прямоугольник: скругленные углы 44">
              <a:extLst>
                <a:ext uri="{FF2B5EF4-FFF2-40B4-BE49-F238E27FC236}">
                  <a16:creationId xmlns:a16="http://schemas.microsoft.com/office/drawing/2014/main" id="{C43704EF-B1FF-3D4A-813F-5FBBE4E46F92}"/>
                </a:ext>
              </a:extLst>
            </p:cNvPr>
            <p:cNvSpPr/>
            <p:nvPr userDrawn="1"/>
          </p:nvSpPr>
          <p:spPr>
            <a:xfrm>
              <a:off x="-2004963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0E593829-69B5-2D4F-A75A-7EE68F1B6D9C}"/>
                </a:ext>
              </a:extLst>
            </p:cNvPr>
            <p:cNvSpPr txBox="1"/>
            <p:nvPr userDrawn="1"/>
          </p:nvSpPr>
          <p:spPr>
            <a:xfrm>
              <a:off x="-2003446" y="3935644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больших плашек</a:t>
              </a:r>
            </a:p>
          </p:txBody>
        </p:sp>
        <p:sp>
          <p:nvSpPr>
            <p:cNvPr id="77" name="Прямоугольник: скругленные углы 47">
              <a:extLst>
                <a:ext uri="{FF2B5EF4-FFF2-40B4-BE49-F238E27FC236}">
                  <a16:creationId xmlns:a16="http://schemas.microsoft.com/office/drawing/2014/main" id="{5A13E7D2-9C0E-0146-9C13-DFE574B08A4F}"/>
                </a:ext>
              </a:extLst>
            </p:cNvPr>
            <p:cNvSpPr/>
            <p:nvPr userDrawn="1"/>
          </p:nvSpPr>
          <p:spPr>
            <a:xfrm>
              <a:off x="-2004963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tx2">
                <a:lumMod val="90000"/>
                <a:lumOff val="10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8" name="Прямоугольник: скругленные углы 48">
              <a:extLst>
                <a:ext uri="{FF2B5EF4-FFF2-40B4-BE49-F238E27FC236}">
                  <a16:creationId xmlns:a16="http://schemas.microsoft.com/office/drawing/2014/main" id="{2605BB73-98F0-4E4F-BA15-B73E1C7A4F15}"/>
                </a:ext>
              </a:extLst>
            </p:cNvPr>
            <p:cNvSpPr/>
            <p:nvPr userDrawn="1"/>
          </p:nvSpPr>
          <p:spPr>
            <a:xfrm>
              <a:off x="-1739900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E6D455FB-98B4-1943-9E57-DC98726499D0}"/>
                </a:ext>
              </a:extLst>
            </p:cNvPr>
            <p:cNvSpPr txBox="1"/>
            <p:nvPr userDrawn="1"/>
          </p:nvSpPr>
          <p:spPr>
            <a:xfrm>
              <a:off x="-2003446" y="4451492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а маленьких плашек</a:t>
              </a:r>
            </a:p>
          </p:txBody>
        </p:sp>
        <p:sp>
          <p:nvSpPr>
            <p:cNvPr id="80" name="Прямоугольник: скругленные углы 51">
              <a:extLst>
                <a:ext uri="{FF2B5EF4-FFF2-40B4-BE49-F238E27FC236}">
                  <a16:creationId xmlns:a16="http://schemas.microsoft.com/office/drawing/2014/main" id="{E8B82740-32DB-6B42-AAC7-B0E2AAFF5F3D}"/>
                </a:ext>
              </a:extLst>
            </p:cNvPr>
            <p:cNvSpPr/>
            <p:nvPr userDrawn="1"/>
          </p:nvSpPr>
          <p:spPr>
            <a:xfrm>
              <a:off x="-1475201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tx2"/>
            </a:solidFill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1" name="Прямоугольник: скругленные углы 52">
              <a:extLst>
                <a:ext uri="{FF2B5EF4-FFF2-40B4-BE49-F238E27FC236}">
                  <a16:creationId xmlns:a16="http://schemas.microsoft.com/office/drawing/2014/main" id="{EA00E76B-5416-404F-8C59-4CC70D0DC2F6}"/>
                </a:ext>
              </a:extLst>
            </p:cNvPr>
            <p:cNvSpPr/>
            <p:nvPr userDrawn="1"/>
          </p:nvSpPr>
          <p:spPr>
            <a:xfrm>
              <a:off x="-1739900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B7EDC9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2" name="Прямоугольник: скругленные углы 53">
              <a:extLst>
                <a:ext uri="{FF2B5EF4-FFF2-40B4-BE49-F238E27FC236}">
                  <a16:creationId xmlns:a16="http://schemas.microsoft.com/office/drawing/2014/main" id="{0E253E06-7EF5-134D-9807-EBFB775B3E5D}"/>
                </a:ext>
              </a:extLst>
            </p:cNvPr>
            <p:cNvSpPr/>
            <p:nvPr userDrawn="1"/>
          </p:nvSpPr>
          <p:spPr>
            <a:xfrm>
              <a:off x="-1474837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FA800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3" name="Прямоугольник: скругленные углы 54">
              <a:extLst>
                <a:ext uri="{FF2B5EF4-FFF2-40B4-BE49-F238E27FC236}">
                  <a16:creationId xmlns:a16="http://schemas.microsoft.com/office/drawing/2014/main" id="{36B61546-BF20-4F4D-8E37-3811D6FDF671}"/>
                </a:ext>
              </a:extLst>
            </p:cNvPr>
            <p:cNvSpPr/>
            <p:nvPr userDrawn="1"/>
          </p:nvSpPr>
          <p:spPr>
            <a:xfrm>
              <a:off x="-2004963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10C44C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84D064FF-E925-AE4A-BEAA-1761FDD715A2}"/>
                </a:ext>
              </a:extLst>
            </p:cNvPr>
            <p:cNvSpPr txBox="1"/>
            <p:nvPr userDrawn="1"/>
          </p:nvSpPr>
          <p:spPr>
            <a:xfrm>
              <a:off x="-2003446" y="4973480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900"/>
                <a:t>Рост / падение показателей</a:t>
              </a:r>
            </a:p>
          </p:txBody>
        </p:sp>
        <p:sp>
          <p:nvSpPr>
            <p:cNvPr id="85" name="Прямоугольник: скругленные углы 56">
              <a:extLst>
                <a:ext uri="{FF2B5EF4-FFF2-40B4-BE49-F238E27FC236}">
                  <a16:creationId xmlns:a16="http://schemas.microsoft.com/office/drawing/2014/main" id="{E0A73B6F-0CBC-6842-A110-CBFCE8627015}"/>
                </a:ext>
              </a:extLst>
            </p:cNvPr>
            <p:cNvSpPr/>
            <p:nvPr userDrawn="1"/>
          </p:nvSpPr>
          <p:spPr>
            <a:xfrm>
              <a:off x="-1209774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1">
                <a:lumMod val="20000"/>
                <a:lumOff val="80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6" name="Прямоугольник: скругленные углы 57">
              <a:extLst>
                <a:ext uri="{FF2B5EF4-FFF2-40B4-BE49-F238E27FC236}">
                  <a16:creationId xmlns:a16="http://schemas.microsoft.com/office/drawing/2014/main" id="{8D238242-34B2-B64B-81AD-1EBEBF99A4BA}"/>
                </a:ext>
              </a:extLst>
            </p:cNvPr>
            <p:cNvSpPr/>
            <p:nvPr/>
          </p:nvSpPr>
          <p:spPr>
            <a:xfrm>
              <a:off x="-2131314" y="5782119"/>
              <a:ext cx="1928240" cy="1075881"/>
            </a:xfrm>
            <a:prstGeom prst="roundRect">
              <a:avLst>
                <a:gd name="adj" fmla="val 12985"/>
              </a:avLst>
            </a:prstGeom>
            <a:solidFill>
              <a:schemeClr val="bg1"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CF74BAEA-2AEF-7C41-94C9-169D29CA399D}"/>
                </a:ext>
              </a:extLst>
            </p:cNvPr>
            <p:cNvSpPr txBox="1"/>
            <p:nvPr/>
          </p:nvSpPr>
          <p:spPr>
            <a:xfrm>
              <a:off x="-1788338" y="5868204"/>
              <a:ext cx="1155882" cy="15109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l">
                <a:lnSpc>
                  <a:spcPct val="90000"/>
                </a:lnSpc>
              </a:pPr>
              <a:r>
                <a:rPr lang="ru-RU" sz="1000" b="1">
                  <a:solidFill>
                    <a:schemeClr val="accent1"/>
                  </a:solidFill>
                </a:rPr>
                <a:t>Шаблон </a:t>
              </a:r>
              <a:r>
                <a:rPr lang="en-US" sz="1000" b="1">
                  <a:solidFill>
                    <a:schemeClr val="accent1"/>
                  </a:solidFill>
                </a:rPr>
                <a:t>Ozon</a:t>
              </a:r>
              <a:endParaRPr lang="ru-RU" sz="1000" b="1">
                <a:solidFill>
                  <a:schemeClr val="accent1"/>
                </a:solidFill>
              </a:endParaRPr>
            </a:p>
          </p:txBody>
        </p:sp>
        <p:sp>
          <p:nvSpPr>
            <p:cNvPr id="88" name="Рисунок 93">
              <a:extLst>
                <a:ext uri="{FF2B5EF4-FFF2-40B4-BE49-F238E27FC236}">
                  <a16:creationId xmlns:a16="http://schemas.microsoft.com/office/drawing/2014/main" id="{C290659D-DA99-334D-BD57-993A461E8927}"/>
                </a:ext>
              </a:extLst>
            </p:cNvPr>
            <p:cNvSpPr/>
            <p:nvPr/>
          </p:nvSpPr>
          <p:spPr>
            <a:xfrm>
              <a:off x="-2004963" y="5853908"/>
              <a:ext cx="161099" cy="161099"/>
            </a:xfrm>
            <a:custGeom>
              <a:avLst/>
              <a:gdLst>
                <a:gd name="connsiteX0" fmla="*/ 85725 w 171450"/>
                <a:gd name="connsiteY0" fmla="*/ 171450 h 171450"/>
                <a:gd name="connsiteX1" fmla="*/ 171450 w 171450"/>
                <a:gd name="connsiteY1" fmla="*/ 85725 h 171450"/>
                <a:gd name="connsiteX2" fmla="*/ 85725 w 171450"/>
                <a:gd name="connsiteY2" fmla="*/ 0 h 171450"/>
                <a:gd name="connsiteX3" fmla="*/ 0 w 171450"/>
                <a:gd name="connsiteY3" fmla="*/ 85725 h 171450"/>
                <a:gd name="connsiteX4" fmla="*/ 85725 w 171450"/>
                <a:gd name="connsiteY4" fmla="*/ 171450 h 171450"/>
                <a:gd name="connsiteX5" fmla="*/ 130560 w 171450"/>
                <a:gd name="connsiteY5" fmla="*/ 73410 h 171450"/>
                <a:gd name="connsiteX6" fmla="*/ 82935 w 171450"/>
                <a:gd name="connsiteY6" fmla="*/ 121035 h 171450"/>
                <a:gd name="connsiteX7" fmla="*/ 69465 w 171450"/>
                <a:gd name="connsiteY7" fmla="*/ 121035 h 171450"/>
                <a:gd name="connsiteX8" fmla="*/ 40890 w 171450"/>
                <a:gd name="connsiteY8" fmla="*/ 92460 h 171450"/>
                <a:gd name="connsiteX9" fmla="*/ 40890 w 171450"/>
                <a:gd name="connsiteY9" fmla="*/ 78990 h 171450"/>
                <a:gd name="connsiteX10" fmla="*/ 54360 w 171450"/>
                <a:gd name="connsiteY10" fmla="*/ 78990 h 171450"/>
                <a:gd name="connsiteX11" fmla="*/ 76200 w 171450"/>
                <a:gd name="connsiteY11" fmla="*/ 100830 h 171450"/>
                <a:gd name="connsiteX12" fmla="*/ 117090 w 171450"/>
                <a:gd name="connsiteY12" fmla="*/ 59940 h 171450"/>
                <a:gd name="connsiteX13" fmla="*/ 130560 w 171450"/>
                <a:gd name="connsiteY13" fmla="*/ 59940 h 171450"/>
                <a:gd name="connsiteX14" fmla="*/ 130560 w 171450"/>
                <a:gd name="connsiteY14" fmla="*/ 7341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71450" h="171450">
                  <a:moveTo>
                    <a:pt x="85725" y="171450"/>
                  </a:moveTo>
                  <a:cubicBezTo>
                    <a:pt x="138915" y="171450"/>
                    <a:pt x="171450" y="138915"/>
                    <a:pt x="171450" y="85725"/>
                  </a:cubicBezTo>
                  <a:cubicBezTo>
                    <a:pt x="171450" y="32535"/>
                    <a:pt x="138915" y="0"/>
                    <a:pt x="85725" y="0"/>
                  </a:cubicBezTo>
                  <a:cubicBezTo>
                    <a:pt x="32535" y="0"/>
                    <a:pt x="0" y="32535"/>
                    <a:pt x="0" y="85725"/>
                  </a:cubicBezTo>
                  <a:cubicBezTo>
                    <a:pt x="0" y="138915"/>
                    <a:pt x="32535" y="171450"/>
                    <a:pt x="85725" y="171450"/>
                  </a:cubicBezTo>
                  <a:close/>
                  <a:moveTo>
                    <a:pt x="130560" y="73410"/>
                  </a:moveTo>
                  <a:lnTo>
                    <a:pt x="82935" y="121035"/>
                  </a:lnTo>
                  <a:cubicBezTo>
                    <a:pt x="79216" y="124755"/>
                    <a:pt x="73184" y="124755"/>
                    <a:pt x="69465" y="121035"/>
                  </a:cubicBezTo>
                  <a:lnTo>
                    <a:pt x="40890" y="92460"/>
                  </a:lnTo>
                  <a:cubicBezTo>
                    <a:pt x="37170" y="88741"/>
                    <a:pt x="37170" y="82709"/>
                    <a:pt x="40890" y="78990"/>
                  </a:cubicBezTo>
                  <a:cubicBezTo>
                    <a:pt x="44610" y="75270"/>
                    <a:pt x="50640" y="75270"/>
                    <a:pt x="54360" y="78990"/>
                  </a:cubicBezTo>
                  <a:lnTo>
                    <a:pt x="76200" y="100830"/>
                  </a:lnTo>
                  <a:lnTo>
                    <a:pt x="117090" y="59940"/>
                  </a:lnTo>
                  <a:cubicBezTo>
                    <a:pt x="120809" y="56220"/>
                    <a:pt x="126841" y="56220"/>
                    <a:pt x="130560" y="59940"/>
                  </a:cubicBezTo>
                  <a:cubicBezTo>
                    <a:pt x="134280" y="63660"/>
                    <a:pt x="134280" y="69691"/>
                    <a:pt x="130560" y="7341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B0C66573-3B37-4845-90F6-8CD386C60B6D}"/>
                </a:ext>
              </a:extLst>
            </p:cNvPr>
            <p:cNvSpPr txBox="1"/>
            <p:nvPr/>
          </p:nvSpPr>
          <p:spPr>
            <a:xfrm>
              <a:off x="-2004962" y="6072106"/>
              <a:ext cx="1687587" cy="60024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>
                <a:lnSpc>
                  <a:spcPct val="110000"/>
                </a:lnSpc>
              </a:pPr>
              <a:r>
                <a:rPr lang="ru-RU" sz="900" spc="-30" baseline="0">
                  <a:solidFill>
                    <a:schemeClr val="tx2"/>
                  </a:solidFill>
                </a:rPr>
                <a:t>Если нужно больше материалов: </a:t>
              </a:r>
              <a:r>
                <a:rPr lang="ru-RU" sz="900" b="1" spc="-30" baseline="0">
                  <a:solidFill>
                    <a:schemeClr val="tx2"/>
                  </a:solidFill>
                </a:rPr>
                <a:t>правое меню </a:t>
              </a:r>
              <a:r>
                <a:rPr lang="en-US" sz="900" b="1" spc="-30" baseline="0">
                  <a:solidFill>
                    <a:schemeClr val="tx2"/>
                  </a:solidFill>
                </a:rPr>
                <a:t>Staff — Brand </a:t>
              </a:r>
              <a:r>
                <a:rPr lang="ru-RU" sz="900" b="1" spc="-30" baseline="0">
                  <a:solidFill>
                    <a:schemeClr val="tx2"/>
                  </a:solidFill>
                </a:rPr>
                <a:t>— Всё для презентаций. </a:t>
              </a:r>
              <a:r>
                <a:rPr lang="ru-RU" sz="900" b="0" spc="-30" baseline="0">
                  <a:solidFill>
                    <a:schemeClr val="tx2"/>
                  </a:solidFill>
                </a:rPr>
                <a:t>Или пиши нам на </a:t>
              </a:r>
              <a:r>
                <a:rPr lang="en-US" sz="900" b="0" spc="-30" baseline="0">
                  <a:solidFill>
                    <a:schemeClr val="tx2"/>
                  </a:solidFill>
                </a:rPr>
                <a:t>presentations@ozon.ru.</a:t>
              </a:r>
              <a:r>
                <a:rPr lang="ru-RU" sz="900" b="0" spc="-30" baseline="0">
                  <a:solidFill>
                    <a:schemeClr val="tx2"/>
                  </a:solidFill>
                </a:rPr>
                <a:t> </a:t>
              </a:r>
            </a:p>
          </p:txBody>
        </p:sp>
        <p:sp>
          <p:nvSpPr>
            <p:cNvPr id="90" name="Прямоугольник: скругленные углы 63">
              <a:extLst>
                <a:ext uri="{FF2B5EF4-FFF2-40B4-BE49-F238E27FC236}">
                  <a16:creationId xmlns:a16="http://schemas.microsoft.com/office/drawing/2014/main" id="{06B304CA-7385-5E48-BC6F-F8A2B2EECC7F}"/>
                </a:ext>
              </a:extLst>
            </p:cNvPr>
            <p:cNvSpPr/>
            <p:nvPr userDrawn="1"/>
          </p:nvSpPr>
          <p:spPr>
            <a:xfrm>
              <a:off x="-944711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53C14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1" name="Прямоугольник: скругленные углы 64">
              <a:extLst>
                <a:ext uri="{FF2B5EF4-FFF2-40B4-BE49-F238E27FC236}">
                  <a16:creationId xmlns:a16="http://schemas.microsoft.com/office/drawing/2014/main" id="{BE79CDF9-7231-A742-89E9-AAEBBEFE7456}"/>
                </a:ext>
              </a:extLst>
            </p:cNvPr>
            <p:cNvSpPr/>
            <p:nvPr userDrawn="1"/>
          </p:nvSpPr>
          <p:spPr>
            <a:xfrm>
              <a:off x="-679648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CC4B8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2" name="Прямоугольник: скругленные углы 65">
              <a:extLst>
                <a:ext uri="{FF2B5EF4-FFF2-40B4-BE49-F238E27FC236}">
                  <a16:creationId xmlns:a16="http://schemas.microsoft.com/office/drawing/2014/main" id="{148714E1-E061-5F45-84D2-86B3E090DF5E}"/>
                </a:ext>
              </a:extLst>
            </p:cNvPr>
            <p:cNvSpPr/>
            <p:nvPr userDrawn="1"/>
          </p:nvSpPr>
          <p:spPr>
            <a:xfrm>
              <a:off x="-1209774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FE5B2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3" name="Прямоугольник: скругленные углы 13">
              <a:extLst>
                <a:ext uri="{FF2B5EF4-FFF2-40B4-BE49-F238E27FC236}">
                  <a16:creationId xmlns:a16="http://schemas.microsoft.com/office/drawing/2014/main" id="{9FD99921-05BF-0B43-AD43-D32FE1EFC486}"/>
                </a:ext>
              </a:extLst>
            </p:cNvPr>
            <p:cNvSpPr/>
            <p:nvPr userDrawn="1"/>
          </p:nvSpPr>
          <p:spPr>
            <a:xfrm>
              <a:off x="-2004344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4" name="Прямоугольник: скругленные углы 15">
              <a:extLst>
                <a:ext uri="{FF2B5EF4-FFF2-40B4-BE49-F238E27FC236}">
                  <a16:creationId xmlns:a16="http://schemas.microsoft.com/office/drawing/2014/main" id="{C9FD0A14-14F7-2848-A940-C7DB4D7395C4}"/>
                </a:ext>
              </a:extLst>
            </p:cNvPr>
            <p:cNvSpPr/>
            <p:nvPr userDrawn="1"/>
          </p:nvSpPr>
          <p:spPr>
            <a:xfrm>
              <a:off x="-1738339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6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5" name="Прямоугольник: скругленные углы 48">
              <a:extLst>
                <a:ext uri="{FF2B5EF4-FFF2-40B4-BE49-F238E27FC236}">
                  <a16:creationId xmlns:a16="http://schemas.microsoft.com/office/drawing/2014/main" id="{10D382DA-8A1C-FD4B-9E8E-7507A62EA83E}"/>
                </a:ext>
              </a:extLst>
            </p:cNvPr>
            <p:cNvSpPr/>
            <p:nvPr userDrawn="1"/>
          </p:nvSpPr>
          <p:spPr>
            <a:xfrm>
              <a:off x="-1475201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tx2"/>
            </a:solidFill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6" name="Прямоугольник: скругленные углы 56">
              <a:extLst>
                <a:ext uri="{FF2B5EF4-FFF2-40B4-BE49-F238E27FC236}">
                  <a16:creationId xmlns:a16="http://schemas.microsoft.com/office/drawing/2014/main" id="{061FB20C-E3FF-6947-9EBD-3D54E77ADDB0}"/>
                </a:ext>
              </a:extLst>
            </p:cNvPr>
            <p:cNvSpPr/>
            <p:nvPr userDrawn="1"/>
          </p:nvSpPr>
          <p:spPr>
            <a:xfrm>
              <a:off x="-946163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609ED99E-52AF-4EF8-B4B8-BC13E3490FE8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641985" y="6415289"/>
            <a:ext cx="1044575" cy="231716"/>
            <a:chOff x="8489504" y="910877"/>
            <a:chExt cx="2734509" cy="606592"/>
          </a:xfrm>
          <a:solidFill>
            <a:schemeClr val="bg1"/>
          </a:solidFill>
        </p:grpSpPr>
        <p:sp>
          <p:nvSpPr>
            <p:cNvPr id="3" name="Полилиния 2">
              <a:extLst>
                <a:ext uri="{FF2B5EF4-FFF2-40B4-BE49-F238E27FC236}">
                  <a16:creationId xmlns:a16="http://schemas.microsoft.com/office/drawing/2014/main" id="{0F9E2296-4D36-2B24-AFB3-DEB0C6DBAEE9}"/>
                </a:ext>
              </a:extLst>
            </p:cNvPr>
            <p:cNvSpPr/>
            <p:nvPr/>
          </p:nvSpPr>
          <p:spPr>
            <a:xfrm>
              <a:off x="10064626" y="910877"/>
              <a:ext cx="1159387" cy="606592"/>
            </a:xfrm>
            <a:custGeom>
              <a:avLst/>
              <a:gdLst>
                <a:gd name="connsiteX0" fmla="*/ 0 w 1159387"/>
                <a:gd name="connsiteY0" fmla="*/ 178242 h 606592"/>
                <a:gd name="connsiteX1" fmla="*/ 0 w 1159387"/>
                <a:gd name="connsiteY1" fmla="*/ 237024 h 606592"/>
                <a:gd name="connsiteX2" fmla="*/ 9135 w 1159387"/>
                <a:gd name="connsiteY2" fmla="*/ 246098 h 606592"/>
                <a:gd name="connsiteX3" fmla="*/ 30214 w 1159387"/>
                <a:gd name="connsiteY3" fmla="*/ 250009 h 606592"/>
                <a:gd name="connsiteX4" fmla="*/ 32261 w 1159387"/>
                <a:gd name="connsiteY4" fmla="*/ 250607 h 606592"/>
                <a:gd name="connsiteX5" fmla="*/ 85030 w 1159387"/>
                <a:gd name="connsiteY5" fmla="*/ 319338 h 606592"/>
                <a:gd name="connsiteX6" fmla="*/ 85030 w 1159387"/>
                <a:gd name="connsiteY6" fmla="*/ 483817 h 606592"/>
                <a:gd name="connsiteX7" fmla="*/ 120863 w 1159387"/>
                <a:gd name="connsiteY7" fmla="*/ 570989 h 606592"/>
                <a:gd name="connsiteX8" fmla="*/ 205874 w 1159387"/>
                <a:gd name="connsiteY8" fmla="*/ 606364 h 606592"/>
                <a:gd name="connsiteX9" fmla="*/ 207284 w 1159387"/>
                <a:gd name="connsiteY9" fmla="*/ 606364 h 606592"/>
                <a:gd name="connsiteX10" fmla="*/ 235964 w 1159387"/>
                <a:gd name="connsiteY10" fmla="*/ 606364 h 606592"/>
                <a:gd name="connsiteX11" fmla="*/ 247356 w 1159387"/>
                <a:gd name="connsiteY11" fmla="*/ 593268 h 606592"/>
                <a:gd name="connsiteX12" fmla="*/ 247337 w 1159387"/>
                <a:gd name="connsiteY12" fmla="*/ 563750 h 606592"/>
                <a:gd name="connsiteX13" fmla="*/ 247337 w 1159387"/>
                <a:gd name="connsiteY13" fmla="*/ 541928 h 606592"/>
                <a:gd name="connsiteX14" fmla="*/ 236802 w 1159387"/>
                <a:gd name="connsiteY14" fmla="*/ 530565 h 606592"/>
                <a:gd name="connsiteX15" fmla="*/ 197454 w 1159387"/>
                <a:gd name="connsiteY15" fmla="*/ 530527 h 606592"/>
                <a:gd name="connsiteX16" fmla="*/ 159506 w 1159387"/>
                <a:gd name="connsiteY16" fmla="*/ 492285 h 606592"/>
                <a:gd name="connsiteX17" fmla="*/ 159506 w 1159387"/>
                <a:gd name="connsiteY17" fmla="*/ 403084 h 606592"/>
                <a:gd name="connsiteX18" fmla="*/ 159506 w 1159387"/>
                <a:gd name="connsiteY18" fmla="*/ 316772 h 606592"/>
                <a:gd name="connsiteX19" fmla="*/ 100365 w 1159387"/>
                <a:gd name="connsiteY19" fmla="*/ 207274 h 606592"/>
                <a:gd name="connsiteX20" fmla="*/ 99080 w 1159387"/>
                <a:gd name="connsiteY20" fmla="*/ 206423 h 606592"/>
                <a:gd name="connsiteX21" fmla="*/ 100356 w 1159387"/>
                <a:gd name="connsiteY21" fmla="*/ 205547 h 606592"/>
                <a:gd name="connsiteX22" fmla="*/ 159506 w 1159387"/>
                <a:gd name="connsiteY22" fmla="*/ 90665 h 606592"/>
                <a:gd name="connsiteX23" fmla="*/ 159506 w 1159387"/>
                <a:gd name="connsiteY23" fmla="*/ 10992 h 606592"/>
                <a:gd name="connsiteX24" fmla="*/ 148962 w 1159387"/>
                <a:gd name="connsiteY24" fmla="*/ 0 h 606592"/>
                <a:gd name="connsiteX25" fmla="*/ 95565 w 1159387"/>
                <a:gd name="connsiteY25" fmla="*/ 0 h 606592"/>
                <a:gd name="connsiteX26" fmla="*/ 85030 w 1159387"/>
                <a:gd name="connsiteY26" fmla="*/ 10992 h 606592"/>
                <a:gd name="connsiteX27" fmla="*/ 85030 w 1159387"/>
                <a:gd name="connsiteY27" fmla="*/ 90665 h 606592"/>
                <a:gd name="connsiteX28" fmla="*/ 32366 w 1159387"/>
                <a:gd name="connsiteY28" fmla="*/ 162761 h 606592"/>
                <a:gd name="connsiteX29" fmla="*/ 30214 w 1159387"/>
                <a:gd name="connsiteY29" fmla="*/ 163402 h 606592"/>
                <a:gd name="connsiteX30" fmla="*/ 9135 w 1159387"/>
                <a:gd name="connsiteY30" fmla="*/ 167302 h 606592"/>
                <a:gd name="connsiteX31" fmla="*/ 0 w 1159387"/>
                <a:gd name="connsiteY31" fmla="*/ 178242 h 606592"/>
                <a:gd name="connsiteX32" fmla="*/ 933768 w 1159387"/>
                <a:gd name="connsiteY32" fmla="*/ 313343 h 606592"/>
                <a:gd name="connsiteX33" fmla="*/ 933768 w 1159387"/>
                <a:gd name="connsiteY33" fmla="*/ 468558 h 606592"/>
                <a:gd name="connsiteX34" fmla="*/ 930749 w 1159387"/>
                <a:gd name="connsiteY34" fmla="*/ 475902 h 606592"/>
                <a:gd name="connsiteX35" fmla="*/ 923472 w 1159387"/>
                <a:gd name="connsiteY35" fmla="*/ 478940 h 606592"/>
                <a:gd name="connsiteX36" fmla="*/ 869627 w 1159387"/>
                <a:gd name="connsiteY36" fmla="*/ 478902 h 606592"/>
                <a:gd name="connsiteX37" fmla="*/ 859349 w 1159387"/>
                <a:gd name="connsiteY37" fmla="*/ 468530 h 606592"/>
                <a:gd name="connsiteX38" fmla="*/ 859349 w 1159387"/>
                <a:gd name="connsiteY38" fmla="*/ 10375 h 606592"/>
                <a:gd name="connsiteX39" fmla="*/ 869636 w 1159387"/>
                <a:gd name="connsiteY39" fmla="*/ 0 h 606592"/>
                <a:gd name="connsiteX40" fmla="*/ 923472 w 1159387"/>
                <a:gd name="connsiteY40" fmla="*/ 0 h 606592"/>
                <a:gd name="connsiteX41" fmla="*/ 933768 w 1159387"/>
                <a:gd name="connsiteY41" fmla="*/ 10375 h 606592"/>
                <a:gd name="connsiteX42" fmla="*/ 933768 w 1159387"/>
                <a:gd name="connsiteY42" fmla="*/ 193355 h 606592"/>
                <a:gd name="connsiteX43" fmla="*/ 1159388 w 1159387"/>
                <a:gd name="connsiteY43" fmla="*/ 312995 h 606592"/>
                <a:gd name="connsiteX44" fmla="*/ 1159388 w 1159387"/>
                <a:gd name="connsiteY44" fmla="*/ 468520 h 606592"/>
                <a:gd name="connsiteX45" fmla="*/ 1156378 w 1159387"/>
                <a:gd name="connsiteY45" fmla="*/ 475854 h 606592"/>
                <a:gd name="connsiteX46" fmla="*/ 1149101 w 1159387"/>
                <a:gd name="connsiteY46" fmla="*/ 478893 h 606592"/>
                <a:gd name="connsiteX47" fmla="*/ 1095199 w 1159387"/>
                <a:gd name="connsiteY47" fmla="*/ 478893 h 606592"/>
                <a:gd name="connsiteX48" fmla="*/ 1087922 w 1159387"/>
                <a:gd name="connsiteY48" fmla="*/ 475854 h 606592"/>
                <a:gd name="connsiteX49" fmla="*/ 1084912 w 1159387"/>
                <a:gd name="connsiteY49" fmla="*/ 468520 h 606592"/>
                <a:gd name="connsiteX50" fmla="*/ 1084912 w 1159387"/>
                <a:gd name="connsiteY50" fmla="*/ 312995 h 606592"/>
                <a:gd name="connsiteX51" fmla="*/ 966868 w 1159387"/>
                <a:gd name="connsiteY51" fmla="*/ 246504 h 606592"/>
                <a:gd name="connsiteX52" fmla="*/ 933768 w 1159387"/>
                <a:gd name="connsiteY52" fmla="*/ 313343 h 606592"/>
                <a:gd name="connsiteX53" fmla="*/ 596563 w 1159387"/>
                <a:gd name="connsiteY53" fmla="*/ 207040 h 606592"/>
                <a:gd name="connsiteX54" fmla="*/ 549471 w 1159387"/>
                <a:gd name="connsiteY54" fmla="*/ 323084 h 606592"/>
                <a:gd name="connsiteX55" fmla="*/ 596563 w 1159387"/>
                <a:gd name="connsiteY55" fmla="*/ 439145 h 606592"/>
                <a:gd name="connsiteX56" fmla="*/ 797522 w 1159387"/>
                <a:gd name="connsiteY56" fmla="*/ 460995 h 606592"/>
                <a:gd name="connsiteX57" fmla="*/ 799923 w 1159387"/>
                <a:gd name="connsiteY57" fmla="*/ 459357 h 606592"/>
                <a:gd name="connsiteX58" fmla="*/ 805247 w 1159387"/>
                <a:gd name="connsiteY58" fmla="*/ 455385 h 606592"/>
                <a:gd name="connsiteX59" fmla="*/ 806018 w 1159387"/>
                <a:gd name="connsiteY59" fmla="*/ 438745 h 606592"/>
                <a:gd name="connsiteX60" fmla="*/ 790226 w 1159387"/>
                <a:gd name="connsiteY60" fmla="*/ 417067 h 606592"/>
                <a:gd name="connsiteX61" fmla="*/ 776110 w 1159387"/>
                <a:gd name="connsiteY61" fmla="*/ 397747 h 606592"/>
                <a:gd name="connsiteX62" fmla="*/ 760975 w 1159387"/>
                <a:gd name="connsiteY62" fmla="*/ 394585 h 606592"/>
                <a:gd name="connsiteX63" fmla="*/ 757003 w 1159387"/>
                <a:gd name="connsiteY63" fmla="*/ 397067 h 606592"/>
                <a:gd name="connsiteX64" fmla="*/ 619737 w 1159387"/>
                <a:gd name="connsiteY64" fmla="*/ 323084 h 606592"/>
                <a:gd name="connsiteX65" fmla="*/ 756945 w 1159387"/>
                <a:gd name="connsiteY65" fmla="*/ 249203 h 606592"/>
                <a:gd name="connsiteX66" fmla="*/ 760975 w 1159387"/>
                <a:gd name="connsiteY66" fmla="*/ 251591 h 606592"/>
                <a:gd name="connsiteX67" fmla="*/ 776148 w 1159387"/>
                <a:gd name="connsiteY67" fmla="*/ 248416 h 606592"/>
                <a:gd name="connsiteX68" fmla="*/ 790207 w 1159387"/>
                <a:gd name="connsiteY68" fmla="*/ 229138 h 606592"/>
                <a:gd name="connsiteX69" fmla="*/ 804618 w 1159387"/>
                <a:gd name="connsiteY69" fmla="*/ 209395 h 606592"/>
                <a:gd name="connsiteX70" fmla="*/ 799903 w 1159387"/>
                <a:gd name="connsiteY70" fmla="*/ 186809 h 606592"/>
                <a:gd name="connsiteX71" fmla="*/ 797522 w 1159387"/>
                <a:gd name="connsiteY71" fmla="*/ 185195 h 606592"/>
                <a:gd name="connsiteX72" fmla="*/ 596563 w 1159387"/>
                <a:gd name="connsiteY72" fmla="*/ 207040 h 606592"/>
                <a:gd name="connsiteX73" fmla="*/ 293714 w 1159387"/>
                <a:gd name="connsiteY73" fmla="*/ 350313 h 606592"/>
                <a:gd name="connsiteX74" fmla="*/ 469385 w 1159387"/>
                <a:gd name="connsiteY74" fmla="*/ 350313 h 606592"/>
                <a:gd name="connsiteX75" fmla="*/ 507323 w 1159387"/>
                <a:gd name="connsiteY75" fmla="*/ 312290 h 606592"/>
                <a:gd name="connsiteX76" fmla="*/ 472890 w 1159387"/>
                <a:gd name="connsiteY76" fmla="*/ 208836 h 606592"/>
                <a:gd name="connsiteX77" fmla="*/ 368190 w 1159387"/>
                <a:gd name="connsiteY77" fmla="*/ 159530 h 606592"/>
                <a:gd name="connsiteX78" fmla="*/ 219228 w 1159387"/>
                <a:gd name="connsiteY78" fmla="*/ 323103 h 606592"/>
                <a:gd name="connsiteX79" fmla="*/ 375915 w 1159387"/>
                <a:gd name="connsiteY79" fmla="*/ 486674 h 606592"/>
                <a:gd name="connsiteX80" fmla="*/ 502398 w 1159387"/>
                <a:gd name="connsiteY80" fmla="*/ 450623 h 606592"/>
                <a:gd name="connsiteX81" fmla="*/ 505913 w 1159387"/>
                <a:gd name="connsiteY81" fmla="*/ 435907 h 606592"/>
                <a:gd name="connsiteX82" fmla="*/ 504818 w 1159387"/>
                <a:gd name="connsiteY82" fmla="*/ 434088 h 606592"/>
                <a:gd name="connsiteX83" fmla="*/ 478519 w 1159387"/>
                <a:gd name="connsiteY83" fmla="*/ 391689 h 606592"/>
                <a:gd name="connsiteX84" fmla="*/ 464460 w 1159387"/>
                <a:gd name="connsiteY84" fmla="*/ 388476 h 606592"/>
                <a:gd name="connsiteX85" fmla="*/ 377335 w 1159387"/>
                <a:gd name="connsiteY85" fmla="*/ 414990 h 606592"/>
                <a:gd name="connsiteX86" fmla="*/ 293714 w 1159387"/>
                <a:gd name="connsiteY86" fmla="*/ 350313 h 606592"/>
                <a:gd name="connsiteX87" fmla="*/ 430732 w 1159387"/>
                <a:gd name="connsiteY87" fmla="*/ 287912 h 606592"/>
                <a:gd name="connsiteX88" fmla="*/ 368190 w 1159387"/>
                <a:gd name="connsiteY88" fmla="*/ 232071 h 606592"/>
                <a:gd name="connsiteX89" fmla="*/ 296524 w 1159387"/>
                <a:gd name="connsiteY89" fmla="*/ 287912 h 606592"/>
                <a:gd name="connsiteX90" fmla="*/ 430732 w 1159387"/>
                <a:gd name="connsiteY90" fmla="*/ 287912 h 606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</a:cxnLst>
              <a:rect l="l" t="t" r="r" b="b"/>
              <a:pathLst>
                <a:path w="1159387" h="606592">
                  <a:moveTo>
                    <a:pt x="0" y="178242"/>
                  </a:moveTo>
                  <a:lnTo>
                    <a:pt x="0" y="237024"/>
                  </a:lnTo>
                  <a:cubicBezTo>
                    <a:pt x="695" y="241577"/>
                    <a:pt x="4220" y="245266"/>
                    <a:pt x="9135" y="246098"/>
                  </a:cubicBezTo>
                  <a:cubicBezTo>
                    <a:pt x="16869" y="247387"/>
                    <a:pt x="27404" y="249197"/>
                    <a:pt x="30214" y="250009"/>
                  </a:cubicBezTo>
                  <a:cubicBezTo>
                    <a:pt x="30833" y="250193"/>
                    <a:pt x="31518" y="250390"/>
                    <a:pt x="32261" y="250607"/>
                  </a:cubicBezTo>
                  <a:cubicBezTo>
                    <a:pt x="46749" y="254784"/>
                    <a:pt x="83697" y="265433"/>
                    <a:pt x="85030" y="319338"/>
                  </a:cubicBezTo>
                  <a:lnTo>
                    <a:pt x="85030" y="483817"/>
                  </a:lnTo>
                  <a:cubicBezTo>
                    <a:pt x="85030" y="516573"/>
                    <a:pt x="97670" y="547958"/>
                    <a:pt x="120863" y="570989"/>
                  </a:cubicBezTo>
                  <a:cubicBezTo>
                    <a:pt x="143342" y="593696"/>
                    <a:pt x="174261" y="606402"/>
                    <a:pt x="205874" y="606364"/>
                  </a:cubicBezTo>
                  <a:lnTo>
                    <a:pt x="207284" y="606364"/>
                  </a:lnTo>
                  <a:cubicBezTo>
                    <a:pt x="207284" y="606364"/>
                    <a:pt x="207284" y="606879"/>
                    <a:pt x="235964" y="606364"/>
                  </a:cubicBezTo>
                  <a:cubicBezTo>
                    <a:pt x="243232" y="606231"/>
                    <a:pt x="247461" y="601383"/>
                    <a:pt x="247356" y="593268"/>
                  </a:cubicBezTo>
                  <a:cubicBezTo>
                    <a:pt x="247222" y="582028"/>
                    <a:pt x="247527" y="573246"/>
                    <a:pt x="247337" y="563750"/>
                  </a:cubicBezTo>
                  <a:cubicBezTo>
                    <a:pt x="247184" y="555816"/>
                    <a:pt x="247337" y="548520"/>
                    <a:pt x="247337" y="541928"/>
                  </a:cubicBezTo>
                  <a:cubicBezTo>
                    <a:pt x="247337" y="535804"/>
                    <a:pt x="242422" y="530794"/>
                    <a:pt x="236802" y="530565"/>
                  </a:cubicBezTo>
                  <a:cubicBezTo>
                    <a:pt x="226258" y="530527"/>
                    <a:pt x="211504" y="530527"/>
                    <a:pt x="197454" y="530527"/>
                  </a:cubicBezTo>
                  <a:cubicBezTo>
                    <a:pt x="177071" y="530527"/>
                    <a:pt x="159506" y="513401"/>
                    <a:pt x="159506" y="492285"/>
                  </a:cubicBezTo>
                  <a:lnTo>
                    <a:pt x="159506" y="403084"/>
                  </a:lnTo>
                  <a:cubicBezTo>
                    <a:pt x="160202" y="402874"/>
                    <a:pt x="159506" y="317750"/>
                    <a:pt x="159506" y="316772"/>
                  </a:cubicBezTo>
                  <a:cubicBezTo>
                    <a:pt x="157544" y="243958"/>
                    <a:pt x="109233" y="212964"/>
                    <a:pt x="100365" y="207274"/>
                  </a:cubicBezTo>
                  <a:cubicBezTo>
                    <a:pt x="99708" y="206855"/>
                    <a:pt x="99270" y="206569"/>
                    <a:pt x="99080" y="206423"/>
                  </a:cubicBezTo>
                  <a:cubicBezTo>
                    <a:pt x="99270" y="206264"/>
                    <a:pt x="99708" y="205979"/>
                    <a:pt x="100356" y="205547"/>
                  </a:cubicBezTo>
                  <a:cubicBezTo>
                    <a:pt x="109395" y="199604"/>
                    <a:pt x="159506" y="166622"/>
                    <a:pt x="159506" y="90665"/>
                  </a:cubicBezTo>
                  <a:lnTo>
                    <a:pt x="159506" y="10992"/>
                  </a:lnTo>
                  <a:cubicBezTo>
                    <a:pt x="159506" y="4922"/>
                    <a:pt x="155287" y="0"/>
                    <a:pt x="148962" y="0"/>
                  </a:cubicBezTo>
                  <a:lnTo>
                    <a:pt x="95565" y="0"/>
                  </a:lnTo>
                  <a:cubicBezTo>
                    <a:pt x="89945" y="0"/>
                    <a:pt x="85030" y="4922"/>
                    <a:pt x="85030" y="10992"/>
                  </a:cubicBezTo>
                  <a:lnTo>
                    <a:pt x="85030" y="90665"/>
                  </a:lnTo>
                  <a:cubicBezTo>
                    <a:pt x="85030" y="147350"/>
                    <a:pt x="47054" y="158469"/>
                    <a:pt x="32366" y="162761"/>
                  </a:cubicBezTo>
                  <a:cubicBezTo>
                    <a:pt x="31576" y="162997"/>
                    <a:pt x="30861" y="163206"/>
                    <a:pt x="30214" y="163402"/>
                  </a:cubicBezTo>
                  <a:cubicBezTo>
                    <a:pt x="27404" y="164209"/>
                    <a:pt x="16869" y="166026"/>
                    <a:pt x="9135" y="167302"/>
                  </a:cubicBezTo>
                  <a:cubicBezTo>
                    <a:pt x="3515" y="168248"/>
                    <a:pt x="0" y="172858"/>
                    <a:pt x="0" y="178242"/>
                  </a:cubicBezTo>
                  <a:close/>
                  <a:moveTo>
                    <a:pt x="933768" y="313343"/>
                  </a:moveTo>
                  <a:lnTo>
                    <a:pt x="933768" y="468558"/>
                  </a:lnTo>
                  <a:cubicBezTo>
                    <a:pt x="933768" y="471320"/>
                    <a:pt x="932682" y="473949"/>
                    <a:pt x="930749" y="475902"/>
                  </a:cubicBezTo>
                  <a:cubicBezTo>
                    <a:pt x="928825" y="477845"/>
                    <a:pt x="926206" y="478940"/>
                    <a:pt x="923472" y="478940"/>
                  </a:cubicBezTo>
                  <a:cubicBezTo>
                    <a:pt x="909270" y="478921"/>
                    <a:pt x="883819" y="478912"/>
                    <a:pt x="869627" y="478902"/>
                  </a:cubicBezTo>
                  <a:cubicBezTo>
                    <a:pt x="863950" y="478893"/>
                    <a:pt x="859349" y="474254"/>
                    <a:pt x="859349" y="468530"/>
                  </a:cubicBezTo>
                  <a:cubicBezTo>
                    <a:pt x="859349" y="405427"/>
                    <a:pt x="859349" y="73513"/>
                    <a:pt x="859349" y="10375"/>
                  </a:cubicBezTo>
                  <a:cubicBezTo>
                    <a:pt x="859349" y="4648"/>
                    <a:pt x="863959" y="0"/>
                    <a:pt x="869636" y="0"/>
                  </a:cubicBezTo>
                  <a:cubicBezTo>
                    <a:pt x="883838" y="0"/>
                    <a:pt x="909279" y="0"/>
                    <a:pt x="923472" y="0"/>
                  </a:cubicBezTo>
                  <a:cubicBezTo>
                    <a:pt x="929158" y="0"/>
                    <a:pt x="933768" y="4648"/>
                    <a:pt x="933768" y="10375"/>
                  </a:cubicBezTo>
                  <a:cubicBezTo>
                    <a:pt x="933768" y="50513"/>
                    <a:pt x="933768" y="193355"/>
                    <a:pt x="933768" y="193355"/>
                  </a:cubicBezTo>
                  <a:cubicBezTo>
                    <a:pt x="1013169" y="118433"/>
                    <a:pt x="1159388" y="172318"/>
                    <a:pt x="1159388" y="312995"/>
                  </a:cubicBezTo>
                  <a:lnTo>
                    <a:pt x="1159388" y="468520"/>
                  </a:lnTo>
                  <a:cubicBezTo>
                    <a:pt x="1159388" y="471273"/>
                    <a:pt x="1158302" y="473911"/>
                    <a:pt x="1156378" y="475854"/>
                  </a:cubicBezTo>
                  <a:cubicBezTo>
                    <a:pt x="1154445" y="477797"/>
                    <a:pt x="1151835" y="478893"/>
                    <a:pt x="1149101" y="478893"/>
                  </a:cubicBezTo>
                  <a:cubicBezTo>
                    <a:pt x="1134899" y="478893"/>
                    <a:pt x="1109401" y="478893"/>
                    <a:pt x="1095199" y="478893"/>
                  </a:cubicBezTo>
                  <a:cubicBezTo>
                    <a:pt x="1092465" y="478893"/>
                    <a:pt x="1089855" y="477797"/>
                    <a:pt x="1087922" y="475854"/>
                  </a:cubicBezTo>
                  <a:cubicBezTo>
                    <a:pt x="1085998" y="473911"/>
                    <a:pt x="1084912" y="471273"/>
                    <a:pt x="1084912" y="468520"/>
                  </a:cubicBezTo>
                  <a:cubicBezTo>
                    <a:pt x="1084912" y="432211"/>
                    <a:pt x="1084912" y="312995"/>
                    <a:pt x="1084912" y="312995"/>
                  </a:cubicBezTo>
                  <a:cubicBezTo>
                    <a:pt x="1084912" y="239513"/>
                    <a:pt x="1011121" y="217047"/>
                    <a:pt x="966868" y="246504"/>
                  </a:cubicBezTo>
                  <a:cubicBezTo>
                    <a:pt x="947885" y="259141"/>
                    <a:pt x="933768" y="281804"/>
                    <a:pt x="933768" y="313343"/>
                  </a:cubicBezTo>
                  <a:close/>
                  <a:moveTo>
                    <a:pt x="596563" y="207040"/>
                  </a:moveTo>
                  <a:cubicBezTo>
                    <a:pt x="564235" y="238922"/>
                    <a:pt x="549471" y="280953"/>
                    <a:pt x="549471" y="323084"/>
                  </a:cubicBezTo>
                  <a:cubicBezTo>
                    <a:pt x="549471" y="365223"/>
                    <a:pt x="564235" y="407246"/>
                    <a:pt x="596563" y="439145"/>
                  </a:cubicBezTo>
                  <a:cubicBezTo>
                    <a:pt x="650665" y="494085"/>
                    <a:pt x="734285" y="501400"/>
                    <a:pt x="797522" y="460995"/>
                  </a:cubicBezTo>
                  <a:cubicBezTo>
                    <a:pt x="798208" y="460481"/>
                    <a:pt x="799037" y="459938"/>
                    <a:pt x="799923" y="459357"/>
                  </a:cubicBezTo>
                  <a:cubicBezTo>
                    <a:pt x="801761" y="458147"/>
                    <a:pt x="803828" y="456795"/>
                    <a:pt x="805247" y="455385"/>
                  </a:cubicBezTo>
                  <a:cubicBezTo>
                    <a:pt x="808762" y="451909"/>
                    <a:pt x="810762" y="445470"/>
                    <a:pt x="806018" y="438745"/>
                  </a:cubicBezTo>
                  <a:cubicBezTo>
                    <a:pt x="801761" y="432697"/>
                    <a:pt x="796170" y="425153"/>
                    <a:pt x="790226" y="417067"/>
                  </a:cubicBezTo>
                  <a:cubicBezTo>
                    <a:pt x="785121" y="410132"/>
                    <a:pt x="780339" y="403665"/>
                    <a:pt x="776110" y="397747"/>
                  </a:cubicBezTo>
                  <a:cubicBezTo>
                    <a:pt x="772671" y="392947"/>
                    <a:pt x="765890" y="391664"/>
                    <a:pt x="760975" y="394585"/>
                  </a:cubicBezTo>
                  <a:cubicBezTo>
                    <a:pt x="759565" y="395461"/>
                    <a:pt x="758393" y="396172"/>
                    <a:pt x="757003" y="397067"/>
                  </a:cubicBezTo>
                  <a:cubicBezTo>
                    <a:pt x="686032" y="442936"/>
                    <a:pt x="619737" y="382374"/>
                    <a:pt x="619737" y="323084"/>
                  </a:cubicBezTo>
                  <a:cubicBezTo>
                    <a:pt x="619737" y="263795"/>
                    <a:pt x="687384" y="203573"/>
                    <a:pt x="756945" y="249203"/>
                  </a:cubicBezTo>
                  <a:cubicBezTo>
                    <a:pt x="758308" y="250105"/>
                    <a:pt x="759565" y="250708"/>
                    <a:pt x="760975" y="251591"/>
                  </a:cubicBezTo>
                  <a:cubicBezTo>
                    <a:pt x="765890" y="254512"/>
                    <a:pt x="772805" y="253115"/>
                    <a:pt x="776148" y="248416"/>
                  </a:cubicBezTo>
                  <a:cubicBezTo>
                    <a:pt x="780377" y="242497"/>
                    <a:pt x="785102" y="236065"/>
                    <a:pt x="790207" y="229138"/>
                  </a:cubicBezTo>
                  <a:cubicBezTo>
                    <a:pt x="795560" y="221854"/>
                    <a:pt x="800580" y="215072"/>
                    <a:pt x="804618" y="209395"/>
                  </a:cubicBezTo>
                  <a:cubicBezTo>
                    <a:pt x="811362" y="199928"/>
                    <a:pt x="809571" y="193191"/>
                    <a:pt x="799903" y="186809"/>
                  </a:cubicBezTo>
                  <a:cubicBezTo>
                    <a:pt x="799027" y="186231"/>
                    <a:pt x="798199" y="185691"/>
                    <a:pt x="797522" y="185195"/>
                  </a:cubicBezTo>
                  <a:cubicBezTo>
                    <a:pt x="734285" y="144778"/>
                    <a:pt x="650665" y="152087"/>
                    <a:pt x="596563" y="207040"/>
                  </a:cubicBezTo>
                  <a:close/>
                  <a:moveTo>
                    <a:pt x="293714" y="350313"/>
                  </a:moveTo>
                  <a:lnTo>
                    <a:pt x="469385" y="350313"/>
                  </a:lnTo>
                  <a:cubicBezTo>
                    <a:pt x="490463" y="350313"/>
                    <a:pt x="507323" y="333283"/>
                    <a:pt x="507323" y="312290"/>
                  </a:cubicBezTo>
                  <a:cubicBezTo>
                    <a:pt x="507323" y="265561"/>
                    <a:pt x="499588" y="240644"/>
                    <a:pt x="472890" y="208836"/>
                  </a:cubicBezTo>
                  <a:cubicBezTo>
                    <a:pt x="445486" y="176865"/>
                    <a:pt x="401919" y="159530"/>
                    <a:pt x="368190" y="159530"/>
                  </a:cubicBezTo>
                  <a:cubicBezTo>
                    <a:pt x="283875" y="159530"/>
                    <a:pt x="219228" y="231722"/>
                    <a:pt x="219228" y="323103"/>
                  </a:cubicBezTo>
                  <a:cubicBezTo>
                    <a:pt x="219228" y="435697"/>
                    <a:pt x="306354" y="486674"/>
                    <a:pt x="375915" y="486674"/>
                  </a:cubicBezTo>
                  <a:cubicBezTo>
                    <a:pt x="425807" y="486674"/>
                    <a:pt x="464460" y="474616"/>
                    <a:pt x="502398" y="450623"/>
                  </a:cubicBezTo>
                  <a:cubicBezTo>
                    <a:pt x="506618" y="447470"/>
                    <a:pt x="508723" y="441003"/>
                    <a:pt x="505913" y="435907"/>
                  </a:cubicBezTo>
                  <a:lnTo>
                    <a:pt x="504818" y="434088"/>
                  </a:lnTo>
                  <a:cubicBezTo>
                    <a:pt x="497150" y="421362"/>
                    <a:pt x="486558" y="403789"/>
                    <a:pt x="478519" y="391689"/>
                  </a:cubicBezTo>
                  <a:cubicBezTo>
                    <a:pt x="475709" y="386901"/>
                    <a:pt x="469385" y="385492"/>
                    <a:pt x="464460" y="388476"/>
                  </a:cubicBezTo>
                  <a:cubicBezTo>
                    <a:pt x="440571" y="402722"/>
                    <a:pt x="415273" y="415266"/>
                    <a:pt x="377335" y="414990"/>
                  </a:cubicBezTo>
                  <a:cubicBezTo>
                    <a:pt x="342197" y="414742"/>
                    <a:pt x="304954" y="392280"/>
                    <a:pt x="293714" y="350313"/>
                  </a:cubicBezTo>
                  <a:close/>
                  <a:moveTo>
                    <a:pt x="430732" y="287912"/>
                  </a:moveTo>
                  <a:cubicBezTo>
                    <a:pt x="424407" y="240694"/>
                    <a:pt x="392079" y="232071"/>
                    <a:pt x="368190" y="232071"/>
                  </a:cubicBezTo>
                  <a:cubicBezTo>
                    <a:pt x="335872" y="232071"/>
                    <a:pt x="308478" y="256182"/>
                    <a:pt x="296524" y="287912"/>
                  </a:cubicBezTo>
                  <a:lnTo>
                    <a:pt x="430732" y="287912"/>
                  </a:lnTo>
                  <a:close/>
                </a:path>
              </a:pathLst>
            </a:custGeom>
            <a:grpFill/>
            <a:ln w="76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5" name="Полилиния 4">
              <a:extLst>
                <a:ext uri="{FF2B5EF4-FFF2-40B4-BE49-F238E27FC236}">
                  <a16:creationId xmlns:a16="http://schemas.microsoft.com/office/drawing/2014/main" id="{FDBF0ACD-C4F6-CDE4-3EFC-88654A3234A5}"/>
                </a:ext>
              </a:extLst>
            </p:cNvPr>
            <p:cNvSpPr/>
            <p:nvPr/>
          </p:nvSpPr>
          <p:spPr>
            <a:xfrm>
              <a:off x="8489504" y="1070894"/>
              <a:ext cx="1492273" cy="326563"/>
            </a:xfrm>
            <a:custGeom>
              <a:avLst/>
              <a:gdLst>
                <a:gd name="connsiteX0" fmla="*/ 180273 w 1492273"/>
                <a:gd name="connsiteY0" fmla="*/ 900 h 326563"/>
                <a:gd name="connsiteX1" fmla="*/ 83526 w 1492273"/>
                <a:gd name="connsiteY1" fmla="*/ 20775 h 326563"/>
                <a:gd name="connsiteX2" fmla="*/ 15954 w 1492273"/>
                <a:gd name="connsiteY2" fmla="*/ 92853 h 326563"/>
                <a:gd name="connsiteX3" fmla="*/ 2323 w 1492273"/>
                <a:gd name="connsiteY3" fmla="*/ 190737 h 326563"/>
                <a:gd name="connsiteX4" fmla="*/ 47618 w 1492273"/>
                <a:gd name="connsiteY4" fmla="*/ 278557 h 326563"/>
                <a:gd name="connsiteX5" fmla="*/ 135243 w 1492273"/>
                <a:gd name="connsiteY5" fmla="*/ 324153 h 326563"/>
                <a:gd name="connsiteX6" fmla="*/ 233098 w 1492273"/>
                <a:gd name="connsiteY6" fmla="*/ 310818 h 326563"/>
                <a:gd name="connsiteX7" fmla="*/ 305341 w 1492273"/>
                <a:gd name="connsiteY7" fmla="*/ 243429 h 326563"/>
                <a:gd name="connsiteX8" fmla="*/ 325507 w 1492273"/>
                <a:gd name="connsiteY8" fmla="*/ 146675 h 326563"/>
                <a:gd name="connsiteX9" fmla="*/ 278778 w 1492273"/>
                <a:gd name="connsiteY9" fmla="*/ 47965 h 326563"/>
                <a:gd name="connsiteX10" fmla="*/ 180273 w 1492273"/>
                <a:gd name="connsiteY10" fmla="*/ 900 h 326563"/>
                <a:gd name="connsiteX11" fmla="*/ 174984 w 1492273"/>
                <a:gd name="connsiteY11" fmla="*/ 249697 h 326563"/>
                <a:gd name="connsiteX12" fmla="*/ 122555 w 1492273"/>
                <a:gd name="connsiteY12" fmla="*/ 240277 h 326563"/>
                <a:gd name="connsiteX13" fmla="*/ 85427 w 1492273"/>
                <a:gd name="connsiteY13" fmla="*/ 202047 h 326563"/>
                <a:gd name="connsiteX14" fmla="*/ 77507 w 1492273"/>
                <a:gd name="connsiteY14" fmla="*/ 149329 h 326563"/>
                <a:gd name="connsiteX15" fmla="*/ 101766 w 1492273"/>
                <a:gd name="connsiteY15" fmla="*/ 101883 h 326563"/>
                <a:gd name="connsiteX16" fmla="*/ 149113 w 1492273"/>
                <a:gd name="connsiteY16" fmla="*/ 77461 h 326563"/>
                <a:gd name="connsiteX17" fmla="*/ 201825 w 1492273"/>
                <a:gd name="connsiteY17" fmla="*/ 85220 h 326563"/>
                <a:gd name="connsiteX18" fmla="*/ 240132 w 1492273"/>
                <a:gd name="connsiteY18" fmla="*/ 122247 h 326563"/>
                <a:gd name="connsiteX19" fmla="*/ 249714 w 1492273"/>
                <a:gd name="connsiteY19" fmla="*/ 174684 h 326563"/>
                <a:gd name="connsiteX20" fmla="*/ 225058 w 1492273"/>
                <a:gd name="connsiteY20" fmla="*/ 224868 h 326563"/>
                <a:gd name="connsiteX21" fmla="*/ 174984 w 1492273"/>
                <a:gd name="connsiteY21" fmla="*/ 249697 h 326563"/>
                <a:gd name="connsiteX22" fmla="*/ 412780 w 1492273"/>
                <a:gd name="connsiteY22" fmla="*/ 7358 h 326563"/>
                <a:gd name="connsiteX23" fmla="*/ 396435 w 1492273"/>
                <a:gd name="connsiteY23" fmla="*/ 11091 h 326563"/>
                <a:gd name="connsiteX24" fmla="*/ 383276 w 1492273"/>
                <a:gd name="connsiteY24" fmla="*/ 21498 h 326563"/>
                <a:gd name="connsiteX25" fmla="*/ 375859 w 1492273"/>
                <a:gd name="connsiteY25" fmla="*/ 36548 h 326563"/>
                <a:gd name="connsiteX26" fmla="*/ 375620 w 1492273"/>
                <a:gd name="connsiteY26" fmla="*/ 53325 h 326563"/>
                <a:gd name="connsiteX27" fmla="*/ 414209 w 1492273"/>
                <a:gd name="connsiteY27" fmla="*/ 83537 h 326563"/>
                <a:gd name="connsiteX28" fmla="*/ 520143 w 1492273"/>
                <a:gd name="connsiteY28" fmla="*/ 83537 h 326563"/>
                <a:gd name="connsiteX29" fmla="*/ 355289 w 1492273"/>
                <a:gd name="connsiteY29" fmla="*/ 301846 h 326563"/>
                <a:gd name="connsiteX30" fmla="*/ 353136 w 1492273"/>
                <a:gd name="connsiteY30" fmla="*/ 307389 h 326563"/>
                <a:gd name="connsiteX31" fmla="*/ 354212 w 1492273"/>
                <a:gd name="connsiteY31" fmla="*/ 313237 h 326563"/>
                <a:gd name="connsiteX32" fmla="*/ 358204 w 1492273"/>
                <a:gd name="connsiteY32" fmla="*/ 317647 h 326563"/>
                <a:gd name="connsiteX33" fmla="*/ 363921 w 1492273"/>
                <a:gd name="connsiteY33" fmla="*/ 319295 h 326563"/>
                <a:gd name="connsiteX34" fmla="*/ 622504 w 1492273"/>
                <a:gd name="connsiteY34" fmla="*/ 319295 h 326563"/>
                <a:gd name="connsiteX35" fmla="*/ 661099 w 1492273"/>
                <a:gd name="connsiteY35" fmla="*/ 289082 h 326563"/>
                <a:gd name="connsiteX36" fmla="*/ 660861 w 1492273"/>
                <a:gd name="connsiteY36" fmla="*/ 272299 h 326563"/>
                <a:gd name="connsiteX37" fmla="*/ 653451 w 1492273"/>
                <a:gd name="connsiteY37" fmla="*/ 257250 h 326563"/>
                <a:gd name="connsiteX38" fmla="*/ 640297 w 1492273"/>
                <a:gd name="connsiteY38" fmla="*/ 246849 h 326563"/>
                <a:gd name="connsiteX39" fmla="*/ 623952 w 1492273"/>
                <a:gd name="connsiteY39" fmla="*/ 243105 h 326563"/>
                <a:gd name="connsiteX40" fmla="*/ 494883 w 1492273"/>
                <a:gd name="connsiteY40" fmla="*/ 243105 h 326563"/>
                <a:gd name="connsiteX41" fmla="*/ 659613 w 1492273"/>
                <a:gd name="connsiteY41" fmla="*/ 24972 h 326563"/>
                <a:gd name="connsiteX42" fmla="*/ 661785 w 1492273"/>
                <a:gd name="connsiteY42" fmla="*/ 19371 h 326563"/>
                <a:gd name="connsiteX43" fmla="*/ 660690 w 1492273"/>
                <a:gd name="connsiteY43" fmla="*/ 13473 h 326563"/>
                <a:gd name="connsiteX44" fmla="*/ 656661 w 1492273"/>
                <a:gd name="connsiteY44" fmla="*/ 9021 h 326563"/>
                <a:gd name="connsiteX45" fmla="*/ 650888 w 1492273"/>
                <a:gd name="connsiteY45" fmla="*/ 7358 h 326563"/>
                <a:gd name="connsiteX46" fmla="*/ 412780 w 1492273"/>
                <a:gd name="connsiteY46" fmla="*/ 7358 h 326563"/>
                <a:gd name="connsiteX47" fmla="*/ 1446105 w 1492273"/>
                <a:gd name="connsiteY47" fmla="*/ 8240 h 326563"/>
                <a:gd name="connsiteX48" fmla="*/ 1424484 w 1492273"/>
                <a:gd name="connsiteY48" fmla="*/ 22127 h 326563"/>
                <a:gd name="connsiteX49" fmla="*/ 1416378 w 1492273"/>
                <a:gd name="connsiteY49" fmla="*/ 46473 h 326563"/>
                <a:gd name="connsiteX50" fmla="*/ 1416378 w 1492273"/>
                <a:gd name="connsiteY50" fmla="*/ 173313 h 326563"/>
                <a:gd name="connsiteX51" fmla="*/ 1210980 w 1492273"/>
                <a:gd name="connsiteY51" fmla="*/ 9758 h 326563"/>
                <a:gd name="connsiteX52" fmla="*/ 1205389 w 1492273"/>
                <a:gd name="connsiteY52" fmla="*/ 7453 h 326563"/>
                <a:gd name="connsiteX53" fmla="*/ 1199426 w 1492273"/>
                <a:gd name="connsiteY53" fmla="*/ 8482 h 326563"/>
                <a:gd name="connsiteX54" fmla="*/ 1194921 w 1492273"/>
                <a:gd name="connsiteY54" fmla="*/ 12520 h 326563"/>
                <a:gd name="connsiteX55" fmla="*/ 1193263 w 1492273"/>
                <a:gd name="connsiteY55" fmla="*/ 18343 h 326563"/>
                <a:gd name="connsiteX56" fmla="*/ 1193263 w 1492273"/>
                <a:gd name="connsiteY56" fmla="*/ 280243 h 326563"/>
                <a:gd name="connsiteX57" fmla="*/ 1201388 w 1492273"/>
                <a:gd name="connsiteY57" fmla="*/ 304589 h 326563"/>
                <a:gd name="connsiteX58" fmla="*/ 1222962 w 1492273"/>
                <a:gd name="connsiteY58" fmla="*/ 318486 h 326563"/>
                <a:gd name="connsiteX59" fmla="*/ 1239803 w 1492273"/>
                <a:gd name="connsiteY59" fmla="*/ 318362 h 326563"/>
                <a:gd name="connsiteX60" fmla="*/ 1254966 w 1492273"/>
                <a:gd name="connsiteY60" fmla="*/ 310961 h 326563"/>
                <a:gd name="connsiteX61" fmla="*/ 1265444 w 1492273"/>
                <a:gd name="connsiteY61" fmla="*/ 297721 h 326563"/>
                <a:gd name="connsiteX62" fmla="*/ 1269159 w 1492273"/>
                <a:gd name="connsiteY62" fmla="*/ 281272 h 326563"/>
                <a:gd name="connsiteX63" fmla="*/ 1269159 w 1492273"/>
                <a:gd name="connsiteY63" fmla="*/ 153323 h 326563"/>
                <a:gd name="connsiteX64" fmla="*/ 1474538 w 1492273"/>
                <a:gd name="connsiteY64" fmla="*/ 316885 h 326563"/>
                <a:gd name="connsiteX65" fmla="*/ 1480148 w 1492273"/>
                <a:gd name="connsiteY65" fmla="*/ 319190 h 326563"/>
                <a:gd name="connsiteX66" fmla="*/ 1486120 w 1492273"/>
                <a:gd name="connsiteY66" fmla="*/ 318162 h 326563"/>
                <a:gd name="connsiteX67" fmla="*/ 1490625 w 1492273"/>
                <a:gd name="connsiteY67" fmla="*/ 314123 h 326563"/>
                <a:gd name="connsiteX68" fmla="*/ 1492273 w 1492273"/>
                <a:gd name="connsiteY68" fmla="*/ 308303 h 326563"/>
                <a:gd name="connsiteX69" fmla="*/ 1492273 w 1492273"/>
                <a:gd name="connsiteY69" fmla="*/ 45444 h 326563"/>
                <a:gd name="connsiteX70" fmla="*/ 1488559 w 1492273"/>
                <a:gd name="connsiteY70" fmla="*/ 28985 h 326563"/>
                <a:gd name="connsiteX71" fmla="*/ 1478081 w 1492273"/>
                <a:gd name="connsiteY71" fmla="*/ 15759 h 326563"/>
                <a:gd name="connsiteX72" fmla="*/ 1462908 w 1492273"/>
                <a:gd name="connsiteY72" fmla="*/ 8354 h 326563"/>
                <a:gd name="connsiteX73" fmla="*/ 1446105 w 1492273"/>
                <a:gd name="connsiteY73" fmla="*/ 8240 h 326563"/>
                <a:gd name="connsiteX74" fmla="*/ 911265 w 1492273"/>
                <a:gd name="connsiteY74" fmla="*/ 76254 h 326563"/>
                <a:gd name="connsiteX75" fmla="*/ 1063066 w 1492273"/>
                <a:gd name="connsiteY75" fmla="*/ 163286 h 326563"/>
                <a:gd name="connsiteX76" fmla="*/ 911265 w 1492273"/>
                <a:gd name="connsiteY76" fmla="*/ 250325 h 326563"/>
                <a:gd name="connsiteX77" fmla="*/ 759483 w 1492273"/>
                <a:gd name="connsiteY77" fmla="*/ 163286 h 326563"/>
                <a:gd name="connsiteX78" fmla="*/ 911265 w 1492273"/>
                <a:gd name="connsiteY78" fmla="*/ 76254 h 326563"/>
                <a:gd name="connsiteX79" fmla="*/ 911265 w 1492273"/>
                <a:gd name="connsiteY79" fmla="*/ 67 h 326563"/>
                <a:gd name="connsiteX80" fmla="*/ 683578 w 1492273"/>
                <a:gd name="connsiteY80" fmla="*/ 163286 h 326563"/>
                <a:gd name="connsiteX81" fmla="*/ 911265 w 1492273"/>
                <a:gd name="connsiteY81" fmla="*/ 326506 h 326563"/>
                <a:gd name="connsiteX82" fmla="*/ 1138961 w 1492273"/>
                <a:gd name="connsiteY82" fmla="*/ 163286 h 326563"/>
                <a:gd name="connsiteX83" fmla="*/ 911265 w 1492273"/>
                <a:gd name="connsiteY83" fmla="*/ 67 h 3265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</a:cxnLst>
              <a:rect l="l" t="t" r="r" b="b"/>
              <a:pathLst>
                <a:path w="1492273" h="326563">
                  <a:moveTo>
                    <a:pt x="180273" y="900"/>
                  </a:moveTo>
                  <a:cubicBezTo>
                    <a:pt x="146739" y="-2638"/>
                    <a:pt x="112948" y="4310"/>
                    <a:pt x="83526" y="20775"/>
                  </a:cubicBezTo>
                  <a:cubicBezTo>
                    <a:pt x="54104" y="37240"/>
                    <a:pt x="30499" y="62424"/>
                    <a:pt x="15954" y="92853"/>
                  </a:cubicBezTo>
                  <a:cubicBezTo>
                    <a:pt x="1417" y="123295"/>
                    <a:pt x="-3344" y="157489"/>
                    <a:pt x="2323" y="190737"/>
                  </a:cubicBezTo>
                  <a:cubicBezTo>
                    <a:pt x="7990" y="223998"/>
                    <a:pt x="23812" y="254669"/>
                    <a:pt x="47618" y="278557"/>
                  </a:cubicBezTo>
                  <a:cubicBezTo>
                    <a:pt x="71412" y="302455"/>
                    <a:pt x="102030" y="318381"/>
                    <a:pt x="135243" y="324153"/>
                  </a:cubicBezTo>
                  <a:cubicBezTo>
                    <a:pt x="168455" y="329925"/>
                    <a:pt x="202644" y="325277"/>
                    <a:pt x="233098" y="310818"/>
                  </a:cubicBezTo>
                  <a:cubicBezTo>
                    <a:pt x="263559" y="296359"/>
                    <a:pt x="288801" y="272814"/>
                    <a:pt x="305341" y="243429"/>
                  </a:cubicBezTo>
                  <a:cubicBezTo>
                    <a:pt x="321894" y="214035"/>
                    <a:pt x="328933" y="180240"/>
                    <a:pt x="325507" y="146675"/>
                  </a:cubicBezTo>
                  <a:cubicBezTo>
                    <a:pt x="321736" y="109375"/>
                    <a:pt x="305234" y="74514"/>
                    <a:pt x="278778" y="47965"/>
                  </a:cubicBezTo>
                  <a:cubicBezTo>
                    <a:pt x="252327" y="21410"/>
                    <a:pt x="217534" y="4786"/>
                    <a:pt x="180273" y="900"/>
                  </a:cubicBezTo>
                  <a:close/>
                  <a:moveTo>
                    <a:pt x="174984" y="249697"/>
                  </a:moveTo>
                  <a:cubicBezTo>
                    <a:pt x="156946" y="252116"/>
                    <a:pt x="138617" y="248820"/>
                    <a:pt x="122555" y="240277"/>
                  </a:cubicBezTo>
                  <a:cubicBezTo>
                    <a:pt x="106488" y="231725"/>
                    <a:pt x="93505" y="218366"/>
                    <a:pt x="85427" y="202047"/>
                  </a:cubicBezTo>
                  <a:cubicBezTo>
                    <a:pt x="77349" y="185733"/>
                    <a:pt x="74579" y="167300"/>
                    <a:pt x="77507" y="149329"/>
                  </a:cubicBezTo>
                  <a:cubicBezTo>
                    <a:pt x="80440" y="131372"/>
                    <a:pt x="88922" y="114773"/>
                    <a:pt x="101766" y="101883"/>
                  </a:cubicBezTo>
                  <a:cubicBezTo>
                    <a:pt x="114610" y="88986"/>
                    <a:pt x="131176" y="80452"/>
                    <a:pt x="149113" y="77461"/>
                  </a:cubicBezTo>
                  <a:cubicBezTo>
                    <a:pt x="167057" y="74470"/>
                    <a:pt x="185493" y="77181"/>
                    <a:pt x="201825" y="85220"/>
                  </a:cubicBezTo>
                  <a:cubicBezTo>
                    <a:pt x="218145" y="93247"/>
                    <a:pt x="231543" y="106194"/>
                    <a:pt x="240132" y="122247"/>
                  </a:cubicBezTo>
                  <a:cubicBezTo>
                    <a:pt x="248725" y="138293"/>
                    <a:pt x="252068" y="156625"/>
                    <a:pt x="249714" y="174684"/>
                  </a:cubicBezTo>
                  <a:cubicBezTo>
                    <a:pt x="247233" y="193670"/>
                    <a:pt x="238569" y="211305"/>
                    <a:pt x="225058" y="224868"/>
                  </a:cubicBezTo>
                  <a:cubicBezTo>
                    <a:pt x="211546" y="238425"/>
                    <a:pt x="193948" y="247154"/>
                    <a:pt x="174984" y="249697"/>
                  </a:cubicBezTo>
                  <a:close/>
                  <a:moveTo>
                    <a:pt x="412780" y="7358"/>
                  </a:moveTo>
                  <a:cubicBezTo>
                    <a:pt x="407126" y="7370"/>
                    <a:pt x="401534" y="8646"/>
                    <a:pt x="396435" y="11091"/>
                  </a:cubicBezTo>
                  <a:cubicBezTo>
                    <a:pt x="391328" y="13536"/>
                    <a:pt x="386833" y="17092"/>
                    <a:pt x="383276" y="21498"/>
                  </a:cubicBezTo>
                  <a:cubicBezTo>
                    <a:pt x="379712" y="25899"/>
                    <a:pt x="377174" y="31042"/>
                    <a:pt x="375859" y="36548"/>
                  </a:cubicBezTo>
                  <a:cubicBezTo>
                    <a:pt x="374537" y="42053"/>
                    <a:pt x="374448" y="47787"/>
                    <a:pt x="375620" y="53325"/>
                  </a:cubicBezTo>
                  <a:cubicBezTo>
                    <a:pt x="379202" y="71282"/>
                    <a:pt x="395956" y="83537"/>
                    <a:pt x="414209" y="83537"/>
                  </a:cubicBezTo>
                  <a:lnTo>
                    <a:pt x="520143" y="83537"/>
                  </a:lnTo>
                  <a:lnTo>
                    <a:pt x="355289" y="301846"/>
                  </a:lnTo>
                  <a:cubicBezTo>
                    <a:pt x="354067" y="303455"/>
                    <a:pt x="353324" y="305379"/>
                    <a:pt x="353136" y="307389"/>
                  </a:cubicBezTo>
                  <a:cubicBezTo>
                    <a:pt x="352940" y="309399"/>
                    <a:pt x="353319" y="311428"/>
                    <a:pt x="354212" y="313237"/>
                  </a:cubicBezTo>
                  <a:cubicBezTo>
                    <a:pt x="355113" y="315047"/>
                    <a:pt x="356491" y="316581"/>
                    <a:pt x="358204" y="317647"/>
                  </a:cubicBezTo>
                  <a:cubicBezTo>
                    <a:pt x="359923" y="318714"/>
                    <a:pt x="361900" y="319286"/>
                    <a:pt x="363921" y="319295"/>
                  </a:cubicBezTo>
                  <a:lnTo>
                    <a:pt x="622504" y="319295"/>
                  </a:lnTo>
                  <a:cubicBezTo>
                    <a:pt x="640744" y="319295"/>
                    <a:pt x="657518" y="307037"/>
                    <a:pt x="661099" y="289082"/>
                  </a:cubicBezTo>
                  <a:cubicBezTo>
                    <a:pt x="662271" y="283539"/>
                    <a:pt x="662185" y="277805"/>
                    <a:pt x="660861" y="272299"/>
                  </a:cubicBezTo>
                  <a:cubicBezTo>
                    <a:pt x="659537" y="266794"/>
                    <a:pt x="657004" y="261650"/>
                    <a:pt x="653451" y="257250"/>
                  </a:cubicBezTo>
                  <a:cubicBezTo>
                    <a:pt x="649898" y="252849"/>
                    <a:pt x="645402" y="249297"/>
                    <a:pt x="640297" y="246849"/>
                  </a:cubicBezTo>
                  <a:cubicBezTo>
                    <a:pt x="635191" y="244391"/>
                    <a:pt x="629610" y="243115"/>
                    <a:pt x="623952" y="243105"/>
                  </a:cubicBezTo>
                  <a:lnTo>
                    <a:pt x="494883" y="243105"/>
                  </a:lnTo>
                  <a:lnTo>
                    <a:pt x="659613" y="24972"/>
                  </a:lnTo>
                  <a:cubicBezTo>
                    <a:pt x="660842" y="23340"/>
                    <a:pt x="661595" y="21403"/>
                    <a:pt x="661785" y="19371"/>
                  </a:cubicBezTo>
                  <a:cubicBezTo>
                    <a:pt x="661976" y="17340"/>
                    <a:pt x="661604" y="15295"/>
                    <a:pt x="660690" y="13473"/>
                  </a:cubicBezTo>
                  <a:cubicBezTo>
                    <a:pt x="659785" y="11637"/>
                    <a:pt x="658385" y="10101"/>
                    <a:pt x="656661" y="9021"/>
                  </a:cubicBezTo>
                  <a:cubicBezTo>
                    <a:pt x="654937" y="7942"/>
                    <a:pt x="652927" y="7363"/>
                    <a:pt x="650888" y="7358"/>
                  </a:cubicBezTo>
                  <a:lnTo>
                    <a:pt x="412780" y="7358"/>
                  </a:lnTo>
                  <a:close/>
                  <a:moveTo>
                    <a:pt x="1446105" y="8240"/>
                  </a:moveTo>
                  <a:cubicBezTo>
                    <a:pt x="1437514" y="10272"/>
                    <a:pt x="1429894" y="15174"/>
                    <a:pt x="1424484" y="22127"/>
                  </a:cubicBezTo>
                  <a:cubicBezTo>
                    <a:pt x="1419112" y="29080"/>
                    <a:pt x="1416254" y="37666"/>
                    <a:pt x="1416378" y="46473"/>
                  </a:cubicBezTo>
                  <a:lnTo>
                    <a:pt x="1416378" y="173313"/>
                  </a:lnTo>
                  <a:lnTo>
                    <a:pt x="1210980" y="9758"/>
                  </a:lnTo>
                  <a:cubicBezTo>
                    <a:pt x="1209361" y="8475"/>
                    <a:pt x="1207427" y="7675"/>
                    <a:pt x="1205389" y="7453"/>
                  </a:cubicBezTo>
                  <a:cubicBezTo>
                    <a:pt x="1203341" y="7230"/>
                    <a:pt x="1201274" y="7580"/>
                    <a:pt x="1199426" y="8482"/>
                  </a:cubicBezTo>
                  <a:cubicBezTo>
                    <a:pt x="1197569" y="9377"/>
                    <a:pt x="1196006" y="10773"/>
                    <a:pt x="1194921" y="12520"/>
                  </a:cubicBezTo>
                  <a:cubicBezTo>
                    <a:pt x="1193835" y="14273"/>
                    <a:pt x="1193254" y="16285"/>
                    <a:pt x="1193263" y="18343"/>
                  </a:cubicBezTo>
                  <a:lnTo>
                    <a:pt x="1193263" y="280243"/>
                  </a:lnTo>
                  <a:cubicBezTo>
                    <a:pt x="1193120" y="289054"/>
                    <a:pt x="1195987" y="297645"/>
                    <a:pt x="1201388" y="304589"/>
                  </a:cubicBezTo>
                  <a:cubicBezTo>
                    <a:pt x="1206789" y="311542"/>
                    <a:pt x="1214409" y="316447"/>
                    <a:pt x="1222962" y="318486"/>
                  </a:cubicBezTo>
                  <a:cubicBezTo>
                    <a:pt x="1228525" y="319714"/>
                    <a:pt x="1234288" y="319667"/>
                    <a:pt x="1239803" y="318362"/>
                  </a:cubicBezTo>
                  <a:cubicBezTo>
                    <a:pt x="1245346" y="317066"/>
                    <a:pt x="1250518" y="314533"/>
                    <a:pt x="1254966" y="310961"/>
                  </a:cubicBezTo>
                  <a:cubicBezTo>
                    <a:pt x="1259415" y="307389"/>
                    <a:pt x="1263006" y="302874"/>
                    <a:pt x="1265444" y="297721"/>
                  </a:cubicBezTo>
                  <a:cubicBezTo>
                    <a:pt x="1267882" y="292587"/>
                    <a:pt x="1269159" y="286958"/>
                    <a:pt x="1269159" y="281272"/>
                  </a:cubicBezTo>
                  <a:lnTo>
                    <a:pt x="1269159" y="153323"/>
                  </a:lnTo>
                  <a:lnTo>
                    <a:pt x="1474538" y="316885"/>
                  </a:lnTo>
                  <a:cubicBezTo>
                    <a:pt x="1476195" y="318171"/>
                    <a:pt x="1478138" y="318962"/>
                    <a:pt x="1480148" y="319190"/>
                  </a:cubicBezTo>
                  <a:cubicBezTo>
                    <a:pt x="1482224" y="319419"/>
                    <a:pt x="1484291" y="319057"/>
                    <a:pt x="1486120" y="318162"/>
                  </a:cubicBezTo>
                  <a:cubicBezTo>
                    <a:pt x="1487949" y="317266"/>
                    <a:pt x="1489530" y="315866"/>
                    <a:pt x="1490625" y="314123"/>
                  </a:cubicBezTo>
                  <a:cubicBezTo>
                    <a:pt x="1491721" y="312380"/>
                    <a:pt x="1492273" y="310361"/>
                    <a:pt x="1492273" y="308303"/>
                  </a:cubicBezTo>
                  <a:lnTo>
                    <a:pt x="1492273" y="45444"/>
                  </a:lnTo>
                  <a:cubicBezTo>
                    <a:pt x="1492273" y="39748"/>
                    <a:pt x="1490997" y="34123"/>
                    <a:pt x="1488559" y="28985"/>
                  </a:cubicBezTo>
                  <a:cubicBezTo>
                    <a:pt x="1486120" y="23848"/>
                    <a:pt x="1482529" y="19327"/>
                    <a:pt x="1478081" y="15759"/>
                  </a:cubicBezTo>
                  <a:cubicBezTo>
                    <a:pt x="1473633" y="12190"/>
                    <a:pt x="1468461" y="9656"/>
                    <a:pt x="1462908" y="8354"/>
                  </a:cubicBezTo>
                  <a:cubicBezTo>
                    <a:pt x="1457364" y="7059"/>
                    <a:pt x="1451649" y="7015"/>
                    <a:pt x="1446105" y="8240"/>
                  </a:cubicBezTo>
                  <a:close/>
                  <a:moveTo>
                    <a:pt x="911265" y="76254"/>
                  </a:moveTo>
                  <a:cubicBezTo>
                    <a:pt x="998152" y="76254"/>
                    <a:pt x="1063066" y="122196"/>
                    <a:pt x="1063066" y="163286"/>
                  </a:cubicBezTo>
                  <a:cubicBezTo>
                    <a:pt x="1063066" y="204383"/>
                    <a:pt x="998152" y="250325"/>
                    <a:pt x="911265" y="250325"/>
                  </a:cubicBezTo>
                  <a:cubicBezTo>
                    <a:pt x="824397" y="250325"/>
                    <a:pt x="759483" y="204383"/>
                    <a:pt x="759483" y="163286"/>
                  </a:cubicBezTo>
                  <a:cubicBezTo>
                    <a:pt x="759483" y="122196"/>
                    <a:pt x="824397" y="76254"/>
                    <a:pt x="911265" y="76254"/>
                  </a:cubicBezTo>
                  <a:close/>
                  <a:moveTo>
                    <a:pt x="911265" y="67"/>
                  </a:moveTo>
                  <a:cubicBezTo>
                    <a:pt x="785515" y="67"/>
                    <a:pt x="683578" y="73142"/>
                    <a:pt x="683578" y="163286"/>
                  </a:cubicBezTo>
                  <a:cubicBezTo>
                    <a:pt x="683578" y="253421"/>
                    <a:pt x="785515" y="326506"/>
                    <a:pt x="911265" y="326506"/>
                  </a:cubicBezTo>
                  <a:cubicBezTo>
                    <a:pt x="1037024" y="326506"/>
                    <a:pt x="1138961" y="253421"/>
                    <a:pt x="1138961" y="163286"/>
                  </a:cubicBezTo>
                  <a:cubicBezTo>
                    <a:pt x="1138961" y="73142"/>
                    <a:pt x="1037024" y="67"/>
                    <a:pt x="911265" y="67"/>
                  </a:cubicBezTo>
                  <a:close/>
                </a:path>
              </a:pathLst>
            </a:custGeom>
            <a:grpFill/>
            <a:ln w="76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32049454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8">
          <p15:clr>
            <a:srgbClr val="F26B43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_title_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9C6A208F-2A8F-8640-1889-7EF3989875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560661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33" imgH="233" progId="TCLayout.ActiveDocument.1">
                  <p:embed/>
                </p:oleObj>
              </mc:Choice>
              <mc:Fallback>
                <p:oleObj name="Слайд think-cell" r:id="rId3" imgW="233" imgH="233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9C6A208F-2A8F-8640-1889-7EF3989875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Объект 2">
            <a:extLst>
              <a:ext uri="{FF2B5EF4-FFF2-40B4-BE49-F238E27FC236}">
                <a16:creationId xmlns:a16="http://schemas.microsoft.com/office/drawing/2014/main" id="{91C59567-F70E-CC32-748F-63A920CFAA0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763" y="1520824"/>
            <a:ext cx="10910887" cy="4741864"/>
          </a:xfrm>
        </p:spPr>
        <p:txBody>
          <a:bodyPr/>
          <a:lstStyle>
            <a:lvl1pPr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2"/>
                </a:solidFill>
              </a:defRPr>
            </a:lvl1pPr>
            <a:lvl2pPr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2"/>
                </a:solidFill>
              </a:defRPr>
            </a:lvl2pPr>
            <a:lvl3pPr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2"/>
                </a:solidFill>
              </a:defRPr>
            </a:lvl3pPr>
            <a:lvl4pPr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2"/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1CD188B5-4A1B-CBD8-E7B6-3AA0E6DAFA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5099" y="420493"/>
            <a:ext cx="10910888" cy="78315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2000"/>
              </a:lnSpc>
              <a:defRPr sz="4400" spc="-30" baseline="0">
                <a:solidFill>
                  <a:schemeClr val="bg2"/>
                </a:solidFill>
              </a:defRPr>
            </a:lvl1pPr>
          </a:lstStyle>
          <a:p>
            <a:r>
              <a:rPr lang="ru-RU"/>
              <a:t>Заголовок слайда в 1 строку</a:t>
            </a:r>
          </a:p>
        </p:txBody>
      </p:sp>
      <p:sp>
        <p:nvSpPr>
          <p:cNvPr id="2" name="Прямоугольник: скругленные углы 1">
            <a:extLst>
              <a:ext uri="{FF2B5EF4-FFF2-40B4-BE49-F238E27FC236}">
                <a16:creationId xmlns:a16="http://schemas.microsoft.com/office/drawing/2014/main" id="{9FD9122D-7091-6BA2-07EA-163A1869AEA8}"/>
              </a:ext>
            </a:extLst>
          </p:cNvPr>
          <p:cNvSpPr/>
          <p:nvPr userDrawn="1"/>
        </p:nvSpPr>
        <p:spPr>
          <a:xfrm>
            <a:off x="-2138458" y="54865"/>
            <a:ext cx="1928241" cy="2826069"/>
          </a:xfrm>
          <a:prstGeom prst="roundRect">
            <a:avLst>
              <a:gd name="adj" fmla="val 5926"/>
            </a:avLst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Прямоугольник: скругленные верхние углы 8">
            <a:extLst>
              <a:ext uri="{FF2B5EF4-FFF2-40B4-BE49-F238E27FC236}">
                <a16:creationId xmlns:a16="http://schemas.microsoft.com/office/drawing/2014/main" id="{6D6F03CD-D114-F37B-E03D-2CA35E1A3592}"/>
              </a:ext>
            </a:extLst>
          </p:cNvPr>
          <p:cNvSpPr/>
          <p:nvPr/>
        </p:nvSpPr>
        <p:spPr>
          <a:xfrm>
            <a:off x="-2136930" y="0"/>
            <a:ext cx="1926713" cy="2880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36000" rtlCol="0" anchor="ctr"/>
          <a:lstStyle/>
          <a:p>
            <a:pPr algn="ctr"/>
            <a:r>
              <a:rPr lang="ru-RU" sz="1100" b="1">
                <a:solidFill>
                  <a:schemeClr val="tx1"/>
                </a:solidFill>
              </a:rPr>
              <a:t>Размеры текста</a:t>
            </a:r>
          </a:p>
        </p:txBody>
      </p:sp>
      <p:graphicFrame>
        <p:nvGraphicFramePr>
          <p:cNvPr id="10" name="Таблица 46">
            <a:extLst>
              <a:ext uri="{FF2B5EF4-FFF2-40B4-BE49-F238E27FC236}">
                <a16:creationId xmlns:a16="http://schemas.microsoft.com/office/drawing/2014/main" id="{B02E023D-DDB5-0937-D525-4B70C7E1552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64895827"/>
              </p:ext>
            </p:extLst>
          </p:nvPr>
        </p:nvGraphicFramePr>
        <p:xfrm>
          <a:off x="-2046114" y="312643"/>
          <a:ext cx="1958731" cy="2142000"/>
        </p:xfrm>
        <a:graphic>
          <a:graphicData uri="http://schemas.openxmlformats.org/drawingml/2006/table">
            <a:tbl>
              <a:tblPr/>
              <a:tblGrid>
                <a:gridCol w="532517">
                  <a:extLst>
                    <a:ext uri="{9D8B030D-6E8A-4147-A177-3AD203B41FA5}">
                      <a16:colId xmlns:a16="http://schemas.microsoft.com/office/drawing/2014/main" val="2594385797"/>
                    </a:ext>
                  </a:extLst>
                </a:gridCol>
                <a:gridCol w="1426214">
                  <a:extLst>
                    <a:ext uri="{9D8B030D-6E8A-4147-A177-3AD203B41FA5}">
                      <a16:colId xmlns:a16="http://schemas.microsoft.com/office/drawing/2014/main" val="1017723076"/>
                    </a:ext>
                  </a:extLst>
                </a:gridCol>
              </a:tblGrid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en-US" sz="1200" b="1"/>
                        <a:t>5</a:t>
                      </a:r>
                      <a:r>
                        <a:rPr lang="ru-RU" sz="1200" b="1"/>
                        <a:t>4+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0" spc="-40" baseline="0"/>
                        <a:t>акцентные цифр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8329665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en-US" sz="1200" b="1"/>
                        <a:t>44</a:t>
                      </a:r>
                      <a:endParaRPr lang="ru-RU" sz="1200" b="1"/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заголовки и самые </a:t>
                      </a:r>
                      <a:br>
                        <a:rPr lang="ru-RU" sz="1000" spc="-40" baseline="0"/>
                      </a:br>
                      <a:r>
                        <a:rPr lang="ru-RU" sz="1000" spc="-40" baseline="0"/>
                        <a:t>важные данные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17697917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24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8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подзаголовки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72780009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en-US" sz="1200" b="1"/>
                        <a:t>24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</a:t>
                      </a:r>
                      <a:r>
                        <a:rPr lang="en-US" sz="1200" b="1"/>
                        <a:t>8</a:t>
                      </a:r>
                      <a:endParaRPr lang="ru-RU" sz="1200" b="1"/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основной текст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0685745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</a:t>
                      </a:r>
                      <a:r>
                        <a:rPr lang="en-US" sz="1200" b="1">
                          <a:solidFill>
                            <a:schemeClr val="tx1"/>
                          </a:solidFill>
                        </a:rPr>
                        <a:t>8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</a:t>
                      </a:r>
                      <a:r>
                        <a:rPr lang="en-US" sz="1200" b="1">
                          <a:solidFill>
                            <a:schemeClr val="tx1"/>
                          </a:solidFill>
                        </a:rPr>
                        <a:t>4</a:t>
                      </a:r>
                      <a:endParaRPr lang="ru-RU" sz="1200" b="1">
                        <a:solidFill>
                          <a:schemeClr val="tx1"/>
                        </a:solidFill>
                      </a:endParaRP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торой уровень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текста (менее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ажная информация)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1997433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</a:t>
                      </a:r>
                      <a:r>
                        <a:rPr lang="en-US" sz="1200" b="1">
                          <a:solidFill>
                            <a:schemeClr val="tx1"/>
                          </a:solidFill>
                        </a:rPr>
                        <a:t>2</a:t>
                      </a:r>
                      <a:endParaRPr lang="ru-RU" sz="1200" b="1">
                        <a:solidFill>
                          <a:schemeClr val="tx1"/>
                        </a:solidFill>
                      </a:endParaRP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сноски, пояснения, </a:t>
                      </a:r>
                      <a:br>
                        <a:rPr lang="en-US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большие таблиц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76660845"/>
                  </a:ext>
                </a:extLst>
              </a:tr>
            </a:tbl>
          </a:graphicData>
        </a:graphic>
      </p:graphicFrame>
      <p:sp>
        <p:nvSpPr>
          <p:cNvPr id="11" name="Полилиния: фигура 10">
            <a:extLst>
              <a:ext uri="{FF2B5EF4-FFF2-40B4-BE49-F238E27FC236}">
                <a16:creationId xmlns:a16="http://schemas.microsoft.com/office/drawing/2014/main" id="{2836D397-07DF-F44E-B241-E646372182BD}"/>
              </a:ext>
            </a:extLst>
          </p:cNvPr>
          <p:cNvSpPr/>
          <p:nvPr userDrawn="1"/>
        </p:nvSpPr>
        <p:spPr>
          <a:xfrm>
            <a:off x="-2004344" y="2488864"/>
            <a:ext cx="216624" cy="228657"/>
          </a:xfrm>
          <a:custGeom>
            <a:avLst/>
            <a:gdLst>
              <a:gd name="connsiteX0" fmla="*/ 72536 w 171450"/>
              <a:gd name="connsiteY0" fmla="*/ 162210 h 180974"/>
              <a:gd name="connsiteX1" fmla="*/ 98923 w 171450"/>
              <a:gd name="connsiteY1" fmla="*/ 162210 h 180974"/>
              <a:gd name="connsiteX2" fmla="*/ 103600 w 171450"/>
              <a:gd name="connsiteY2" fmla="*/ 172160 h 180974"/>
              <a:gd name="connsiteX3" fmla="*/ 85726 w 171450"/>
              <a:gd name="connsiteY3" fmla="*/ 180974 h 180974"/>
              <a:gd name="connsiteX4" fmla="*/ 67852 w 171450"/>
              <a:gd name="connsiteY4" fmla="*/ 172160 h 180974"/>
              <a:gd name="connsiteX5" fmla="*/ 72536 w 171450"/>
              <a:gd name="connsiteY5" fmla="*/ 162210 h 180974"/>
              <a:gd name="connsiteX6" fmla="*/ 152400 w 171450"/>
              <a:gd name="connsiteY6" fmla="*/ 76200 h 180974"/>
              <a:gd name="connsiteX7" fmla="*/ 161925 w 171450"/>
              <a:gd name="connsiteY7" fmla="*/ 76200 h 180974"/>
              <a:gd name="connsiteX8" fmla="*/ 171450 w 171450"/>
              <a:gd name="connsiteY8" fmla="*/ 85725 h 180974"/>
              <a:gd name="connsiteX9" fmla="*/ 161925 w 171450"/>
              <a:gd name="connsiteY9" fmla="*/ 95250 h 180974"/>
              <a:gd name="connsiteX10" fmla="*/ 152400 w 171450"/>
              <a:gd name="connsiteY10" fmla="*/ 95250 h 180974"/>
              <a:gd name="connsiteX11" fmla="*/ 142875 w 171450"/>
              <a:gd name="connsiteY11" fmla="*/ 85725 h 180974"/>
              <a:gd name="connsiteX12" fmla="*/ 152400 w 171450"/>
              <a:gd name="connsiteY12" fmla="*/ 76200 h 180974"/>
              <a:gd name="connsiteX13" fmla="*/ 9525 w 171450"/>
              <a:gd name="connsiteY13" fmla="*/ 76200 h 180974"/>
              <a:gd name="connsiteX14" fmla="*/ 19050 w 171450"/>
              <a:gd name="connsiteY14" fmla="*/ 76200 h 180974"/>
              <a:gd name="connsiteX15" fmla="*/ 28575 w 171450"/>
              <a:gd name="connsiteY15" fmla="*/ 85725 h 180974"/>
              <a:gd name="connsiteX16" fmla="*/ 19050 w 171450"/>
              <a:gd name="connsiteY16" fmla="*/ 95250 h 180974"/>
              <a:gd name="connsiteX17" fmla="*/ 9525 w 171450"/>
              <a:gd name="connsiteY17" fmla="*/ 95250 h 180974"/>
              <a:gd name="connsiteX18" fmla="*/ 0 w 171450"/>
              <a:gd name="connsiteY18" fmla="*/ 85725 h 180974"/>
              <a:gd name="connsiteX19" fmla="*/ 9525 w 171450"/>
              <a:gd name="connsiteY19" fmla="*/ 76200 h 180974"/>
              <a:gd name="connsiteX20" fmla="*/ 85725 w 171450"/>
              <a:gd name="connsiteY20" fmla="*/ 38100 h 180974"/>
              <a:gd name="connsiteX21" fmla="*/ 133350 w 171450"/>
              <a:gd name="connsiteY21" fmla="*/ 85725 h 180974"/>
              <a:gd name="connsiteX22" fmla="*/ 123174 w 171450"/>
              <a:gd name="connsiteY22" fmla="*/ 114596 h 180974"/>
              <a:gd name="connsiteX23" fmla="*/ 114300 w 171450"/>
              <a:gd name="connsiteY23" fmla="*/ 138113 h 180974"/>
              <a:gd name="connsiteX24" fmla="*/ 85725 w 171450"/>
              <a:gd name="connsiteY24" fmla="*/ 152400 h 180974"/>
              <a:gd name="connsiteX25" fmla="*/ 57150 w 171450"/>
              <a:gd name="connsiteY25" fmla="*/ 138113 h 180974"/>
              <a:gd name="connsiteX26" fmla="*/ 48275 w 171450"/>
              <a:gd name="connsiteY26" fmla="*/ 114596 h 180974"/>
              <a:gd name="connsiteX27" fmla="*/ 38100 w 171450"/>
              <a:gd name="connsiteY27" fmla="*/ 85725 h 180974"/>
              <a:gd name="connsiteX28" fmla="*/ 85725 w 171450"/>
              <a:gd name="connsiteY28" fmla="*/ 38100 h 180974"/>
              <a:gd name="connsiteX29" fmla="*/ 136141 w 171450"/>
              <a:gd name="connsiteY29" fmla="*/ 21840 h 180974"/>
              <a:gd name="connsiteX30" fmla="*/ 149611 w 171450"/>
              <a:gd name="connsiteY30" fmla="*/ 21840 h 180974"/>
              <a:gd name="connsiteX31" fmla="*/ 149611 w 171450"/>
              <a:gd name="connsiteY31" fmla="*/ 35310 h 180974"/>
              <a:gd name="connsiteX32" fmla="*/ 140086 w 171450"/>
              <a:gd name="connsiteY32" fmla="*/ 44835 h 180974"/>
              <a:gd name="connsiteX33" fmla="*/ 126616 w 171450"/>
              <a:gd name="connsiteY33" fmla="*/ 44835 h 180974"/>
              <a:gd name="connsiteX34" fmla="*/ 126616 w 171450"/>
              <a:gd name="connsiteY34" fmla="*/ 31365 h 180974"/>
              <a:gd name="connsiteX35" fmla="*/ 21840 w 171450"/>
              <a:gd name="connsiteY35" fmla="*/ 21840 h 180974"/>
              <a:gd name="connsiteX36" fmla="*/ 35310 w 171450"/>
              <a:gd name="connsiteY36" fmla="*/ 21840 h 180974"/>
              <a:gd name="connsiteX37" fmla="*/ 44835 w 171450"/>
              <a:gd name="connsiteY37" fmla="*/ 31365 h 180974"/>
              <a:gd name="connsiteX38" fmla="*/ 44835 w 171450"/>
              <a:gd name="connsiteY38" fmla="*/ 44835 h 180974"/>
              <a:gd name="connsiteX39" fmla="*/ 31365 w 171450"/>
              <a:gd name="connsiteY39" fmla="*/ 44835 h 180974"/>
              <a:gd name="connsiteX40" fmla="*/ 21840 w 171450"/>
              <a:gd name="connsiteY40" fmla="*/ 35310 h 180974"/>
              <a:gd name="connsiteX41" fmla="*/ 21840 w 171450"/>
              <a:gd name="connsiteY41" fmla="*/ 21840 h 180974"/>
              <a:gd name="connsiteX42" fmla="*/ 85725 w 171450"/>
              <a:gd name="connsiteY42" fmla="*/ 0 h 180974"/>
              <a:gd name="connsiteX43" fmla="*/ 95250 w 171450"/>
              <a:gd name="connsiteY43" fmla="*/ 9525 h 180974"/>
              <a:gd name="connsiteX44" fmla="*/ 95250 w 171450"/>
              <a:gd name="connsiteY44" fmla="*/ 19050 h 180974"/>
              <a:gd name="connsiteX45" fmla="*/ 85725 w 171450"/>
              <a:gd name="connsiteY45" fmla="*/ 28575 h 180974"/>
              <a:gd name="connsiteX46" fmla="*/ 76200 w 171450"/>
              <a:gd name="connsiteY46" fmla="*/ 19050 h 180974"/>
              <a:gd name="connsiteX47" fmla="*/ 76200 w 171450"/>
              <a:gd name="connsiteY47" fmla="*/ 9525 h 180974"/>
              <a:gd name="connsiteX48" fmla="*/ 85725 w 171450"/>
              <a:gd name="connsiteY48" fmla="*/ 0 h 18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1450" h="180974">
                <a:moveTo>
                  <a:pt x="72536" y="162210"/>
                </a:moveTo>
                <a:cubicBezTo>
                  <a:pt x="80449" y="164140"/>
                  <a:pt x="90933" y="164211"/>
                  <a:pt x="98923" y="162210"/>
                </a:cubicBezTo>
                <a:cubicBezTo>
                  <a:pt x="105617" y="160534"/>
                  <a:pt x="105617" y="166533"/>
                  <a:pt x="103600" y="172160"/>
                </a:cubicBezTo>
                <a:cubicBezTo>
                  <a:pt x="100950" y="179549"/>
                  <a:pt x="95451" y="180974"/>
                  <a:pt x="85726" y="180974"/>
                </a:cubicBezTo>
                <a:cubicBezTo>
                  <a:pt x="76000" y="180974"/>
                  <a:pt x="70501" y="179549"/>
                  <a:pt x="67852" y="172160"/>
                </a:cubicBezTo>
                <a:cubicBezTo>
                  <a:pt x="65835" y="166534"/>
                  <a:pt x="65835" y="160576"/>
                  <a:pt x="72536" y="162210"/>
                </a:cubicBezTo>
                <a:close/>
                <a:moveTo>
                  <a:pt x="152400" y="76200"/>
                </a:moveTo>
                <a:lnTo>
                  <a:pt x="161925" y="76200"/>
                </a:lnTo>
                <a:cubicBezTo>
                  <a:pt x="167186" y="76200"/>
                  <a:pt x="171450" y="80464"/>
                  <a:pt x="171450" y="85725"/>
                </a:cubicBezTo>
                <a:cubicBezTo>
                  <a:pt x="171450" y="90986"/>
                  <a:pt x="167186" y="95250"/>
                  <a:pt x="161925" y="95250"/>
                </a:cubicBezTo>
                <a:lnTo>
                  <a:pt x="152400" y="95250"/>
                </a:lnTo>
                <a:cubicBezTo>
                  <a:pt x="147139" y="95250"/>
                  <a:pt x="142875" y="90986"/>
                  <a:pt x="142875" y="85725"/>
                </a:cubicBezTo>
                <a:cubicBezTo>
                  <a:pt x="142875" y="80464"/>
                  <a:pt x="147139" y="76200"/>
                  <a:pt x="152400" y="76200"/>
                </a:cubicBezTo>
                <a:close/>
                <a:moveTo>
                  <a:pt x="9525" y="76200"/>
                </a:moveTo>
                <a:lnTo>
                  <a:pt x="19050" y="76200"/>
                </a:lnTo>
                <a:cubicBezTo>
                  <a:pt x="24310" y="76200"/>
                  <a:pt x="28575" y="80464"/>
                  <a:pt x="28575" y="85725"/>
                </a:cubicBezTo>
                <a:cubicBezTo>
                  <a:pt x="28575" y="90986"/>
                  <a:pt x="24310" y="95250"/>
                  <a:pt x="19050" y="95250"/>
                </a:cubicBezTo>
                <a:lnTo>
                  <a:pt x="9525" y="95250"/>
                </a:lnTo>
                <a:cubicBezTo>
                  <a:pt x="4265" y="95250"/>
                  <a:pt x="0" y="90986"/>
                  <a:pt x="0" y="85725"/>
                </a:cubicBezTo>
                <a:cubicBezTo>
                  <a:pt x="0" y="80464"/>
                  <a:pt x="4265" y="76200"/>
                  <a:pt x="9525" y="76200"/>
                </a:cubicBezTo>
                <a:close/>
                <a:moveTo>
                  <a:pt x="85725" y="38100"/>
                </a:moveTo>
                <a:cubicBezTo>
                  <a:pt x="112027" y="38100"/>
                  <a:pt x="133350" y="58671"/>
                  <a:pt x="133350" y="85725"/>
                </a:cubicBezTo>
                <a:cubicBezTo>
                  <a:pt x="133350" y="100663"/>
                  <a:pt x="128144" y="107793"/>
                  <a:pt x="123174" y="114596"/>
                </a:cubicBezTo>
                <a:cubicBezTo>
                  <a:pt x="118639" y="120807"/>
                  <a:pt x="114300" y="126748"/>
                  <a:pt x="114300" y="138113"/>
                </a:cubicBezTo>
                <a:cubicBezTo>
                  <a:pt x="114300" y="147638"/>
                  <a:pt x="104775" y="152400"/>
                  <a:pt x="85725" y="152400"/>
                </a:cubicBezTo>
                <a:cubicBezTo>
                  <a:pt x="66675" y="152400"/>
                  <a:pt x="57150" y="147638"/>
                  <a:pt x="57150" y="138113"/>
                </a:cubicBezTo>
                <a:cubicBezTo>
                  <a:pt x="57150" y="126748"/>
                  <a:pt x="52811" y="120807"/>
                  <a:pt x="48275" y="114596"/>
                </a:cubicBezTo>
                <a:cubicBezTo>
                  <a:pt x="43306" y="107793"/>
                  <a:pt x="38100" y="100663"/>
                  <a:pt x="38100" y="85725"/>
                </a:cubicBezTo>
                <a:cubicBezTo>
                  <a:pt x="38100" y="57150"/>
                  <a:pt x="59422" y="38100"/>
                  <a:pt x="85725" y="38100"/>
                </a:cubicBezTo>
                <a:close/>
                <a:moveTo>
                  <a:pt x="136141" y="21840"/>
                </a:moveTo>
                <a:cubicBezTo>
                  <a:pt x="139860" y="18120"/>
                  <a:pt x="145891" y="18120"/>
                  <a:pt x="149611" y="21840"/>
                </a:cubicBezTo>
                <a:cubicBezTo>
                  <a:pt x="153330" y="25560"/>
                  <a:pt x="153330" y="31590"/>
                  <a:pt x="149611" y="35310"/>
                </a:cubicBezTo>
                <a:lnTo>
                  <a:pt x="140086" y="44835"/>
                </a:lnTo>
                <a:cubicBezTo>
                  <a:pt x="136366" y="48555"/>
                  <a:pt x="130335" y="48555"/>
                  <a:pt x="126616" y="44835"/>
                </a:cubicBezTo>
                <a:cubicBezTo>
                  <a:pt x="122896" y="41115"/>
                  <a:pt x="122896" y="35085"/>
                  <a:pt x="126616" y="31365"/>
                </a:cubicBezTo>
                <a:close/>
                <a:moveTo>
                  <a:pt x="21840" y="21840"/>
                </a:moveTo>
                <a:cubicBezTo>
                  <a:pt x="25560" y="18120"/>
                  <a:pt x="31590" y="18120"/>
                  <a:pt x="35310" y="21840"/>
                </a:cubicBezTo>
                <a:lnTo>
                  <a:pt x="44835" y="31365"/>
                </a:lnTo>
                <a:cubicBezTo>
                  <a:pt x="48555" y="35085"/>
                  <a:pt x="48555" y="41115"/>
                  <a:pt x="44835" y="44835"/>
                </a:cubicBezTo>
                <a:cubicBezTo>
                  <a:pt x="41115" y="48555"/>
                  <a:pt x="35085" y="48555"/>
                  <a:pt x="31365" y="44835"/>
                </a:cubicBezTo>
                <a:lnTo>
                  <a:pt x="21840" y="35310"/>
                </a:lnTo>
                <a:cubicBezTo>
                  <a:pt x="18120" y="31590"/>
                  <a:pt x="18120" y="25560"/>
                  <a:pt x="21840" y="21840"/>
                </a:cubicBezTo>
                <a:close/>
                <a:moveTo>
                  <a:pt x="85725" y="0"/>
                </a:moveTo>
                <a:cubicBezTo>
                  <a:pt x="90986" y="0"/>
                  <a:pt x="95250" y="4265"/>
                  <a:pt x="95250" y="9525"/>
                </a:cubicBezTo>
                <a:lnTo>
                  <a:pt x="95250" y="19050"/>
                </a:lnTo>
                <a:cubicBezTo>
                  <a:pt x="95250" y="24310"/>
                  <a:pt x="90986" y="28575"/>
                  <a:pt x="85725" y="28575"/>
                </a:cubicBezTo>
                <a:cubicBezTo>
                  <a:pt x="80464" y="28575"/>
                  <a:pt x="76200" y="24310"/>
                  <a:pt x="76200" y="19050"/>
                </a:cubicBezTo>
                <a:lnTo>
                  <a:pt x="76200" y="9525"/>
                </a:lnTo>
                <a:cubicBezTo>
                  <a:pt x="76200" y="4265"/>
                  <a:pt x="80464" y="0"/>
                  <a:pt x="85725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3DB4C809-1195-88CA-2A75-08AA1F1CFF03}"/>
              </a:ext>
            </a:extLst>
          </p:cNvPr>
          <p:cNvSpPr txBox="1"/>
          <p:nvPr/>
        </p:nvSpPr>
        <p:spPr>
          <a:xfrm>
            <a:off x="-1691344" y="2506490"/>
            <a:ext cx="1373969" cy="2428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</a:pPr>
            <a:r>
              <a:rPr lang="ru-RU" sz="900" b="0">
                <a:solidFill>
                  <a:schemeClr val="accent1"/>
                </a:solidFill>
              </a:rPr>
              <a:t>Используй эти размеры </a:t>
            </a:r>
            <a:br>
              <a:rPr lang="ru-RU" sz="900" b="0">
                <a:solidFill>
                  <a:schemeClr val="accent1"/>
                </a:solidFill>
              </a:rPr>
            </a:br>
            <a:r>
              <a:rPr lang="ru-RU" sz="900" b="0">
                <a:solidFill>
                  <a:schemeClr val="accent1"/>
                </a:solidFill>
              </a:rPr>
              <a:t>по всей презентации</a:t>
            </a:r>
          </a:p>
        </p:txBody>
      </p:sp>
      <p:sp>
        <p:nvSpPr>
          <p:cNvPr id="19" name="Номер слайда 5">
            <a:extLst>
              <a:ext uri="{FF2B5EF4-FFF2-40B4-BE49-F238E27FC236}">
                <a16:creationId xmlns:a16="http://schemas.microsoft.com/office/drawing/2014/main" id="{A29A8329-61B1-1D0C-F101-E5C427CDAC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57744" y="6430370"/>
            <a:ext cx="908050" cy="216000"/>
          </a:xfrm>
        </p:spPr>
        <p:txBody>
          <a:bodyPr/>
          <a:lstStyle>
            <a:lvl1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fld id="{EB5249F5-0093-48B0-B996-C4E44A87EAFB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46" name="Нижний колонтитул 4">
            <a:extLst>
              <a:ext uri="{FF2B5EF4-FFF2-40B4-BE49-F238E27FC236}">
                <a16:creationId xmlns:a16="http://schemas.microsoft.com/office/drawing/2014/main" id="{0FBE122B-6F03-F449-8A51-EF2384093C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458800" y="6465600"/>
            <a:ext cx="7274114" cy="144500"/>
          </a:xfrm>
        </p:spPr>
        <p:txBody>
          <a:bodyPr anchor="b"/>
          <a:lstStyle>
            <a:lvl1pPr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endParaRPr lang="ru-RU" dirty="0"/>
          </a:p>
        </p:txBody>
      </p:sp>
      <p:grpSp>
        <p:nvGrpSpPr>
          <p:cNvPr id="52" name="Группа 51">
            <a:extLst>
              <a:ext uri="{FF2B5EF4-FFF2-40B4-BE49-F238E27FC236}">
                <a16:creationId xmlns:a16="http://schemas.microsoft.com/office/drawing/2014/main" id="{CD40B8D3-24E8-264C-85C0-FC1434D6EDE9}"/>
              </a:ext>
            </a:extLst>
          </p:cNvPr>
          <p:cNvGrpSpPr/>
          <p:nvPr userDrawn="1"/>
        </p:nvGrpSpPr>
        <p:grpSpPr>
          <a:xfrm>
            <a:off x="-2138458" y="3070447"/>
            <a:ext cx="1935384" cy="3787553"/>
            <a:chOff x="-2138458" y="3070447"/>
            <a:chExt cx="1935384" cy="3787553"/>
          </a:xfrm>
        </p:grpSpPr>
        <p:sp>
          <p:nvSpPr>
            <p:cNvPr id="53" name="Прямоугольник: скругленные углы 38">
              <a:extLst>
                <a:ext uri="{FF2B5EF4-FFF2-40B4-BE49-F238E27FC236}">
                  <a16:creationId xmlns:a16="http://schemas.microsoft.com/office/drawing/2014/main" id="{87DFEA87-531E-F74C-92A0-F41FB656855E}"/>
                </a:ext>
              </a:extLst>
            </p:cNvPr>
            <p:cNvSpPr/>
            <p:nvPr/>
          </p:nvSpPr>
          <p:spPr>
            <a:xfrm>
              <a:off x="-2138458" y="3125312"/>
              <a:ext cx="1928241" cy="2468818"/>
            </a:xfrm>
            <a:prstGeom prst="roundRect">
              <a:avLst>
                <a:gd name="adj" fmla="val 5926"/>
              </a:avLst>
            </a:prstGeom>
            <a:solidFill>
              <a:schemeClr val="bg1"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4" name="Прямоугольник: скругленные верхние углы 39">
              <a:extLst>
                <a:ext uri="{FF2B5EF4-FFF2-40B4-BE49-F238E27FC236}">
                  <a16:creationId xmlns:a16="http://schemas.microsoft.com/office/drawing/2014/main" id="{A08C3FFE-FABF-CE44-AE09-62ED5723B84D}"/>
                </a:ext>
              </a:extLst>
            </p:cNvPr>
            <p:cNvSpPr/>
            <p:nvPr/>
          </p:nvSpPr>
          <p:spPr>
            <a:xfrm>
              <a:off x="-2136930" y="3070447"/>
              <a:ext cx="1926713" cy="28800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36000" rtlCol="0" anchor="ctr"/>
            <a:lstStyle/>
            <a:p>
              <a:pPr algn="ctr"/>
              <a:r>
                <a:rPr lang="ru-RU" sz="1100" b="1">
                  <a:solidFill>
                    <a:schemeClr val="tx1"/>
                  </a:solidFill>
                </a:rPr>
                <a:t>Цвета </a:t>
              </a:r>
              <a:r>
                <a:rPr lang="en-US" sz="1100" b="1">
                  <a:solidFill>
                    <a:schemeClr val="tx1"/>
                  </a:solidFill>
                </a:rPr>
                <a:t>Ozon</a:t>
              </a:r>
              <a:endParaRPr lang="ru-RU" sz="1100" b="1">
                <a:solidFill>
                  <a:schemeClr val="tx1"/>
                </a:solidFill>
              </a:endParaRPr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31636D6C-9228-D347-AA6A-62840DC50B9C}"/>
                </a:ext>
              </a:extLst>
            </p:cNvPr>
            <p:cNvSpPr txBox="1"/>
            <p:nvPr userDrawn="1"/>
          </p:nvSpPr>
          <p:spPr>
            <a:xfrm>
              <a:off x="-2003446" y="3412239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текста </a:t>
              </a:r>
            </a:p>
          </p:txBody>
        </p:sp>
        <p:sp>
          <p:nvSpPr>
            <p:cNvPr id="56" name="Прямоугольник: скругленные углы 41">
              <a:extLst>
                <a:ext uri="{FF2B5EF4-FFF2-40B4-BE49-F238E27FC236}">
                  <a16:creationId xmlns:a16="http://schemas.microsoft.com/office/drawing/2014/main" id="{5CE50745-3ABA-6344-8769-F4008559C2FA}"/>
                </a:ext>
              </a:extLst>
            </p:cNvPr>
            <p:cNvSpPr/>
            <p:nvPr userDrawn="1"/>
          </p:nvSpPr>
          <p:spPr>
            <a:xfrm>
              <a:off x="-2004344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7" name="Прямоугольник: скругленные углы 42">
              <a:extLst>
                <a:ext uri="{FF2B5EF4-FFF2-40B4-BE49-F238E27FC236}">
                  <a16:creationId xmlns:a16="http://schemas.microsoft.com/office/drawing/2014/main" id="{E38D4DD0-09F8-8D4A-8C84-D6E6FB5E507C}"/>
                </a:ext>
              </a:extLst>
            </p:cNvPr>
            <p:cNvSpPr/>
            <p:nvPr userDrawn="1"/>
          </p:nvSpPr>
          <p:spPr>
            <a:xfrm>
              <a:off x="-1738339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6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8" name="Прямоугольник: скругленные углы 43">
              <a:extLst>
                <a:ext uri="{FF2B5EF4-FFF2-40B4-BE49-F238E27FC236}">
                  <a16:creationId xmlns:a16="http://schemas.microsoft.com/office/drawing/2014/main" id="{91871802-B610-DB41-81CF-7E4B726A9B1E}"/>
                </a:ext>
              </a:extLst>
            </p:cNvPr>
            <p:cNvSpPr/>
            <p:nvPr userDrawn="1"/>
          </p:nvSpPr>
          <p:spPr>
            <a:xfrm>
              <a:off x="-1739900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3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9" name="Прямоугольник: скругленные углы 44">
              <a:extLst>
                <a:ext uri="{FF2B5EF4-FFF2-40B4-BE49-F238E27FC236}">
                  <a16:creationId xmlns:a16="http://schemas.microsoft.com/office/drawing/2014/main" id="{62D19D4D-290B-F246-97F2-DF4B8D54DEA5}"/>
                </a:ext>
              </a:extLst>
            </p:cNvPr>
            <p:cNvSpPr/>
            <p:nvPr userDrawn="1"/>
          </p:nvSpPr>
          <p:spPr>
            <a:xfrm>
              <a:off x="-2004963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CB54DE0B-9074-6B49-9670-B0DBF76553DC}"/>
                </a:ext>
              </a:extLst>
            </p:cNvPr>
            <p:cNvSpPr txBox="1"/>
            <p:nvPr userDrawn="1"/>
          </p:nvSpPr>
          <p:spPr>
            <a:xfrm>
              <a:off x="-2003446" y="3935644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больших плашек</a:t>
              </a:r>
            </a:p>
          </p:txBody>
        </p:sp>
        <p:sp>
          <p:nvSpPr>
            <p:cNvPr id="61" name="Прямоугольник: скругленные углы 47">
              <a:extLst>
                <a:ext uri="{FF2B5EF4-FFF2-40B4-BE49-F238E27FC236}">
                  <a16:creationId xmlns:a16="http://schemas.microsoft.com/office/drawing/2014/main" id="{BF38892E-42CC-5C42-B912-AB75FEA670BF}"/>
                </a:ext>
              </a:extLst>
            </p:cNvPr>
            <p:cNvSpPr/>
            <p:nvPr userDrawn="1"/>
          </p:nvSpPr>
          <p:spPr>
            <a:xfrm>
              <a:off x="-2004963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tx2">
                <a:lumMod val="90000"/>
                <a:lumOff val="10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2" name="Прямоугольник: скругленные углы 48">
              <a:extLst>
                <a:ext uri="{FF2B5EF4-FFF2-40B4-BE49-F238E27FC236}">
                  <a16:creationId xmlns:a16="http://schemas.microsoft.com/office/drawing/2014/main" id="{14BA909E-BAC9-614A-AE11-8576ABEF5F9D}"/>
                </a:ext>
              </a:extLst>
            </p:cNvPr>
            <p:cNvSpPr/>
            <p:nvPr userDrawn="1"/>
          </p:nvSpPr>
          <p:spPr>
            <a:xfrm>
              <a:off x="-1739900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7B484EEE-6D18-BF43-B170-E22BFBC059D5}"/>
                </a:ext>
              </a:extLst>
            </p:cNvPr>
            <p:cNvSpPr txBox="1"/>
            <p:nvPr userDrawn="1"/>
          </p:nvSpPr>
          <p:spPr>
            <a:xfrm>
              <a:off x="-2003446" y="4451492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а маленьких плашек</a:t>
              </a:r>
            </a:p>
          </p:txBody>
        </p:sp>
        <p:sp>
          <p:nvSpPr>
            <p:cNvPr id="64" name="Прямоугольник: скругленные углы 51">
              <a:extLst>
                <a:ext uri="{FF2B5EF4-FFF2-40B4-BE49-F238E27FC236}">
                  <a16:creationId xmlns:a16="http://schemas.microsoft.com/office/drawing/2014/main" id="{BA2BF39B-30D4-1243-9DA0-BCFA88B73294}"/>
                </a:ext>
              </a:extLst>
            </p:cNvPr>
            <p:cNvSpPr/>
            <p:nvPr userDrawn="1"/>
          </p:nvSpPr>
          <p:spPr>
            <a:xfrm>
              <a:off x="-1475201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tx2"/>
            </a:solidFill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5" name="Прямоугольник: скругленные углы 52">
              <a:extLst>
                <a:ext uri="{FF2B5EF4-FFF2-40B4-BE49-F238E27FC236}">
                  <a16:creationId xmlns:a16="http://schemas.microsoft.com/office/drawing/2014/main" id="{DFD03D11-B20F-0748-8D11-A010007E896D}"/>
                </a:ext>
              </a:extLst>
            </p:cNvPr>
            <p:cNvSpPr/>
            <p:nvPr userDrawn="1"/>
          </p:nvSpPr>
          <p:spPr>
            <a:xfrm>
              <a:off x="-1739900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B7EDC9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6" name="Прямоугольник: скругленные углы 53">
              <a:extLst>
                <a:ext uri="{FF2B5EF4-FFF2-40B4-BE49-F238E27FC236}">
                  <a16:creationId xmlns:a16="http://schemas.microsoft.com/office/drawing/2014/main" id="{191FA80E-7E6F-524F-87F2-B5F9B5BE989E}"/>
                </a:ext>
              </a:extLst>
            </p:cNvPr>
            <p:cNvSpPr/>
            <p:nvPr userDrawn="1"/>
          </p:nvSpPr>
          <p:spPr>
            <a:xfrm>
              <a:off x="-1474837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FA800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7" name="Прямоугольник: скругленные углы 54">
              <a:extLst>
                <a:ext uri="{FF2B5EF4-FFF2-40B4-BE49-F238E27FC236}">
                  <a16:creationId xmlns:a16="http://schemas.microsoft.com/office/drawing/2014/main" id="{81823188-BE99-B54D-8E8B-15DD74D2484A}"/>
                </a:ext>
              </a:extLst>
            </p:cNvPr>
            <p:cNvSpPr/>
            <p:nvPr userDrawn="1"/>
          </p:nvSpPr>
          <p:spPr>
            <a:xfrm>
              <a:off x="-2004963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10C44C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CF9B11DC-0D71-2046-8453-441AAF65778E}"/>
                </a:ext>
              </a:extLst>
            </p:cNvPr>
            <p:cNvSpPr txBox="1"/>
            <p:nvPr userDrawn="1"/>
          </p:nvSpPr>
          <p:spPr>
            <a:xfrm>
              <a:off x="-2003446" y="4973480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900"/>
                <a:t>Рост / падение показателей</a:t>
              </a:r>
            </a:p>
          </p:txBody>
        </p:sp>
        <p:sp>
          <p:nvSpPr>
            <p:cNvPr id="69" name="Прямоугольник: скругленные углы 56">
              <a:extLst>
                <a:ext uri="{FF2B5EF4-FFF2-40B4-BE49-F238E27FC236}">
                  <a16:creationId xmlns:a16="http://schemas.microsoft.com/office/drawing/2014/main" id="{1D1FB393-22CD-6344-85CF-45954E78F599}"/>
                </a:ext>
              </a:extLst>
            </p:cNvPr>
            <p:cNvSpPr/>
            <p:nvPr userDrawn="1"/>
          </p:nvSpPr>
          <p:spPr>
            <a:xfrm>
              <a:off x="-1209774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1">
                <a:lumMod val="20000"/>
                <a:lumOff val="80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0" name="Прямоугольник: скругленные углы 57">
              <a:extLst>
                <a:ext uri="{FF2B5EF4-FFF2-40B4-BE49-F238E27FC236}">
                  <a16:creationId xmlns:a16="http://schemas.microsoft.com/office/drawing/2014/main" id="{54E3B481-6EB1-B943-86CF-51D34ADE0FB3}"/>
                </a:ext>
              </a:extLst>
            </p:cNvPr>
            <p:cNvSpPr/>
            <p:nvPr/>
          </p:nvSpPr>
          <p:spPr>
            <a:xfrm>
              <a:off x="-2131314" y="5782119"/>
              <a:ext cx="1928240" cy="1075881"/>
            </a:xfrm>
            <a:prstGeom prst="roundRect">
              <a:avLst>
                <a:gd name="adj" fmla="val 12985"/>
              </a:avLst>
            </a:prstGeom>
            <a:solidFill>
              <a:schemeClr val="bg1"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0B04E244-CF38-B64E-AA60-219EC1A1A794}"/>
                </a:ext>
              </a:extLst>
            </p:cNvPr>
            <p:cNvSpPr txBox="1"/>
            <p:nvPr/>
          </p:nvSpPr>
          <p:spPr>
            <a:xfrm>
              <a:off x="-1788338" y="5868204"/>
              <a:ext cx="1155882" cy="15109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l">
                <a:lnSpc>
                  <a:spcPct val="90000"/>
                </a:lnSpc>
              </a:pPr>
              <a:r>
                <a:rPr lang="ru-RU" sz="1000" b="1">
                  <a:solidFill>
                    <a:schemeClr val="accent1"/>
                  </a:solidFill>
                </a:rPr>
                <a:t>Шаблон </a:t>
              </a:r>
              <a:r>
                <a:rPr lang="en-US" sz="1000" b="1">
                  <a:solidFill>
                    <a:schemeClr val="accent1"/>
                  </a:solidFill>
                </a:rPr>
                <a:t>Ozon</a:t>
              </a:r>
              <a:endParaRPr lang="ru-RU" sz="1000" b="1">
                <a:solidFill>
                  <a:schemeClr val="accent1"/>
                </a:solidFill>
              </a:endParaRPr>
            </a:p>
          </p:txBody>
        </p:sp>
        <p:sp>
          <p:nvSpPr>
            <p:cNvPr id="72" name="Рисунок 93">
              <a:extLst>
                <a:ext uri="{FF2B5EF4-FFF2-40B4-BE49-F238E27FC236}">
                  <a16:creationId xmlns:a16="http://schemas.microsoft.com/office/drawing/2014/main" id="{35147528-19B0-E946-8A66-6FFB22C5F598}"/>
                </a:ext>
              </a:extLst>
            </p:cNvPr>
            <p:cNvSpPr/>
            <p:nvPr/>
          </p:nvSpPr>
          <p:spPr>
            <a:xfrm>
              <a:off x="-2004963" y="5853908"/>
              <a:ext cx="161099" cy="161099"/>
            </a:xfrm>
            <a:custGeom>
              <a:avLst/>
              <a:gdLst>
                <a:gd name="connsiteX0" fmla="*/ 85725 w 171450"/>
                <a:gd name="connsiteY0" fmla="*/ 171450 h 171450"/>
                <a:gd name="connsiteX1" fmla="*/ 171450 w 171450"/>
                <a:gd name="connsiteY1" fmla="*/ 85725 h 171450"/>
                <a:gd name="connsiteX2" fmla="*/ 85725 w 171450"/>
                <a:gd name="connsiteY2" fmla="*/ 0 h 171450"/>
                <a:gd name="connsiteX3" fmla="*/ 0 w 171450"/>
                <a:gd name="connsiteY3" fmla="*/ 85725 h 171450"/>
                <a:gd name="connsiteX4" fmla="*/ 85725 w 171450"/>
                <a:gd name="connsiteY4" fmla="*/ 171450 h 171450"/>
                <a:gd name="connsiteX5" fmla="*/ 130560 w 171450"/>
                <a:gd name="connsiteY5" fmla="*/ 73410 h 171450"/>
                <a:gd name="connsiteX6" fmla="*/ 82935 w 171450"/>
                <a:gd name="connsiteY6" fmla="*/ 121035 h 171450"/>
                <a:gd name="connsiteX7" fmla="*/ 69465 w 171450"/>
                <a:gd name="connsiteY7" fmla="*/ 121035 h 171450"/>
                <a:gd name="connsiteX8" fmla="*/ 40890 w 171450"/>
                <a:gd name="connsiteY8" fmla="*/ 92460 h 171450"/>
                <a:gd name="connsiteX9" fmla="*/ 40890 w 171450"/>
                <a:gd name="connsiteY9" fmla="*/ 78990 h 171450"/>
                <a:gd name="connsiteX10" fmla="*/ 54360 w 171450"/>
                <a:gd name="connsiteY10" fmla="*/ 78990 h 171450"/>
                <a:gd name="connsiteX11" fmla="*/ 76200 w 171450"/>
                <a:gd name="connsiteY11" fmla="*/ 100830 h 171450"/>
                <a:gd name="connsiteX12" fmla="*/ 117090 w 171450"/>
                <a:gd name="connsiteY12" fmla="*/ 59940 h 171450"/>
                <a:gd name="connsiteX13" fmla="*/ 130560 w 171450"/>
                <a:gd name="connsiteY13" fmla="*/ 59940 h 171450"/>
                <a:gd name="connsiteX14" fmla="*/ 130560 w 171450"/>
                <a:gd name="connsiteY14" fmla="*/ 7341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71450" h="171450">
                  <a:moveTo>
                    <a:pt x="85725" y="171450"/>
                  </a:moveTo>
                  <a:cubicBezTo>
                    <a:pt x="138915" y="171450"/>
                    <a:pt x="171450" y="138915"/>
                    <a:pt x="171450" y="85725"/>
                  </a:cubicBezTo>
                  <a:cubicBezTo>
                    <a:pt x="171450" y="32535"/>
                    <a:pt x="138915" y="0"/>
                    <a:pt x="85725" y="0"/>
                  </a:cubicBezTo>
                  <a:cubicBezTo>
                    <a:pt x="32535" y="0"/>
                    <a:pt x="0" y="32535"/>
                    <a:pt x="0" y="85725"/>
                  </a:cubicBezTo>
                  <a:cubicBezTo>
                    <a:pt x="0" y="138915"/>
                    <a:pt x="32535" y="171450"/>
                    <a:pt x="85725" y="171450"/>
                  </a:cubicBezTo>
                  <a:close/>
                  <a:moveTo>
                    <a:pt x="130560" y="73410"/>
                  </a:moveTo>
                  <a:lnTo>
                    <a:pt x="82935" y="121035"/>
                  </a:lnTo>
                  <a:cubicBezTo>
                    <a:pt x="79216" y="124755"/>
                    <a:pt x="73184" y="124755"/>
                    <a:pt x="69465" y="121035"/>
                  </a:cubicBezTo>
                  <a:lnTo>
                    <a:pt x="40890" y="92460"/>
                  </a:lnTo>
                  <a:cubicBezTo>
                    <a:pt x="37170" y="88741"/>
                    <a:pt x="37170" y="82709"/>
                    <a:pt x="40890" y="78990"/>
                  </a:cubicBezTo>
                  <a:cubicBezTo>
                    <a:pt x="44610" y="75270"/>
                    <a:pt x="50640" y="75270"/>
                    <a:pt x="54360" y="78990"/>
                  </a:cubicBezTo>
                  <a:lnTo>
                    <a:pt x="76200" y="100830"/>
                  </a:lnTo>
                  <a:lnTo>
                    <a:pt x="117090" y="59940"/>
                  </a:lnTo>
                  <a:cubicBezTo>
                    <a:pt x="120809" y="56220"/>
                    <a:pt x="126841" y="56220"/>
                    <a:pt x="130560" y="59940"/>
                  </a:cubicBezTo>
                  <a:cubicBezTo>
                    <a:pt x="134280" y="63660"/>
                    <a:pt x="134280" y="69691"/>
                    <a:pt x="130560" y="7341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D85766C7-FAC3-F74D-8B14-A598B57ABFC3}"/>
                </a:ext>
              </a:extLst>
            </p:cNvPr>
            <p:cNvSpPr txBox="1"/>
            <p:nvPr/>
          </p:nvSpPr>
          <p:spPr>
            <a:xfrm>
              <a:off x="-2004962" y="6072106"/>
              <a:ext cx="1687587" cy="60024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>
                <a:lnSpc>
                  <a:spcPct val="110000"/>
                </a:lnSpc>
              </a:pPr>
              <a:r>
                <a:rPr lang="ru-RU" sz="900" spc="-30" baseline="0">
                  <a:solidFill>
                    <a:schemeClr val="tx2"/>
                  </a:solidFill>
                </a:rPr>
                <a:t>Если нужно больше материалов: </a:t>
              </a:r>
              <a:r>
                <a:rPr lang="ru-RU" sz="900" b="1" spc="-30" baseline="0">
                  <a:solidFill>
                    <a:schemeClr val="tx2"/>
                  </a:solidFill>
                </a:rPr>
                <a:t>правое меню </a:t>
              </a:r>
              <a:r>
                <a:rPr lang="en-US" sz="900" b="1" spc="-30" baseline="0">
                  <a:solidFill>
                    <a:schemeClr val="tx2"/>
                  </a:solidFill>
                </a:rPr>
                <a:t>Staff — Brand </a:t>
              </a:r>
              <a:r>
                <a:rPr lang="ru-RU" sz="900" b="1" spc="-30" baseline="0">
                  <a:solidFill>
                    <a:schemeClr val="tx2"/>
                  </a:solidFill>
                </a:rPr>
                <a:t>— Всё для презентаций. </a:t>
              </a:r>
              <a:r>
                <a:rPr lang="ru-RU" sz="900" b="0" spc="-30" baseline="0">
                  <a:solidFill>
                    <a:schemeClr val="tx2"/>
                  </a:solidFill>
                </a:rPr>
                <a:t>Или пиши нам на </a:t>
              </a:r>
              <a:r>
                <a:rPr lang="en-US" sz="900" b="0" spc="-30" baseline="0">
                  <a:solidFill>
                    <a:schemeClr val="tx2"/>
                  </a:solidFill>
                </a:rPr>
                <a:t>presentations@ozon.ru.</a:t>
              </a:r>
              <a:r>
                <a:rPr lang="ru-RU" sz="900" b="0" spc="-30" baseline="0">
                  <a:solidFill>
                    <a:schemeClr val="tx2"/>
                  </a:solidFill>
                </a:rPr>
                <a:t> </a:t>
              </a:r>
            </a:p>
          </p:txBody>
        </p:sp>
        <p:sp>
          <p:nvSpPr>
            <p:cNvPr id="74" name="Прямоугольник: скругленные углы 63">
              <a:extLst>
                <a:ext uri="{FF2B5EF4-FFF2-40B4-BE49-F238E27FC236}">
                  <a16:creationId xmlns:a16="http://schemas.microsoft.com/office/drawing/2014/main" id="{39DAF63A-0D95-7E4C-B25A-02F26405A485}"/>
                </a:ext>
              </a:extLst>
            </p:cNvPr>
            <p:cNvSpPr/>
            <p:nvPr userDrawn="1"/>
          </p:nvSpPr>
          <p:spPr>
            <a:xfrm>
              <a:off x="-944711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53C14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5" name="Прямоугольник: скругленные углы 64">
              <a:extLst>
                <a:ext uri="{FF2B5EF4-FFF2-40B4-BE49-F238E27FC236}">
                  <a16:creationId xmlns:a16="http://schemas.microsoft.com/office/drawing/2014/main" id="{F410DCAF-B1CC-D542-B1C9-32D6C9CDB88B}"/>
                </a:ext>
              </a:extLst>
            </p:cNvPr>
            <p:cNvSpPr/>
            <p:nvPr userDrawn="1"/>
          </p:nvSpPr>
          <p:spPr>
            <a:xfrm>
              <a:off x="-679648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CC4B8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6" name="Прямоугольник: скругленные углы 65">
              <a:extLst>
                <a:ext uri="{FF2B5EF4-FFF2-40B4-BE49-F238E27FC236}">
                  <a16:creationId xmlns:a16="http://schemas.microsoft.com/office/drawing/2014/main" id="{DB061076-650D-9B43-B391-0286E34B39D6}"/>
                </a:ext>
              </a:extLst>
            </p:cNvPr>
            <p:cNvSpPr/>
            <p:nvPr userDrawn="1"/>
          </p:nvSpPr>
          <p:spPr>
            <a:xfrm>
              <a:off x="-1209774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FE5B2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7" name="Прямоугольник: скругленные углы 13">
              <a:extLst>
                <a:ext uri="{FF2B5EF4-FFF2-40B4-BE49-F238E27FC236}">
                  <a16:creationId xmlns:a16="http://schemas.microsoft.com/office/drawing/2014/main" id="{A946D9E3-8CF1-6241-AF90-F423F54564F4}"/>
                </a:ext>
              </a:extLst>
            </p:cNvPr>
            <p:cNvSpPr/>
            <p:nvPr userDrawn="1"/>
          </p:nvSpPr>
          <p:spPr>
            <a:xfrm>
              <a:off x="-2004344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8" name="Прямоугольник: скругленные углы 15">
              <a:extLst>
                <a:ext uri="{FF2B5EF4-FFF2-40B4-BE49-F238E27FC236}">
                  <a16:creationId xmlns:a16="http://schemas.microsoft.com/office/drawing/2014/main" id="{E8268C33-E090-A14C-9C07-B468D91008FC}"/>
                </a:ext>
              </a:extLst>
            </p:cNvPr>
            <p:cNvSpPr/>
            <p:nvPr userDrawn="1"/>
          </p:nvSpPr>
          <p:spPr>
            <a:xfrm>
              <a:off x="-1738339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6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9" name="Прямоугольник: скругленные углы 48">
              <a:extLst>
                <a:ext uri="{FF2B5EF4-FFF2-40B4-BE49-F238E27FC236}">
                  <a16:creationId xmlns:a16="http://schemas.microsoft.com/office/drawing/2014/main" id="{62F65EA2-20EE-6B4D-865D-15F5B087A62F}"/>
                </a:ext>
              </a:extLst>
            </p:cNvPr>
            <p:cNvSpPr/>
            <p:nvPr userDrawn="1"/>
          </p:nvSpPr>
          <p:spPr>
            <a:xfrm>
              <a:off x="-1475201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tx2"/>
            </a:solidFill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0" name="Прямоугольник: скругленные углы 56">
              <a:extLst>
                <a:ext uri="{FF2B5EF4-FFF2-40B4-BE49-F238E27FC236}">
                  <a16:creationId xmlns:a16="http://schemas.microsoft.com/office/drawing/2014/main" id="{AF66D908-4146-8D46-A58F-D40A77607E33}"/>
                </a:ext>
              </a:extLst>
            </p:cNvPr>
            <p:cNvSpPr/>
            <p:nvPr userDrawn="1"/>
          </p:nvSpPr>
          <p:spPr>
            <a:xfrm>
              <a:off x="-946163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E6240D0B-2E31-9302-6B58-3B7412E1163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641985" y="6415289"/>
            <a:ext cx="1044575" cy="231716"/>
            <a:chOff x="8489504" y="910877"/>
            <a:chExt cx="2734509" cy="606592"/>
          </a:xfrm>
          <a:solidFill>
            <a:schemeClr val="bg1"/>
          </a:solidFill>
        </p:grpSpPr>
        <p:sp>
          <p:nvSpPr>
            <p:cNvPr id="6" name="Полилиния 5">
              <a:extLst>
                <a:ext uri="{FF2B5EF4-FFF2-40B4-BE49-F238E27FC236}">
                  <a16:creationId xmlns:a16="http://schemas.microsoft.com/office/drawing/2014/main" id="{BD21EFF2-72C3-0638-ECC9-89544A8A78EE}"/>
                </a:ext>
              </a:extLst>
            </p:cNvPr>
            <p:cNvSpPr/>
            <p:nvPr/>
          </p:nvSpPr>
          <p:spPr>
            <a:xfrm>
              <a:off x="10064626" y="910877"/>
              <a:ext cx="1159387" cy="606592"/>
            </a:xfrm>
            <a:custGeom>
              <a:avLst/>
              <a:gdLst>
                <a:gd name="connsiteX0" fmla="*/ 0 w 1159387"/>
                <a:gd name="connsiteY0" fmla="*/ 178242 h 606592"/>
                <a:gd name="connsiteX1" fmla="*/ 0 w 1159387"/>
                <a:gd name="connsiteY1" fmla="*/ 237024 h 606592"/>
                <a:gd name="connsiteX2" fmla="*/ 9135 w 1159387"/>
                <a:gd name="connsiteY2" fmla="*/ 246098 h 606592"/>
                <a:gd name="connsiteX3" fmla="*/ 30214 w 1159387"/>
                <a:gd name="connsiteY3" fmla="*/ 250009 h 606592"/>
                <a:gd name="connsiteX4" fmla="*/ 32261 w 1159387"/>
                <a:gd name="connsiteY4" fmla="*/ 250607 h 606592"/>
                <a:gd name="connsiteX5" fmla="*/ 85030 w 1159387"/>
                <a:gd name="connsiteY5" fmla="*/ 319338 h 606592"/>
                <a:gd name="connsiteX6" fmla="*/ 85030 w 1159387"/>
                <a:gd name="connsiteY6" fmla="*/ 483817 h 606592"/>
                <a:gd name="connsiteX7" fmla="*/ 120863 w 1159387"/>
                <a:gd name="connsiteY7" fmla="*/ 570989 h 606592"/>
                <a:gd name="connsiteX8" fmla="*/ 205874 w 1159387"/>
                <a:gd name="connsiteY8" fmla="*/ 606364 h 606592"/>
                <a:gd name="connsiteX9" fmla="*/ 207284 w 1159387"/>
                <a:gd name="connsiteY9" fmla="*/ 606364 h 606592"/>
                <a:gd name="connsiteX10" fmla="*/ 235964 w 1159387"/>
                <a:gd name="connsiteY10" fmla="*/ 606364 h 606592"/>
                <a:gd name="connsiteX11" fmla="*/ 247356 w 1159387"/>
                <a:gd name="connsiteY11" fmla="*/ 593268 h 606592"/>
                <a:gd name="connsiteX12" fmla="*/ 247337 w 1159387"/>
                <a:gd name="connsiteY12" fmla="*/ 563750 h 606592"/>
                <a:gd name="connsiteX13" fmla="*/ 247337 w 1159387"/>
                <a:gd name="connsiteY13" fmla="*/ 541928 h 606592"/>
                <a:gd name="connsiteX14" fmla="*/ 236802 w 1159387"/>
                <a:gd name="connsiteY14" fmla="*/ 530565 h 606592"/>
                <a:gd name="connsiteX15" fmla="*/ 197454 w 1159387"/>
                <a:gd name="connsiteY15" fmla="*/ 530527 h 606592"/>
                <a:gd name="connsiteX16" fmla="*/ 159506 w 1159387"/>
                <a:gd name="connsiteY16" fmla="*/ 492285 h 606592"/>
                <a:gd name="connsiteX17" fmla="*/ 159506 w 1159387"/>
                <a:gd name="connsiteY17" fmla="*/ 403084 h 606592"/>
                <a:gd name="connsiteX18" fmla="*/ 159506 w 1159387"/>
                <a:gd name="connsiteY18" fmla="*/ 316772 h 606592"/>
                <a:gd name="connsiteX19" fmla="*/ 100365 w 1159387"/>
                <a:gd name="connsiteY19" fmla="*/ 207274 h 606592"/>
                <a:gd name="connsiteX20" fmla="*/ 99080 w 1159387"/>
                <a:gd name="connsiteY20" fmla="*/ 206423 h 606592"/>
                <a:gd name="connsiteX21" fmla="*/ 100356 w 1159387"/>
                <a:gd name="connsiteY21" fmla="*/ 205547 h 606592"/>
                <a:gd name="connsiteX22" fmla="*/ 159506 w 1159387"/>
                <a:gd name="connsiteY22" fmla="*/ 90665 h 606592"/>
                <a:gd name="connsiteX23" fmla="*/ 159506 w 1159387"/>
                <a:gd name="connsiteY23" fmla="*/ 10992 h 606592"/>
                <a:gd name="connsiteX24" fmla="*/ 148962 w 1159387"/>
                <a:gd name="connsiteY24" fmla="*/ 0 h 606592"/>
                <a:gd name="connsiteX25" fmla="*/ 95565 w 1159387"/>
                <a:gd name="connsiteY25" fmla="*/ 0 h 606592"/>
                <a:gd name="connsiteX26" fmla="*/ 85030 w 1159387"/>
                <a:gd name="connsiteY26" fmla="*/ 10992 h 606592"/>
                <a:gd name="connsiteX27" fmla="*/ 85030 w 1159387"/>
                <a:gd name="connsiteY27" fmla="*/ 90665 h 606592"/>
                <a:gd name="connsiteX28" fmla="*/ 32366 w 1159387"/>
                <a:gd name="connsiteY28" fmla="*/ 162761 h 606592"/>
                <a:gd name="connsiteX29" fmla="*/ 30214 w 1159387"/>
                <a:gd name="connsiteY29" fmla="*/ 163402 h 606592"/>
                <a:gd name="connsiteX30" fmla="*/ 9135 w 1159387"/>
                <a:gd name="connsiteY30" fmla="*/ 167302 h 606592"/>
                <a:gd name="connsiteX31" fmla="*/ 0 w 1159387"/>
                <a:gd name="connsiteY31" fmla="*/ 178242 h 606592"/>
                <a:gd name="connsiteX32" fmla="*/ 933768 w 1159387"/>
                <a:gd name="connsiteY32" fmla="*/ 313343 h 606592"/>
                <a:gd name="connsiteX33" fmla="*/ 933768 w 1159387"/>
                <a:gd name="connsiteY33" fmla="*/ 468558 h 606592"/>
                <a:gd name="connsiteX34" fmla="*/ 930749 w 1159387"/>
                <a:gd name="connsiteY34" fmla="*/ 475902 h 606592"/>
                <a:gd name="connsiteX35" fmla="*/ 923472 w 1159387"/>
                <a:gd name="connsiteY35" fmla="*/ 478940 h 606592"/>
                <a:gd name="connsiteX36" fmla="*/ 869627 w 1159387"/>
                <a:gd name="connsiteY36" fmla="*/ 478902 h 606592"/>
                <a:gd name="connsiteX37" fmla="*/ 859349 w 1159387"/>
                <a:gd name="connsiteY37" fmla="*/ 468530 h 606592"/>
                <a:gd name="connsiteX38" fmla="*/ 859349 w 1159387"/>
                <a:gd name="connsiteY38" fmla="*/ 10375 h 606592"/>
                <a:gd name="connsiteX39" fmla="*/ 869636 w 1159387"/>
                <a:gd name="connsiteY39" fmla="*/ 0 h 606592"/>
                <a:gd name="connsiteX40" fmla="*/ 923472 w 1159387"/>
                <a:gd name="connsiteY40" fmla="*/ 0 h 606592"/>
                <a:gd name="connsiteX41" fmla="*/ 933768 w 1159387"/>
                <a:gd name="connsiteY41" fmla="*/ 10375 h 606592"/>
                <a:gd name="connsiteX42" fmla="*/ 933768 w 1159387"/>
                <a:gd name="connsiteY42" fmla="*/ 193355 h 606592"/>
                <a:gd name="connsiteX43" fmla="*/ 1159388 w 1159387"/>
                <a:gd name="connsiteY43" fmla="*/ 312995 h 606592"/>
                <a:gd name="connsiteX44" fmla="*/ 1159388 w 1159387"/>
                <a:gd name="connsiteY44" fmla="*/ 468520 h 606592"/>
                <a:gd name="connsiteX45" fmla="*/ 1156378 w 1159387"/>
                <a:gd name="connsiteY45" fmla="*/ 475854 h 606592"/>
                <a:gd name="connsiteX46" fmla="*/ 1149101 w 1159387"/>
                <a:gd name="connsiteY46" fmla="*/ 478893 h 606592"/>
                <a:gd name="connsiteX47" fmla="*/ 1095199 w 1159387"/>
                <a:gd name="connsiteY47" fmla="*/ 478893 h 606592"/>
                <a:gd name="connsiteX48" fmla="*/ 1087922 w 1159387"/>
                <a:gd name="connsiteY48" fmla="*/ 475854 h 606592"/>
                <a:gd name="connsiteX49" fmla="*/ 1084912 w 1159387"/>
                <a:gd name="connsiteY49" fmla="*/ 468520 h 606592"/>
                <a:gd name="connsiteX50" fmla="*/ 1084912 w 1159387"/>
                <a:gd name="connsiteY50" fmla="*/ 312995 h 606592"/>
                <a:gd name="connsiteX51" fmla="*/ 966868 w 1159387"/>
                <a:gd name="connsiteY51" fmla="*/ 246504 h 606592"/>
                <a:gd name="connsiteX52" fmla="*/ 933768 w 1159387"/>
                <a:gd name="connsiteY52" fmla="*/ 313343 h 606592"/>
                <a:gd name="connsiteX53" fmla="*/ 596563 w 1159387"/>
                <a:gd name="connsiteY53" fmla="*/ 207040 h 606592"/>
                <a:gd name="connsiteX54" fmla="*/ 549471 w 1159387"/>
                <a:gd name="connsiteY54" fmla="*/ 323084 h 606592"/>
                <a:gd name="connsiteX55" fmla="*/ 596563 w 1159387"/>
                <a:gd name="connsiteY55" fmla="*/ 439145 h 606592"/>
                <a:gd name="connsiteX56" fmla="*/ 797522 w 1159387"/>
                <a:gd name="connsiteY56" fmla="*/ 460995 h 606592"/>
                <a:gd name="connsiteX57" fmla="*/ 799923 w 1159387"/>
                <a:gd name="connsiteY57" fmla="*/ 459357 h 606592"/>
                <a:gd name="connsiteX58" fmla="*/ 805247 w 1159387"/>
                <a:gd name="connsiteY58" fmla="*/ 455385 h 606592"/>
                <a:gd name="connsiteX59" fmla="*/ 806018 w 1159387"/>
                <a:gd name="connsiteY59" fmla="*/ 438745 h 606592"/>
                <a:gd name="connsiteX60" fmla="*/ 790226 w 1159387"/>
                <a:gd name="connsiteY60" fmla="*/ 417067 h 606592"/>
                <a:gd name="connsiteX61" fmla="*/ 776110 w 1159387"/>
                <a:gd name="connsiteY61" fmla="*/ 397747 h 606592"/>
                <a:gd name="connsiteX62" fmla="*/ 760975 w 1159387"/>
                <a:gd name="connsiteY62" fmla="*/ 394585 h 606592"/>
                <a:gd name="connsiteX63" fmla="*/ 757003 w 1159387"/>
                <a:gd name="connsiteY63" fmla="*/ 397067 h 606592"/>
                <a:gd name="connsiteX64" fmla="*/ 619737 w 1159387"/>
                <a:gd name="connsiteY64" fmla="*/ 323084 h 606592"/>
                <a:gd name="connsiteX65" fmla="*/ 756945 w 1159387"/>
                <a:gd name="connsiteY65" fmla="*/ 249203 h 606592"/>
                <a:gd name="connsiteX66" fmla="*/ 760975 w 1159387"/>
                <a:gd name="connsiteY66" fmla="*/ 251591 h 606592"/>
                <a:gd name="connsiteX67" fmla="*/ 776148 w 1159387"/>
                <a:gd name="connsiteY67" fmla="*/ 248416 h 606592"/>
                <a:gd name="connsiteX68" fmla="*/ 790207 w 1159387"/>
                <a:gd name="connsiteY68" fmla="*/ 229138 h 606592"/>
                <a:gd name="connsiteX69" fmla="*/ 804618 w 1159387"/>
                <a:gd name="connsiteY69" fmla="*/ 209395 h 606592"/>
                <a:gd name="connsiteX70" fmla="*/ 799903 w 1159387"/>
                <a:gd name="connsiteY70" fmla="*/ 186809 h 606592"/>
                <a:gd name="connsiteX71" fmla="*/ 797522 w 1159387"/>
                <a:gd name="connsiteY71" fmla="*/ 185195 h 606592"/>
                <a:gd name="connsiteX72" fmla="*/ 596563 w 1159387"/>
                <a:gd name="connsiteY72" fmla="*/ 207040 h 606592"/>
                <a:gd name="connsiteX73" fmla="*/ 293714 w 1159387"/>
                <a:gd name="connsiteY73" fmla="*/ 350313 h 606592"/>
                <a:gd name="connsiteX74" fmla="*/ 469385 w 1159387"/>
                <a:gd name="connsiteY74" fmla="*/ 350313 h 606592"/>
                <a:gd name="connsiteX75" fmla="*/ 507323 w 1159387"/>
                <a:gd name="connsiteY75" fmla="*/ 312290 h 606592"/>
                <a:gd name="connsiteX76" fmla="*/ 472890 w 1159387"/>
                <a:gd name="connsiteY76" fmla="*/ 208836 h 606592"/>
                <a:gd name="connsiteX77" fmla="*/ 368190 w 1159387"/>
                <a:gd name="connsiteY77" fmla="*/ 159530 h 606592"/>
                <a:gd name="connsiteX78" fmla="*/ 219228 w 1159387"/>
                <a:gd name="connsiteY78" fmla="*/ 323103 h 606592"/>
                <a:gd name="connsiteX79" fmla="*/ 375915 w 1159387"/>
                <a:gd name="connsiteY79" fmla="*/ 486674 h 606592"/>
                <a:gd name="connsiteX80" fmla="*/ 502398 w 1159387"/>
                <a:gd name="connsiteY80" fmla="*/ 450623 h 606592"/>
                <a:gd name="connsiteX81" fmla="*/ 505913 w 1159387"/>
                <a:gd name="connsiteY81" fmla="*/ 435907 h 606592"/>
                <a:gd name="connsiteX82" fmla="*/ 504818 w 1159387"/>
                <a:gd name="connsiteY82" fmla="*/ 434088 h 606592"/>
                <a:gd name="connsiteX83" fmla="*/ 478519 w 1159387"/>
                <a:gd name="connsiteY83" fmla="*/ 391689 h 606592"/>
                <a:gd name="connsiteX84" fmla="*/ 464460 w 1159387"/>
                <a:gd name="connsiteY84" fmla="*/ 388476 h 606592"/>
                <a:gd name="connsiteX85" fmla="*/ 377335 w 1159387"/>
                <a:gd name="connsiteY85" fmla="*/ 414990 h 606592"/>
                <a:gd name="connsiteX86" fmla="*/ 293714 w 1159387"/>
                <a:gd name="connsiteY86" fmla="*/ 350313 h 606592"/>
                <a:gd name="connsiteX87" fmla="*/ 430732 w 1159387"/>
                <a:gd name="connsiteY87" fmla="*/ 287912 h 606592"/>
                <a:gd name="connsiteX88" fmla="*/ 368190 w 1159387"/>
                <a:gd name="connsiteY88" fmla="*/ 232071 h 606592"/>
                <a:gd name="connsiteX89" fmla="*/ 296524 w 1159387"/>
                <a:gd name="connsiteY89" fmla="*/ 287912 h 606592"/>
                <a:gd name="connsiteX90" fmla="*/ 430732 w 1159387"/>
                <a:gd name="connsiteY90" fmla="*/ 287912 h 606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</a:cxnLst>
              <a:rect l="l" t="t" r="r" b="b"/>
              <a:pathLst>
                <a:path w="1159387" h="606592">
                  <a:moveTo>
                    <a:pt x="0" y="178242"/>
                  </a:moveTo>
                  <a:lnTo>
                    <a:pt x="0" y="237024"/>
                  </a:lnTo>
                  <a:cubicBezTo>
                    <a:pt x="695" y="241577"/>
                    <a:pt x="4220" y="245266"/>
                    <a:pt x="9135" y="246098"/>
                  </a:cubicBezTo>
                  <a:cubicBezTo>
                    <a:pt x="16869" y="247387"/>
                    <a:pt x="27404" y="249197"/>
                    <a:pt x="30214" y="250009"/>
                  </a:cubicBezTo>
                  <a:cubicBezTo>
                    <a:pt x="30833" y="250193"/>
                    <a:pt x="31518" y="250390"/>
                    <a:pt x="32261" y="250607"/>
                  </a:cubicBezTo>
                  <a:cubicBezTo>
                    <a:pt x="46749" y="254784"/>
                    <a:pt x="83697" y="265433"/>
                    <a:pt x="85030" y="319338"/>
                  </a:cubicBezTo>
                  <a:lnTo>
                    <a:pt x="85030" y="483817"/>
                  </a:lnTo>
                  <a:cubicBezTo>
                    <a:pt x="85030" y="516573"/>
                    <a:pt x="97670" y="547958"/>
                    <a:pt x="120863" y="570989"/>
                  </a:cubicBezTo>
                  <a:cubicBezTo>
                    <a:pt x="143342" y="593696"/>
                    <a:pt x="174261" y="606402"/>
                    <a:pt x="205874" y="606364"/>
                  </a:cubicBezTo>
                  <a:lnTo>
                    <a:pt x="207284" y="606364"/>
                  </a:lnTo>
                  <a:cubicBezTo>
                    <a:pt x="207284" y="606364"/>
                    <a:pt x="207284" y="606879"/>
                    <a:pt x="235964" y="606364"/>
                  </a:cubicBezTo>
                  <a:cubicBezTo>
                    <a:pt x="243232" y="606231"/>
                    <a:pt x="247461" y="601383"/>
                    <a:pt x="247356" y="593268"/>
                  </a:cubicBezTo>
                  <a:cubicBezTo>
                    <a:pt x="247222" y="582028"/>
                    <a:pt x="247527" y="573246"/>
                    <a:pt x="247337" y="563750"/>
                  </a:cubicBezTo>
                  <a:cubicBezTo>
                    <a:pt x="247184" y="555816"/>
                    <a:pt x="247337" y="548520"/>
                    <a:pt x="247337" y="541928"/>
                  </a:cubicBezTo>
                  <a:cubicBezTo>
                    <a:pt x="247337" y="535804"/>
                    <a:pt x="242422" y="530794"/>
                    <a:pt x="236802" y="530565"/>
                  </a:cubicBezTo>
                  <a:cubicBezTo>
                    <a:pt x="226258" y="530527"/>
                    <a:pt x="211504" y="530527"/>
                    <a:pt x="197454" y="530527"/>
                  </a:cubicBezTo>
                  <a:cubicBezTo>
                    <a:pt x="177071" y="530527"/>
                    <a:pt x="159506" y="513401"/>
                    <a:pt x="159506" y="492285"/>
                  </a:cubicBezTo>
                  <a:lnTo>
                    <a:pt x="159506" y="403084"/>
                  </a:lnTo>
                  <a:cubicBezTo>
                    <a:pt x="160202" y="402874"/>
                    <a:pt x="159506" y="317750"/>
                    <a:pt x="159506" y="316772"/>
                  </a:cubicBezTo>
                  <a:cubicBezTo>
                    <a:pt x="157544" y="243958"/>
                    <a:pt x="109233" y="212964"/>
                    <a:pt x="100365" y="207274"/>
                  </a:cubicBezTo>
                  <a:cubicBezTo>
                    <a:pt x="99708" y="206855"/>
                    <a:pt x="99270" y="206569"/>
                    <a:pt x="99080" y="206423"/>
                  </a:cubicBezTo>
                  <a:cubicBezTo>
                    <a:pt x="99270" y="206264"/>
                    <a:pt x="99708" y="205979"/>
                    <a:pt x="100356" y="205547"/>
                  </a:cubicBezTo>
                  <a:cubicBezTo>
                    <a:pt x="109395" y="199604"/>
                    <a:pt x="159506" y="166622"/>
                    <a:pt x="159506" y="90665"/>
                  </a:cubicBezTo>
                  <a:lnTo>
                    <a:pt x="159506" y="10992"/>
                  </a:lnTo>
                  <a:cubicBezTo>
                    <a:pt x="159506" y="4922"/>
                    <a:pt x="155287" y="0"/>
                    <a:pt x="148962" y="0"/>
                  </a:cubicBezTo>
                  <a:lnTo>
                    <a:pt x="95565" y="0"/>
                  </a:lnTo>
                  <a:cubicBezTo>
                    <a:pt x="89945" y="0"/>
                    <a:pt x="85030" y="4922"/>
                    <a:pt x="85030" y="10992"/>
                  </a:cubicBezTo>
                  <a:lnTo>
                    <a:pt x="85030" y="90665"/>
                  </a:lnTo>
                  <a:cubicBezTo>
                    <a:pt x="85030" y="147350"/>
                    <a:pt x="47054" y="158469"/>
                    <a:pt x="32366" y="162761"/>
                  </a:cubicBezTo>
                  <a:cubicBezTo>
                    <a:pt x="31576" y="162997"/>
                    <a:pt x="30861" y="163206"/>
                    <a:pt x="30214" y="163402"/>
                  </a:cubicBezTo>
                  <a:cubicBezTo>
                    <a:pt x="27404" y="164209"/>
                    <a:pt x="16869" y="166026"/>
                    <a:pt x="9135" y="167302"/>
                  </a:cubicBezTo>
                  <a:cubicBezTo>
                    <a:pt x="3515" y="168248"/>
                    <a:pt x="0" y="172858"/>
                    <a:pt x="0" y="178242"/>
                  </a:cubicBezTo>
                  <a:close/>
                  <a:moveTo>
                    <a:pt x="933768" y="313343"/>
                  </a:moveTo>
                  <a:lnTo>
                    <a:pt x="933768" y="468558"/>
                  </a:lnTo>
                  <a:cubicBezTo>
                    <a:pt x="933768" y="471320"/>
                    <a:pt x="932682" y="473949"/>
                    <a:pt x="930749" y="475902"/>
                  </a:cubicBezTo>
                  <a:cubicBezTo>
                    <a:pt x="928825" y="477845"/>
                    <a:pt x="926206" y="478940"/>
                    <a:pt x="923472" y="478940"/>
                  </a:cubicBezTo>
                  <a:cubicBezTo>
                    <a:pt x="909270" y="478921"/>
                    <a:pt x="883819" y="478912"/>
                    <a:pt x="869627" y="478902"/>
                  </a:cubicBezTo>
                  <a:cubicBezTo>
                    <a:pt x="863950" y="478893"/>
                    <a:pt x="859349" y="474254"/>
                    <a:pt x="859349" y="468530"/>
                  </a:cubicBezTo>
                  <a:cubicBezTo>
                    <a:pt x="859349" y="405427"/>
                    <a:pt x="859349" y="73513"/>
                    <a:pt x="859349" y="10375"/>
                  </a:cubicBezTo>
                  <a:cubicBezTo>
                    <a:pt x="859349" y="4648"/>
                    <a:pt x="863959" y="0"/>
                    <a:pt x="869636" y="0"/>
                  </a:cubicBezTo>
                  <a:cubicBezTo>
                    <a:pt x="883838" y="0"/>
                    <a:pt x="909279" y="0"/>
                    <a:pt x="923472" y="0"/>
                  </a:cubicBezTo>
                  <a:cubicBezTo>
                    <a:pt x="929158" y="0"/>
                    <a:pt x="933768" y="4648"/>
                    <a:pt x="933768" y="10375"/>
                  </a:cubicBezTo>
                  <a:cubicBezTo>
                    <a:pt x="933768" y="50513"/>
                    <a:pt x="933768" y="193355"/>
                    <a:pt x="933768" y="193355"/>
                  </a:cubicBezTo>
                  <a:cubicBezTo>
                    <a:pt x="1013169" y="118433"/>
                    <a:pt x="1159388" y="172318"/>
                    <a:pt x="1159388" y="312995"/>
                  </a:cubicBezTo>
                  <a:lnTo>
                    <a:pt x="1159388" y="468520"/>
                  </a:lnTo>
                  <a:cubicBezTo>
                    <a:pt x="1159388" y="471273"/>
                    <a:pt x="1158302" y="473911"/>
                    <a:pt x="1156378" y="475854"/>
                  </a:cubicBezTo>
                  <a:cubicBezTo>
                    <a:pt x="1154445" y="477797"/>
                    <a:pt x="1151835" y="478893"/>
                    <a:pt x="1149101" y="478893"/>
                  </a:cubicBezTo>
                  <a:cubicBezTo>
                    <a:pt x="1134899" y="478893"/>
                    <a:pt x="1109401" y="478893"/>
                    <a:pt x="1095199" y="478893"/>
                  </a:cubicBezTo>
                  <a:cubicBezTo>
                    <a:pt x="1092465" y="478893"/>
                    <a:pt x="1089855" y="477797"/>
                    <a:pt x="1087922" y="475854"/>
                  </a:cubicBezTo>
                  <a:cubicBezTo>
                    <a:pt x="1085998" y="473911"/>
                    <a:pt x="1084912" y="471273"/>
                    <a:pt x="1084912" y="468520"/>
                  </a:cubicBezTo>
                  <a:cubicBezTo>
                    <a:pt x="1084912" y="432211"/>
                    <a:pt x="1084912" y="312995"/>
                    <a:pt x="1084912" y="312995"/>
                  </a:cubicBezTo>
                  <a:cubicBezTo>
                    <a:pt x="1084912" y="239513"/>
                    <a:pt x="1011121" y="217047"/>
                    <a:pt x="966868" y="246504"/>
                  </a:cubicBezTo>
                  <a:cubicBezTo>
                    <a:pt x="947885" y="259141"/>
                    <a:pt x="933768" y="281804"/>
                    <a:pt x="933768" y="313343"/>
                  </a:cubicBezTo>
                  <a:close/>
                  <a:moveTo>
                    <a:pt x="596563" y="207040"/>
                  </a:moveTo>
                  <a:cubicBezTo>
                    <a:pt x="564235" y="238922"/>
                    <a:pt x="549471" y="280953"/>
                    <a:pt x="549471" y="323084"/>
                  </a:cubicBezTo>
                  <a:cubicBezTo>
                    <a:pt x="549471" y="365223"/>
                    <a:pt x="564235" y="407246"/>
                    <a:pt x="596563" y="439145"/>
                  </a:cubicBezTo>
                  <a:cubicBezTo>
                    <a:pt x="650665" y="494085"/>
                    <a:pt x="734285" y="501400"/>
                    <a:pt x="797522" y="460995"/>
                  </a:cubicBezTo>
                  <a:cubicBezTo>
                    <a:pt x="798208" y="460481"/>
                    <a:pt x="799037" y="459938"/>
                    <a:pt x="799923" y="459357"/>
                  </a:cubicBezTo>
                  <a:cubicBezTo>
                    <a:pt x="801761" y="458147"/>
                    <a:pt x="803828" y="456795"/>
                    <a:pt x="805247" y="455385"/>
                  </a:cubicBezTo>
                  <a:cubicBezTo>
                    <a:pt x="808762" y="451909"/>
                    <a:pt x="810762" y="445470"/>
                    <a:pt x="806018" y="438745"/>
                  </a:cubicBezTo>
                  <a:cubicBezTo>
                    <a:pt x="801761" y="432697"/>
                    <a:pt x="796170" y="425153"/>
                    <a:pt x="790226" y="417067"/>
                  </a:cubicBezTo>
                  <a:cubicBezTo>
                    <a:pt x="785121" y="410132"/>
                    <a:pt x="780339" y="403665"/>
                    <a:pt x="776110" y="397747"/>
                  </a:cubicBezTo>
                  <a:cubicBezTo>
                    <a:pt x="772671" y="392947"/>
                    <a:pt x="765890" y="391664"/>
                    <a:pt x="760975" y="394585"/>
                  </a:cubicBezTo>
                  <a:cubicBezTo>
                    <a:pt x="759565" y="395461"/>
                    <a:pt x="758393" y="396172"/>
                    <a:pt x="757003" y="397067"/>
                  </a:cubicBezTo>
                  <a:cubicBezTo>
                    <a:pt x="686032" y="442936"/>
                    <a:pt x="619737" y="382374"/>
                    <a:pt x="619737" y="323084"/>
                  </a:cubicBezTo>
                  <a:cubicBezTo>
                    <a:pt x="619737" y="263795"/>
                    <a:pt x="687384" y="203573"/>
                    <a:pt x="756945" y="249203"/>
                  </a:cubicBezTo>
                  <a:cubicBezTo>
                    <a:pt x="758308" y="250105"/>
                    <a:pt x="759565" y="250708"/>
                    <a:pt x="760975" y="251591"/>
                  </a:cubicBezTo>
                  <a:cubicBezTo>
                    <a:pt x="765890" y="254512"/>
                    <a:pt x="772805" y="253115"/>
                    <a:pt x="776148" y="248416"/>
                  </a:cubicBezTo>
                  <a:cubicBezTo>
                    <a:pt x="780377" y="242497"/>
                    <a:pt x="785102" y="236065"/>
                    <a:pt x="790207" y="229138"/>
                  </a:cubicBezTo>
                  <a:cubicBezTo>
                    <a:pt x="795560" y="221854"/>
                    <a:pt x="800580" y="215072"/>
                    <a:pt x="804618" y="209395"/>
                  </a:cubicBezTo>
                  <a:cubicBezTo>
                    <a:pt x="811362" y="199928"/>
                    <a:pt x="809571" y="193191"/>
                    <a:pt x="799903" y="186809"/>
                  </a:cubicBezTo>
                  <a:cubicBezTo>
                    <a:pt x="799027" y="186231"/>
                    <a:pt x="798199" y="185691"/>
                    <a:pt x="797522" y="185195"/>
                  </a:cubicBezTo>
                  <a:cubicBezTo>
                    <a:pt x="734285" y="144778"/>
                    <a:pt x="650665" y="152087"/>
                    <a:pt x="596563" y="207040"/>
                  </a:cubicBezTo>
                  <a:close/>
                  <a:moveTo>
                    <a:pt x="293714" y="350313"/>
                  </a:moveTo>
                  <a:lnTo>
                    <a:pt x="469385" y="350313"/>
                  </a:lnTo>
                  <a:cubicBezTo>
                    <a:pt x="490463" y="350313"/>
                    <a:pt x="507323" y="333283"/>
                    <a:pt x="507323" y="312290"/>
                  </a:cubicBezTo>
                  <a:cubicBezTo>
                    <a:pt x="507323" y="265561"/>
                    <a:pt x="499588" y="240644"/>
                    <a:pt x="472890" y="208836"/>
                  </a:cubicBezTo>
                  <a:cubicBezTo>
                    <a:pt x="445486" y="176865"/>
                    <a:pt x="401919" y="159530"/>
                    <a:pt x="368190" y="159530"/>
                  </a:cubicBezTo>
                  <a:cubicBezTo>
                    <a:pt x="283875" y="159530"/>
                    <a:pt x="219228" y="231722"/>
                    <a:pt x="219228" y="323103"/>
                  </a:cubicBezTo>
                  <a:cubicBezTo>
                    <a:pt x="219228" y="435697"/>
                    <a:pt x="306354" y="486674"/>
                    <a:pt x="375915" y="486674"/>
                  </a:cubicBezTo>
                  <a:cubicBezTo>
                    <a:pt x="425807" y="486674"/>
                    <a:pt x="464460" y="474616"/>
                    <a:pt x="502398" y="450623"/>
                  </a:cubicBezTo>
                  <a:cubicBezTo>
                    <a:pt x="506618" y="447470"/>
                    <a:pt x="508723" y="441003"/>
                    <a:pt x="505913" y="435907"/>
                  </a:cubicBezTo>
                  <a:lnTo>
                    <a:pt x="504818" y="434088"/>
                  </a:lnTo>
                  <a:cubicBezTo>
                    <a:pt x="497150" y="421362"/>
                    <a:pt x="486558" y="403789"/>
                    <a:pt x="478519" y="391689"/>
                  </a:cubicBezTo>
                  <a:cubicBezTo>
                    <a:pt x="475709" y="386901"/>
                    <a:pt x="469385" y="385492"/>
                    <a:pt x="464460" y="388476"/>
                  </a:cubicBezTo>
                  <a:cubicBezTo>
                    <a:pt x="440571" y="402722"/>
                    <a:pt x="415273" y="415266"/>
                    <a:pt x="377335" y="414990"/>
                  </a:cubicBezTo>
                  <a:cubicBezTo>
                    <a:pt x="342197" y="414742"/>
                    <a:pt x="304954" y="392280"/>
                    <a:pt x="293714" y="350313"/>
                  </a:cubicBezTo>
                  <a:close/>
                  <a:moveTo>
                    <a:pt x="430732" y="287912"/>
                  </a:moveTo>
                  <a:cubicBezTo>
                    <a:pt x="424407" y="240694"/>
                    <a:pt x="392079" y="232071"/>
                    <a:pt x="368190" y="232071"/>
                  </a:cubicBezTo>
                  <a:cubicBezTo>
                    <a:pt x="335872" y="232071"/>
                    <a:pt x="308478" y="256182"/>
                    <a:pt x="296524" y="287912"/>
                  </a:cubicBezTo>
                  <a:lnTo>
                    <a:pt x="430732" y="287912"/>
                  </a:lnTo>
                  <a:close/>
                </a:path>
              </a:pathLst>
            </a:custGeom>
            <a:grpFill/>
            <a:ln w="76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7" name="Полилиния 6">
              <a:extLst>
                <a:ext uri="{FF2B5EF4-FFF2-40B4-BE49-F238E27FC236}">
                  <a16:creationId xmlns:a16="http://schemas.microsoft.com/office/drawing/2014/main" id="{9DE992BE-FEB7-1686-D574-50BC69748A79}"/>
                </a:ext>
              </a:extLst>
            </p:cNvPr>
            <p:cNvSpPr/>
            <p:nvPr/>
          </p:nvSpPr>
          <p:spPr>
            <a:xfrm>
              <a:off x="8489504" y="1070894"/>
              <a:ext cx="1492273" cy="326563"/>
            </a:xfrm>
            <a:custGeom>
              <a:avLst/>
              <a:gdLst>
                <a:gd name="connsiteX0" fmla="*/ 180273 w 1492273"/>
                <a:gd name="connsiteY0" fmla="*/ 900 h 326563"/>
                <a:gd name="connsiteX1" fmla="*/ 83526 w 1492273"/>
                <a:gd name="connsiteY1" fmla="*/ 20775 h 326563"/>
                <a:gd name="connsiteX2" fmla="*/ 15954 w 1492273"/>
                <a:gd name="connsiteY2" fmla="*/ 92853 h 326563"/>
                <a:gd name="connsiteX3" fmla="*/ 2323 w 1492273"/>
                <a:gd name="connsiteY3" fmla="*/ 190737 h 326563"/>
                <a:gd name="connsiteX4" fmla="*/ 47618 w 1492273"/>
                <a:gd name="connsiteY4" fmla="*/ 278557 h 326563"/>
                <a:gd name="connsiteX5" fmla="*/ 135243 w 1492273"/>
                <a:gd name="connsiteY5" fmla="*/ 324153 h 326563"/>
                <a:gd name="connsiteX6" fmla="*/ 233098 w 1492273"/>
                <a:gd name="connsiteY6" fmla="*/ 310818 h 326563"/>
                <a:gd name="connsiteX7" fmla="*/ 305341 w 1492273"/>
                <a:gd name="connsiteY7" fmla="*/ 243429 h 326563"/>
                <a:gd name="connsiteX8" fmla="*/ 325507 w 1492273"/>
                <a:gd name="connsiteY8" fmla="*/ 146675 h 326563"/>
                <a:gd name="connsiteX9" fmla="*/ 278778 w 1492273"/>
                <a:gd name="connsiteY9" fmla="*/ 47965 h 326563"/>
                <a:gd name="connsiteX10" fmla="*/ 180273 w 1492273"/>
                <a:gd name="connsiteY10" fmla="*/ 900 h 326563"/>
                <a:gd name="connsiteX11" fmla="*/ 174984 w 1492273"/>
                <a:gd name="connsiteY11" fmla="*/ 249697 h 326563"/>
                <a:gd name="connsiteX12" fmla="*/ 122555 w 1492273"/>
                <a:gd name="connsiteY12" fmla="*/ 240277 h 326563"/>
                <a:gd name="connsiteX13" fmla="*/ 85427 w 1492273"/>
                <a:gd name="connsiteY13" fmla="*/ 202047 h 326563"/>
                <a:gd name="connsiteX14" fmla="*/ 77507 w 1492273"/>
                <a:gd name="connsiteY14" fmla="*/ 149329 h 326563"/>
                <a:gd name="connsiteX15" fmla="*/ 101766 w 1492273"/>
                <a:gd name="connsiteY15" fmla="*/ 101883 h 326563"/>
                <a:gd name="connsiteX16" fmla="*/ 149113 w 1492273"/>
                <a:gd name="connsiteY16" fmla="*/ 77461 h 326563"/>
                <a:gd name="connsiteX17" fmla="*/ 201825 w 1492273"/>
                <a:gd name="connsiteY17" fmla="*/ 85220 h 326563"/>
                <a:gd name="connsiteX18" fmla="*/ 240132 w 1492273"/>
                <a:gd name="connsiteY18" fmla="*/ 122247 h 326563"/>
                <a:gd name="connsiteX19" fmla="*/ 249714 w 1492273"/>
                <a:gd name="connsiteY19" fmla="*/ 174684 h 326563"/>
                <a:gd name="connsiteX20" fmla="*/ 225058 w 1492273"/>
                <a:gd name="connsiteY20" fmla="*/ 224868 h 326563"/>
                <a:gd name="connsiteX21" fmla="*/ 174984 w 1492273"/>
                <a:gd name="connsiteY21" fmla="*/ 249697 h 326563"/>
                <a:gd name="connsiteX22" fmla="*/ 412780 w 1492273"/>
                <a:gd name="connsiteY22" fmla="*/ 7358 h 326563"/>
                <a:gd name="connsiteX23" fmla="*/ 396435 w 1492273"/>
                <a:gd name="connsiteY23" fmla="*/ 11091 h 326563"/>
                <a:gd name="connsiteX24" fmla="*/ 383276 w 1492273"/>
                <a:gd name="connsiteY24" fmla="*/ 21498 h 326563"/>
                <a:gd name="connsiteX25" fmla="*/ 375859 w 1492273"/>
                <a:gd name="connsiteY25" fmla="*/ 36548 h 326563"/>
                <a:gd name="connsiteX26" fmla="*/ 375620 w 1492273"/>
                <a:gd name="connsiteY26" fmla="*/ 53325 h 326563"/>
                <a:gd name="connsiteX27" fmla="*/ 414209 w 1492273"/>
                <a:gd name="connsiteY27" fmla="*/ 83537 h 326563"/>
                <a:gd name="connsiteX28" fmla="*/ 520143 w 1492273"/>
                <a:gd name="connsiteY28" fmla="*/ 83537 h 326563"/>
                <a:gd name="connsiteX29" fmla="*/ 355289 w 1492273"/>
                <a:gd name="connsiteY29" fmla="*/ 301846 h 326563"/>
                <a:gd name="connsiteX30" fmla="*/ 353136 w 1492273"/>
                <a:gd name="connsiteY30" fmla="*/ 307389 h 326563"/>
                <a:gd name="connsiteX31" fmla="*/ 354212 w 1492273"/>
                <a:gd name="connsiteY31" fmla="*/ 313237 h 326563"/>
                <a:gd name="connsiteX32" fmla="*/ 358204 w 1492273"/>
                <a:gd name="connsiteY32" fmla="*/ 317647 h 326563"/>
                <a:gd name="connsiteX33" fmla="*/ 363921 w 1492273"/>
                <a:gd name="connsiteY33" fmla="*/ 319295 h 326563"/>
                <a:gd name="connsiteX34" fmla="*/ 622504 w 1492273"/>
                <a:gd name="connsiteY34" fmla="*/ 319295 h 326563"/>
                <a:gd name="connsiteX35" fmla="*/ 661099 w 1492273"/>
                <a:gd name="connsiteY35" fmla="*/ 289082 h 326563"/>
                <a:gd name="connsiteX36" fmla="*/ 660861 w 1492273"/>
                <a:gd name="connsiteY36" fmla="*/ 272299 h 326563"/>
                <a:gd name="connsiteX37" fmla="*/ 653451 w 1492273"/>
                <a:gd name="connsiteY37" fmla="*/ 257250 h 326563"/>
                <a:gd name="connsiteX38" fmla="*/ 640297 w 1492273"/>
                <a:gd name="connsiteY38" fmla="*/ 246849 h 326563"/>
                <a:gd name="connsiteX39" fmla="*/ 623952 w 1492273"/>
                <a:gd name="connsiteY39" fmla="*/ 243105 h 326563"/>
                <a:gd name="connsiteX40" fmla="*/ 494883 w 1492273"/>
                <a:gd name="connsiteY40" fmla="*/ 243105 h 326563"/>
                <a:gd name="connsiteX41" fmla="*/ 659613 w 1492273"/>
                <a:gd name="connsiteY41" fmla="*/ 24972 h 326563"/>
                <a:gd name="connsiteX42" fmla="*/ 661785 w 1492273"/>
                <a:gd name="connsiteY42" fmla="*/ 19371 h 326563"/>
                <a:gd name="connsiteX43" fmla="*/ 660690 w 1492273"/>
                <a:gd name="connsiteY43" fmla="*/ 13473 h 326563"/>
                <a:gd name="connsiteX44" fmla="*/ 656661 w 1492273"/>
                <a:gd name="connsiteY44" fmla="*/ 9021 h 326563"/>
                <a:gd name="connsiteX45" fmla="*/ 650888 w 1492273"/>
                <a:gd name="connsiteY45" fmla="*/ 7358 h 326563"/>
                <a:gd name="connsiteX46" fmla="*/ 412780 w 1492273"/>
                <a:gd name="connsiteY46" fmla="*/ 7358 h 326563"/>
                <a:gd name="connsiteX47" fmla="*/ 1446105 w 1492273"/>
                <a:gd name="connsiteY47" fmla="*/ 8240 h 326563"/>
                <a:gd name="connsiteX48" fmla="*/ 1424484 w 1492273"/>
                <a:gd name="connsiteY48" fmla="*/ 22127 h 326563"/>
                <a:gd name="connsiteX49" fmla="*/ 1416378 w 1492273"/>
                <a:gd name="connsiteY49" fmla="*/ 46473 h 326563"/>
                <a:gd name="connsiteX50" fmla="*/ 1416378 w 1492273"/>
                <a:gd name="connsiteY50" fmla="*/ 173313 h 326563"/>
                <a:gd name="connsiteX51" fmla="*/ 1210980 w 1492273"/>
                <a:gd name="connsiteY51" fmla="*/ 9758 h 326563"/>
                <a:gd name="connsiteX52" fmla="*/ 1205389 w 1492273"/>
                <a:gd name="connsiteY52" fmla="*/ 7453 h 326563"/>
                <a:gd name="connsiteX53" fmla="*/ 1199426 w 1492273"/>
                <a:gd name="connsiteY53" fmla="*/ 8482 h 326563"/>
                <a:gd name="connsiteX54" fmla="*/ 1194921 w 1492273"/>
                <a:gd name="connsiteY54" fmla="*/ 12520 h 326563"/>
                <a:gd name="connsiteX55" fmla="*/ 1193263 w 1492273"/>
                <a:gd name="connsiteY55" fmla="*/ 18343 h 326563"/>
                <a:gd name="connsiteX56" fmla="*/ 1193263 w 1492273"/>
                <a:gd name="connsiteY56" fmla="*/ 280243 h 326563"/>
                <a:gd name="connsiteX57" fmla="*/ 1201388 w 1492273"/>
                <a:gd name="connsiteY57" fmla="*/ 304589 h 326563"/>
                <a:gd name="connsiteX58" fmla="*/ 1222962 w 1492273"/>
                <a:gd name="connsiteY58" fmla="*/ 318486 h 326563"/>
                <a:gd name="connsiteX59" fmla="*/ 1239803 w 1492273"/>
                <a:gd name="connsiteY59" fmla="*/ 318362 h 326563"/>
                <a:gd name="connsiteX60" fmla="*/ 1254966 w 1492273"/>
                <a:gd name="connsiteY60" fmla="*/ 310961 h 326563"/>
                <a:gd name="connsiteX61" fmla="*/ 1265444 w 1492273"/>
                <a:gd name="connsiteY61" fmla="*/ 297721 h 326563"/>
                <a:gd name="connsiteX62" fmla="*/ 1269159 w 1492273"/>
                <a:gd name="connsiteY62" fmla="*/ 281272 h 326563"/>
                <a:gd name="connsiteX63" fmla="*/ 1269159 w 1492273"/>
                <a:gd name="connsiteY63" fmla="*/ 153323 h 326563"/>
                <a:gd name="connsiteX64" fmla="*/ 1474538 w 1492273"/>
                <a:gd name="connsiteY64" fmla="*/ 316885 h 326563"/>
                <a:gd name="connsiteX65" fmla="*/ 1480148 w 1492273"/>
                <a:gd name="connsiteY65" fmla="*/ 319190 h 326563"/>
                <a:gd name="connsiteX66" fmla="*/ 1486120 w 1492273"/>
                <a:gd name="connsiteY66" fmla="*/ 318162 h 326563"/>
                <a:gd name="connsiteX67" fmla="*/ 1490625 w 1492273"/>
                <a:gd name="connsiteY67" fmla="*/ 314123 h 326563"/>
                <a:gd name="connsiteX68" fmla="*/ 1492273 w 1492273"/>
                <a:gd name="connsiteY68" fmla="*/ 308303 h 326563"/>
                <a:gd name="connsiteX69" fmla="*/ 1492273 w 1492273"/>
                <a:gd name="connsiteY69" fmla="*/ 45444 h 326563"/>
                <a:gd name="connsiteX70" fmla="*/ 1488559 w 1492273"/>
                <a:gd name="connsiteY70" fmla="*/ 28985 h 326563"/>
                <a:gd name="connsiteX71" fmla="*/ 1478081 w 1492273"/>
                <a:gd name="connsiteY71" fmla="*/ 15759 h 326563"/>
                <a:gd name="connsiteX72" fmla="*/ 1462908 w 1492273"/>
                <a:gd name="connsiteY72" fmla="*/ 8354 h 326563"/>
                <a:gd name="connsiteX73" fmla="*/ 1446105 w 1492273"/>
                <a:gd name="connsiteY73" fmla="*/ 8240 h 326563"/>
                <a:gd name="connsiteX74" fmla="*/ 911265 w 1492273"/>
                <a:gd name="connsiteY74" fmla="*/ 76254 h 326563"/>
                <a:gd name="connsiteX75" fmla="*/ 1063066 w 1492273"/>
                <a:gd name="connsiteY75" fmla="*/ 163286 h 326563"/>
                <a:gd name="connsiteX76" fmla="*/ 911265 w 1492273"/>
                <a:gd name="connsiteY76" fmla="*/ 250325 h 326563"/>
                <a:gd name="connsiteX77" fmla="*/ 759483 w 1492273"/>
                <a:gd name="connsiteY77" fmla="*/ 163286 h 326563"/>
                <a:gd name="connsiteX78" fmla="*/ 911265 w 1492273"/>
                <a:gd name="connsiteY78" fmla="*/ 76254 h 326563"/>
                <a:gd name="connsiteX79" fmla="*/ 911265 w 1492273"/>
                <a:gd name="connsiteY79" fmla="*/ 67 h 326563"/>
                <a:gd name="connsiteX80" fmla="*/ 683578 w 1492273"/>
                <a:gd name="connsiteY80" fmla="*/ 163286 h 326563"/>
                <a:gd name="connsiteX81" fmla="*/ 911265 w 1492273"/>
                <a:gd name="connsiteY81" fmla="*/ 326506 h 326563"/>
                <a:gd name="connsiteX82" fmla="*/ 1138961 w 1492273"/>
                <a:gd name="connsiteY82" fmla="*/ 163286 h 326563"/>
                <a:gd name="connsiteX83" fmla="*/ 911265 w 1492273"/>
                <a:gd name="connsiteY83" fmla="*/ 67 h 3265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</a:cxnLst>
              <a:rect l="l" t="t" r="r" b="b"/>
              <a:pathLst>
                <a:path w="1492273" h="326563">
                  <a:moveTo>
                    <a:pt x="180273" y="900"/>
                  </a:moveTo>
                  <a:cubicBezTo>
                    <a:pt x="146739" y="-2638"/>
                    <a:pt x="112948" y="4310"/>
                    <a:pt x="83526" y="20775"/>
                  </a:cubicBezTo>
                  <a:cubicBezTo>
                    <a:pt x="54104" y="37240"/>
                    <a:pt x="30499" y="62424"/>
                    <a:pt x="15954" y="92853"/>
                  </a:cubicBezTo>
                  <a:cubicBezTo>
                    <a:pt x="1417" y="123295"/>
                    <a:pt x="-3344" y="157489"/>
                    <a:pt x="2323" y="190737"/>
                  </a:cubicBezTo>
                  <a:cubicBezTo>
                    <a:pt x="7990" y="223998"/>
                    <a:pt x="23812" y="254669"/>
                    <a:pt x="47618" y="278557"/>
                  </a:cubicBezTo>
                  <a:cubicBezTo>
                    <a:pt x="71412" y="302455"/>
                    <a:pt x="102030" y="318381"/>
                    <a:pt x="135243" y="324153"/>
                  </a:cubicBezTo>
                  <a:cubicBezTo>
                    <a:pt x="168455" y="329925"/>
                    <a:pt x="202644" y="325277"/>
                    <a:pt x="233098" y="310818"/>
                  </a:cubicBezTo>
                  <a:cubicBezTo>
                    <a:pt x="263559" y="296359"/>
                    <a:pt x="288801" y="272814"/>
                    <a:pt x="305341" y="243429"/>
                  </a:cubicBezTo>
                  <a:cubicBezTo>
                    <a:pt x="321894" y="214035"/>
                    <a:pt x="328933" y="180240"/>
                    <a:pt x="325507" y="146675"/>
                  </a:cubicBezTo>
                  <a:cubicBezTo>
                    <a:pt x="321736" y="109375"/>
                    <a:pt x="305234" y="74514"/>
                    <a:pt x="278778" y="47965"/>
                  </a:cubicBezTo>
                  <a:cubicBezTo>
                    <a:pt x="252327" y="21410"/>
                    <a:pt x="217534" y="4786"/>
                    <a:pt x="180273" y="900"/>
                  </a:cubicBezTo>
                  <a:close/>
                  <a:moveTo>
                    <a:pt x="174984" y="249697"/>
                  </a:moveTo>
                  <a:cubicBezTo>
                    <a:pt x="156946" y="252116"/>
                    <a:pt x="138617" y="248820"/>
                    <a:pt x="122555" y="240277"/>
                  </a:cubicBezTo>
                  <a:cubicBezTo>
                    <a:pt x="106488" y="231725"/>
                    <a:pt x="93505" y="218366"/>
                    <a:pt x="85427" y="202047"/>
                  </a:cubicBezTo>
                  <a:cubicBezTo>
                    <a:pt x="77349" y="185733"/>
                    <a:pt x="74579" y="167300"/>
                    <a:pt x="77507" y="149329"/>
                  </a:cubicBezTo>
                  <a:cubicBezTo>
                    <a:pt x="80440" y="131372"/>
                    <a:pt x="88922" y="114773"/>
                    <a:pt x="101766" y="101883"/>
                  </a:cubicBezTo>
                  <a:cubicBezTo>
                    <a:pt x="114610" y="88986"/>
                    <a:pt x="131176" y="80452"/>
                    <a:pt x="149113" y="77461"/>
                  </a:cubicBezTo>
                  <a:cubicBezTo>
                    <a:pt x="167057" y="74470"/>
                    <a:pt x="185493" y="77181"/>
                    <a:pt x="201825" y="85220"/>
                  </a:cubicBezTo>
                  <a:cubicBezTo>
                    <a:pt x="218145" y="93247"/>
                    <a:pt x="231543" y="106194"/>
                    <a:pt x="240132" y="122247"/>
                  </a:cubicBezTo>
                  <a:cubicBezTo>
                    <a:pt x="248725" y="138293"/>
                    <a:pt x="252068" y="156625"/>
                    <a:pt x="249714" y="174684"/>
                  </a:cubicBezTo>
                  <a:cubicBezTo>
                    <a:pt x="247233" y="193670"/>
                    <a:pt x="238569" y="211305"/>
                    <a:pt x="225058" y="224868"/>
                  </a:cubicBezTo>
                  <a:cubicBezTo>
                    <a:pt x="211546" y="238425"/>
                    <a:pt x="193948" y="247154"/>
                    <a:pt x="174984" y="249697"/>
                  </a:cubicBezTo>
                  <a:close/>
                  <a:moveTo>
                    <a:pt x="412780" y="7358"/>
                  </a:moveTo>
                  <a:cubicBezTo>
                    <a:pt x="407126" y="7370"/>
                    <a:pt x="401534" y="8646"/>
                    <a:pt x="396435" y="11091"/>
                  </a:cubicBezTo>
                  <a:cubicBezTo>
                    <a:pt x="391328" y="13536"/>
                    <a:pt x="386833" y="17092"/>
                    <a:pt x="383276" y="21498"/>
                  </a:cubicBezTo>
                  <a:cubicBezTo>
                    <a:pt x="379712" y="25899"/>
                    <a:pt x="377174" y="31042"/>
                    <a:pt x="375859" y="36548"/>
                  </a:cubicBezTo>
                  <a:cubicBezTo>
                    <a:pt x="374537" y="42053"/>
                    <a:pt x="374448" y="47787"/>
                    <a:pt x="375620" y="53325"/>
                  </a:cubicBezTo>
                  <a:cubicBezTo>
                    <a:pt x="379202" y="71282"/>
                    <a:pt x="395956" y="83537"/>
                    <a:pt x="414209" y="83537"/>
                  </a:cubicBezTo>
                  <a:lnTo>
                    <a:pt x="520143" y="83537"/>
                  </a:lnTo>
                  <a:lnTo>
                    <a:pt x="355289" y="301846"/>
                  </a:lnTo>
                  <a:cubicBezTo>
                    <a:pt x="354067" y="303455"/>
                    <a:pt x="353324" y="305379"/>
                    <a:pt x="353136" y="307389"/>
                  </a:cubicBezTo>
                  <a:cubicBezTo>
                    <a:pt x="352940" y="309399"/>
                    <a:pt x="353319" y="311428"/>
                    <a:pt x="354212" y="313237"/>
                  </a:cubicBezTo>
                  <a:cubicBezTo>
                    <a:pt x="355113" y="315047"/>
                    <a:pt x="356491" y="316581"/>
                    <a:pt x="358204" y="317647"/>
                  </a:cubicBezTo>
                  <a:cubicBezTo>
                    <a:pt x="359923" y="318714"/>
                    <a:pt x="361900" y="319286"/>
                    <a:pt x="363921" y="319295"/>
                  </a:cubicBezTo>
                  <a:lnTo>
                    <a:pt x="622504" y="319295"/>
                  </a:lnTo>
                  <a:cubicBezTo>
                    <a:pt x="640744" y="319295"/>
                    <a:pt x="657518" y="307037"/>
                    <a:pt x="661099" y="289082"/>
                  </a:cubicBezTo>
                  <a:cubicBezTo>
                    <a:pt x="662271" y="283539"/>
                    <a:pt x="662185" y="277805"/>
                    <a:pt x="660861" y="272299"/>
                  </a:cubicBezTo>
                  <a:cubicBezTo>
                    <a:pt x="659537" y="266794"/>
                    <a:pt x="657004" y="261650"/>
                    <a:pt x="653451" y="257250"/>
                  </a:cubicBezTo>
                  <a:cubicBezTo>
                    <a:pt x="649898" y="252849"/>
                    <a:pt x="645402" y="249297"/>
                    <a:pt x="640297" y="246849"/>
                  </a:cubicBezTo>
                  <a:cubicBezTo>
                    <a:pt x="635191" y="244391"/>
                    <a:pt x="629610" y="243115"/>
                    <a:pt x="623952" y="243105"/>
                  </a:cubicBezTo>
                  <a:lnTo>
                    <a:pt x="494883" y="243105"/>
                  </a:lnTo>
                  <a:lnTo>
                    <a:pt x="659613" y="24972"/>
                  </a:lnTo>
                  <a:cubicBezTo>
                    <a:pt x="660842" y="23340"/>
                    <a:pt x="661595" y="21403"/>
                    <a:pt x="661785" y="19371"/>
                  </a:cubicBezTo>
                  <a:cubicBezTo>
                    <a:pt x="661976" y="17340"/>
                    <a:pt x="661604" y="15295"/>
                    <a:pt x="660690" y="13473"/>
                  </a:cubicBezTo>
                  <a:cubicBezTo>
                    <a:pt x="659785" y="11637"/>
                    <a:pt x="658385" y="10101"/>
                    <a:pt x="656661" y="9021"/>
                  </a:cubicBezTo>
                  <a:cubicBezTo>
                    <a:pt x="654937" y="7942"/>
                    <a:pt x="652927" y="7363"/>
                    <a:pt x="650888" y="7358"/>
                  </a:cubicBezTo>
                  <a:lnTo>
                    <a:pt x="412780" y="7358"/>
                  </a:lnTo>
                  <a:close/>
                  <a:moveTo>
                    <a:pt x="1446105" y="8240"/>
                  </a:moveTo>
                  <a:cubicBezTo>
                    <a:pt x="1437514" y="10272"/>
                    <a:pt x="1429894" y="15174"/>
                    <a:pt x="1424484" y="22127"/>
                  </a:cubicBezTo>
                  <a:cubicBezTo>
                    <a:pt x="1419112" y="29080"/>
                    <a:pt x="1416254" y="37666"/>
                    <a:pt x="1416378" y="46473"/>
                  </a:cubicBezTo>
                  <a:lnTo>
                    <a:pt x="1416378" y="173313"/>
                  </a:lnTo>
                  <a:lnTo>
                    <a:pt x="1210980" y="9758"/>
                  </a:lnTo>
                  <a:cubicBezTo>
                    <a:pt x="1209361" y="8475"/>
                    <a:pt x="1207427" y="7675"/>
                    <a:pt x="1205389" y="7453"/>
                  </a:cubicBezTo>
                  <a:cubicBezTo>
                    <a:pt x="1203341" y="7230"/>
                    <a:pt x="1201274" y="7580"/>
                    <a:pt x="1199426" y="8482"/>
                  </a:cubicBezTo>
                  <a:cubicBezTo>
                    <a:pt x="1197569" y="9377"/>
                    <a:pt x="1196006" y="10773"/>
                    <a:pt x="1194921" y="12520"/>
                  </a:cubicBezTo>
                  <a:cubicBezTo>
                    <a:pt x="1193835" y="14273"/>
                    <a:pt x="1193254" y="16285"/>
                    <a:pt x="1193263" y="18343"/>
                  </a:cubicBezTo>
                  <a:lnTo>
                    <a:pt x="1193263" y="280243"/>
                  </a:lnTo>
                  <a:cubicBezTo>
                    <a:pt x="1193120" y="289054"/>
                    <a:pt x="1195987" y="297645"/>
                    <a:pt x="1201388" y="304589"/>
                  </a:cubicBezTo>
                  <a:cubicBezTo>
                    <a:pt x="1206789" y="311542"/>
                    <a:pt x="1214409" y="316447"/>
                    <a:pt x="1222962" y="318486"/>
                  </a:cubicBezTo>
                  <a:cubicBezTo>
                    <a:pt x="1228525" y="319714"/>
                    <a:pt x="1234288" y="319667"/>
                    <a:pt x="1239803" y="318362"/>
                  </a:cubicBezTo>
                  <a:cubicBezTo>
                    <a:pt x="1245346" y="317066"/>
                    <a:pt x="1250518" y="314533"/>
                    <a:pt x="1254966" y="310961"/>
                  </a:cubicBezTo>
                  <a:cubicBezTo>
                    <a:pt x="1259415" y="307389"/>
                    <a:pt x="1263006" y="302874"/>
                    <a:pt x="1265444" y="297721"/>
                  </a:cubicBezTo>
                  <a:cubicBezTo>
                    <a:pt x="1267882" y="292587"/>
                    <a:pt x="1269159" y="286958"/>
                    <a:pt x="1269159" y="281272"/>
                  </a:cubicBezTo>
                  <a:lnTo>
                    <a:pt x="1269159" y="153323"/>
                  </a:lnTo>
                  <a:lnTo>
                    <a:pt x="1474538" y="316885"/>
                  </a:lnTo>
                  <a:cubicBezTo>
                    <a:pt x="1476195" y="318171"/>
                    <a:pt x="1478138" y="318962"/>
                    <a:pt x="1480148" y="319190"/>
                  </a:cubicBezTo>
                  <a:cubicBezTo>
                    <a:pt x="1482224" y="319419"/>
                    <a:pt x="1484291" y="319057"/>
                    <a:pt x="1486120" y="318162"/>
                  </a:cubicBezTo>
                  <a:cubicBezTo>
                    <a:pt x="1487949" y="317266"/>
                    <a:pt x="1489530" y="315866"/>
                    <a:pt x="1490625" y="314123"/>
                  </a:cubicBezTo>
                  <a:cubicBezTo>
                    <a:pt x="1491721" y="312380"/>
                    <a:pt x="1492273" y="310361"/>
                    <a:pt x="1492273" y="308303"/>
                  </a:cubicBezTo>
                  <a:lnTo>
                    <a:pt x="1492273" y="45444"/>
                  </a:lnTo>
                  <a:cubicBezTo>
                    <a:pt x="1492273" y="39748"/>
                    <a:pt x="1490997" y="34123"/>
                    <a:pt x="1488559" y="28985"/>
                  </a:cubicBezTo>
                  <a:cubicBezTo>
                    <a:pt x="1486120" y="23848"/>
                    <a:pt x="1482529" y="19327"/>
                    <a:pt x="1478081" y="15759"/>
                  </a:cubicBezTo>
                  <a:cubicBezTo>
                    <a:pt x="1473633" y="12190"/>
                    <a:pt x="1468461" y="9656"/>
                    <a:pt x="1462908" y="8354"/>
                  </a:cubicBezTo>
                  <a:cubicBezTo>
                    <a:pt x="1457364" y="7059"/>
                    <a:pt x="1451649" y="7015"/>
                    <a:pt x="1446105" y="8240"/>
                  </a:cubicBezTo>
                  <a:close/>
                  <a:moveTo>
                    <a:pt x="911265" y="76254"/>
                  </a:moveTo>
                  <a:cubicBezTo>
                    <a:pt x="998152" y="76254"/>
                    <a:pt x="1063066" y="122196"/>
                    <a:pt x="1063066" y="163286"/>
                  </a:cubicBezTo>
                  <a:cubicBezTo>
                    <a:pt x="1063066" y="204383"/>
                    <a:pt x="998152" y="250325"/>
                    <a:pt x="911265" y="250325"/>
                  </a:cubicBezTo>
                  <a:cubicBezTo>
                    <a:pt x="824397" y="250325"/>
                    <a:pt x="759483" y="204383"/>
                    <a:pt x="759483" y="163286"/>
                  </a:cubicBezTo>
                  <a:cubicBezTo>
                    <a:pt x="759483" y="122196"/>
                    <a:pt x="824397" y="76254"/>
                    <a:pt x="911265" y="76254"/>
                  </a:cubicBezTo>
                  <a:close/>
                  <a:moveTo>
                    <a:pt x="911265" y="67"/>
                  </a:moveTo>
                  <a:cubicBezTo>
                    <a:pt x="785515" y="67"/>
                    <a:pt x="683578" y="73142"/>
                    <a:pt x="683578" y="163286"/>
                  </a:cubicBezTo>
                  <a:cubicBezTo>
                    <a:pt x="683578" y="253421"/>
                    <a:pt x="785515" y="326506"/>
                    <a:pt x="911265" y="326506"/>
                  </a:cubicBezTo>
                  <a:cubicBezTo>
                    <a:pt x="1037024" y="326506"/>
                    <a:pt x="1138961" y="253421"/>
                    <a:pt x="1138961" y="163286"/>
                  </a:cubicBezTo>
                  <a:cubicBezTo>
                    <a:pt x="1138961" y="73142"/>
                    <a:pt x="1037024" y="67"/>
                    <a:pt x="911265" y="67"/>
                  </a:cubicBezTo>
                  <a:close/>
                </a:path>
              </a:pathLst>
            </a:custGeom>
            <a:grpFill/>
            <a:ln w="76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88152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8">
          <p15:clr>
            <a:srgbClr val="F26B43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_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9C6A208F-2A8F-8640-1889-7EF3989875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218385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33" imgH="233" progId="TCLayout.ActiveDocument.1">
                  <p:embed/>
                </p:oleObj>
              </mc:Choice>
              <mc:Fallback>
                <p:oleObj name="Слайд think-cell" r:id="rId3" imgW="233" imgH="233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9C6A208F-2A8F-8640-1889-7EF3989875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Прямоугольник: скругленные углы 59">
            <a:extLst>
              <a:ext uri="{FF2B5EF4-FFF2-40B4-BE49-F238E27FC236}">
                <a16:creationId xmlns:a16="http://schemas.microsoft.com/office/drawing/2014/main" id="{6AF4706E-194B-0A30-2718-34E7D7319965}"/>
              </a:ext>
            </a:extLst>
          </p:cNvPr>
          <p:cNvSpPr/>
          <p:nvPr userDrawn="1"/>
        </p:nvSpPr>
        <p:spPr>
          <a:xfrm>
            <a:off x="-2138458" y="54865"/>
            <a:ext cx="1928241" cy="2826069"/>
          </a:xfrm>
          <a:prstGeom prst="roundRect">
            <a:avLst>
              <a:gd name="adj" fmla="val 5926"/>
            </a:avLst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1" name="Прямоугольник: скругленные верхние углы 60">
            <a:extLst>
              <a:ext uri="{FF2B5EF4-FFF2-40B4-BE49-F238E27FC236}">
                <a16:creationId xmlns:a16="http://schemas.microsoft.com/office/drawing/2014/main" id="{66C04289-EBA6-A8EA-BE9E-D91E549D654E}"/>
              </a:ext>
            </a:extLst>
          </p:cNvPr>
          <p:cNvSpPr/>
          <p:nvPr userDrawn="1"/>
        </p:nvSpPr>
        <p:spPr>
          <a:xfrm>
            <a:off x="-2136930" y="0"/>
            <a:ext cx="1926713" cy="2880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36000" rtlCol="0" anchor="ctr"/>
          <a:lstStyle/>
          <a:p>
            <a:pPr algn="ctr"/>
            <a:r>
              <a:rPr lang="ru-RU" sz="1100" b="1">
                <a:solidFill>
                  <a:schemeClr val="tx1"/>
                </a:solidFill>
              </a:rPr>
              <a:t>Размеры текста</a:t>
            </a:r>
          </a:p>
        </p:txBody>
      </p:sp>
      <p:graphicFrame>
        <p:nvGraphicFramePr>
          <p:cNvPr id="67" name="Таблица 46">
            <a:extLst>
              <a:ext uri="{FF2B5EF4-FFF2-40B4-BE49-F238E27FC236}">
                <a16:creationId xmlns:a16="http://schemas.microsoft.com/office/drawing/2014/main" id="{EED75387-9477-C69D-3BA3-66D18A09F0E1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67774323"/>
              </p:ext>
            </p:extLst>
          </p:nvPr>
        </p:nvGraphicFramePr>
        <p:xfrm>
          <a:off x="-2046114" y="312643"/>
          <a:ext cx="1958731" cy="2142000"/>
        </p:xfrm>
        <a:graphic>
          <a:graphicData uri="http://schemas.openxmlformats.org/drawingml/2006/table">
            <a:tbl>
              <a:tblPr/>
              <a:tblGrid>
                <a:gridCol w="532517">
                  <a:extLst>
                    <a:ext uri="{9D8B030D-6E8A-4147-A177-3AD203B41FA5}">
                      <a16:colId xmlns:a16="http://schemas.microsoft.com/office/drawing/2014/main" val="2594385797"/>
                    </a:ext>
                  </a:extLst>
                </a:gridCol>
                <a:gridCol w="1426214">
                  <a:extLst>
                    <a:ext uri="{9D8B030D-6E8A-4147-A177-3AD203B41FA5}">
                      <a16:colId xmlns:a16="http://schemas.microsoft.com/office/drawing/2014/main" val="1017723076"/>
                    </a:ext>
                  </a:extLst>
                </a:gridCol>
              </a:tblGrid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44+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0" spc="-40" baseline="0"/>
                        <a:t>акцентные цифр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8329665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32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заголовки и самые </a:t>
                      </a:r>
                      <a:br>
                        <a:rPr lang="ru-RU" sz="1000" spc="-40" baseline="0"/>
                      </a:br>
                      <a:r>
                        <a:rPr lang="ru-RU" sz="1000" spc="-40" baseline="0"/>
                        <a:t>важные данные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17697917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24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8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подзаголовки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72780009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18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4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основной текст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0685745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4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2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торой уровень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текста (менее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ажная информация)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1997433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0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сноски, пояснения, </a:t>
                      </a:r>
                      <a:br>
                        <a:rPr lang="en-US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большие таблиц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76660845"/>
                  </a:ext>
                </a:extLst>
              </a:tr>
            </a:tbl>
          </a:graphicData>
        </a:graphic>
      </p:graphicFrame>
      <p:sp>
        <p:nvSpPr>
          <p:cNvPr id="68" name="Полилиния: фигура 67">
            <a:extLst>
              <a:ext uri="{FF2B5EF4-FFF2-40B4-BE49-F238E27FC236}">
                <a16:creationId xmlns:a16="http://schemas.microsoft.com/office/drawing/2014/main" id="{E22991C0-E32F-2F6E-12D2-4EC3D4112A7E}"/>
              </a:ext>
            </a:extLst>
          </p:cNvPr>
          <p:cNvSpPr/>
          <p:nvPr userDrawn="1"/>
        </p:nvSpPr>
        <p:spPr>
          <a:xfrm>
            <a:off x="-2004344" y="2488864"/>
            <a:ext cx="216624" cy="228657"/>
          </a:xfrm>
          <a:custGeom>
            <a:avLst/>
            <a:gdLst>
              <a:gd name="connsiteX0" fmla="*/ 72536 w 171450"/>
              <a:gd name="connsiteY0" fmla="*/ 162210 h 180974"/>
              <a:gd name="connsiteX1" fmla="*/ 98923 w 171450"/>
              <a:gd name="connsiteY1" fmla="*/ 162210 h 180974"/>
              <a:gd name="connsiteX2" fmla="*/ 103600 w 171450"/>
              <a:gd name="connsiteY2" fmla="*/ 172160 h 180974"/>
              <a:gd name="connsiteX3" fmla="*/ 85726 w 171450"/>
              <a:gd name="connsiteY3" fmla="*/ 180974 h 180974"/>
              <a:gd name="connsiteX4" fmla="*/ 67852 w 171450"/>
              <a:gd name="connsiteY4" fmla="*/ 172160 h 180974"/>
              <a:gd name="connsiteX5" fmla="*/ 72536 w 171450"/>
              <a:gd name="connsiteY5" fmla="*/ 162210 h 180974"/>
              <a:gd name="connsiteX6" fmla="*/ 152400 w 171450"/>
              <a:gd name="connsiteY6" fmla="*/ 76200 h 180974"/>
              <a:gd name="connsiteX7" fmla="*/ 161925 w 171450"/>
              <a:gd name="connsiteY7" fmla="*/ 76200 h 180974"/>
              <a:gd name="connsiteX8" fmla="*/ 171450 w 171450"/>
              <a:gd name="connsiteY8" fmla="*/ 85725 h 180974"/>
              <a:gd name="connsiteX9" fmla="*/ 161925 w 171450"/>
              <a:gd name="connsiteY9" fmla="*/ 95250 h 180974"/>
              <a:gd name="connsiteX10" fmla="*/ 152400 w 171450"/>
              <a:gd name="connsiteY10" fmla="*/ 95250 h 180974"/>
              <a:gd name="connsiteX11" fmla="*/ 142875 w 171450"/>
              <a:gd name="connsiteY11" fmla="*/ 85725 h 180974"/>
              <a:gd name="connsiteX12" fmla="*/ 152400 w 171450"/>
              <a:gd name="connsiteY12" fmla="*/ 76200 h 180974"/>
              <a:gd name="connsiteX13" fmla="*/ 9525 w 171450"/>
              <a:gd name="connsiteY13" fmla="*/ 76200 h 180974"/>
              <a:gd name="connsiteX14" fmla="*/ 19050 w 171450"/>
              <a:gd name="connsiteY14" fmla="*/ 76200 h 180974"/>
              <a:gd name="connsiteX15" fmla="*/ 28575 w 171450"/>
              <a:gd name="connsiteY15" fmla="*/ 85725 h 180974"/>
              <a:gd name="connsiteX16" fmla="*/ 19050 w 171450"/>
              <a:gd name="connsiteY16" fmla="*/ 95250 h 180974"/>
              <a:gd name="connsiteX17" fmla="*/ 9525 w 171450"/>
              <a:gd name="connsiteY17" fmla="*/ 95250 h 180974"/>
              <a:gd name="connsiteX18" fmla="*/ 0 w 171450"/>
              <a:gd name="connsiteY18" fmla="*/ 85725 h 180974"/>
              <a:gd name="connsiteX19" fmla="*/ 9525 w 171450"/>
              <a:gd name="connsiteY19" fmla="*/ 76200 h 180974"/>
              <a:gd name="connsiteX20" fmla="*/ 85725 w 171450"/>
              <a:gd name="connsiteY20" fmla="*/ 38100 h 180974"/>
              <a:gd name="connsiteX21" fmla="*/ 133350 w 171450"/>
              <a:gd name="connsiteY21" fmla="*/ 85725 h 180974"/>
              <a:gd name="connsiteX22" fmla="*/ 123174 w 171450"/>
              <a:gd name="connsiteY22" fmla="*/ 114596 h 180974"/>
              <a:gd name="connsiteX23" fmla="*/ 114300 w 171450"/>
              <a:gd name="connsiteY23" fmla="*/ 138113 h 180974"/>
              <a:gd name="connsiteX24" fmla="*/ 85725 w 171450"/>
              <a:gd name="connsiteY24" fmla="*/ 152400 h 180974"/>
              <a:gd name="connsiteX25" fmla="*/ 57150 w 171450"/>
              <a:gd name="connsiteY25" fmla="*/ 138113 h 180974"/>
              <a:gd name="connsiteX26" fmla="*/ 48275 w 171450"/>
              <a:gd name="connsiteY26" fmla="*/ 114596 h 180974"/>
              <a:gd name="connsiteX27" fmla="*/ 38100 w 171450"/>
              <a:gd name="connsiteY27" fmla="*/ 85725 h 180974"/>
              <a:gd name="connsiteX28" fmla="*/ 85725 w 171450"/>
              <a:gd name="connsiteY28" fmla="*/ 38100 h 180974"/>
              <a:gd name="connsiteX29" fmla="*/ 136141 w 171450"/>
              <a:gd name="connsiteY29" fmla="*/ 21840 h 180974"/>
              <a:gd name="connsiteX30" fmla="*/ 149611 w 171450"/>
              <a:gd name="connsiteY30" fmla="*/ 21840 h 180974"/>
              <a:gd name="connsiteX31" fmla="*/ 149611 w 171450"/>
              <a:gd name="connsiteY31" fmla="*/ 35310 h 180974"/>
              <a:gd name="connsiteX32" fmla="*/ 140086 w 171450"/>
              <a:gd name="connsiteY32" fmla="*/ 44835 h 180974"/>
              <a:gd name="connsiteX33" fmla="*/ 126616 w 171450"/>
              <a:gd name="connsiteY33" fmla="*/ 44835 h 180974"/>
              <a:gd name="connsiteX34" fmla="*/ 126616 w 171450"/>
              <a:gd name="connsiteY34" fmla="*/ 31365 h 180974"/>
              <a:gd name="connsiteX35" fmla="*/ 21840 w 171450"/>
              <a:gd name="connsiteY35" fmla="*/ 21840 h 180974"/>
              <a:gd name="connsiteX36" fmla="*/ 35310 w 171450"/>
              <a:gd name="connsiteY36" fmla="*/ 21840 h 180974"/>
              <a:gd name="connsiteX37" fmla="*/ 44835 w 171450"/>
              <a:gd name="connsiteY37" fmla="*/ 31365 h 180974"/>
              <a:gd name="connsiteX38" fmla="*/ 44835 w 171450"/>
              <a:gd name="connsiteY38" fmla="*/ 44835 h 180974"/>
              <a:gd name="connsiteX39" fmla="*/ 31365 w 171450"/>
              <a:gd name="connsiteY39" fmla="*/ 44835 h 180974"/>
              <a:gd name="connsiteX40" fmla="*/ 21840 w 171450"/>
              <a:gd name="connsiteY40" fmla="*/ 35310 h 180974"/>
              <a:gd name="connsiteX41" fmla="*/ 21840 w 171450"/>
              <a:gd name="connsiteY41" fmla="*/ 21840 h 180974"/>
              <a:gd name="connsiteX42" fmla="*/ 85725 w 171450"/>
              <a:gd name="connsiteY42" fmla="*/ 0 h 180974"/>
              <a:gd name="connsiteX43" fmla="*/ 95250 w 171450"/>
              <a:gd name="connsiteY43" fmla="*/ 9525 h 180974"/>
              <a:gd name="connsiteX44" fmla="*/ 95250 w 171450"/>
              <a:gd name="connsiteY44" fmla="*/ 19050 h 180974"/>
              <a:gd name="connsiteX45" fmla="*/ 85725 w 171450"/>
              <a:gd name="connsiteY45" fmla="*/ 28575 h 180974"/>
              <a:gd name="connsiteX46" fmla="*/ 76200 w 171450"/>
              <a:gd name="connsiteY46" fmla="*/ 19050 h 180974"/>
              <a:gd name="connsiteX47" fmla="*/ 76200 w 171450"/>
              <a:gd name="connsiteY47" fmla="*/ 9525 h 180974"/>
              <a:gd name="connsiteX48" fmla="*/ 85725 w 171450"/>
              <a:gd name="connsiteY48" fmla="*/ 0 h 18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1450" h="180974">
                <a:moveTo>
                  <a:pt x="72536" y="162210"/>
                </a:moveTo>
                <a:cubicBezTo>
                  <a:pt x="80449" y="164140"/>
                  <a:pt x="90933" y="164211"/>
                  <a:pt x="98923" y="162210"/>
                </a:cubicBezTo>
                <a:cubicBezTo>
                  <a:pt x="105617" y="160534"/>
                  <a:pt x="105617" y="166533"/>
                  <a:pt x="103600" y="172160"/>
                </a:cubicBezTo>
                <a:cubicBezTo>
                  <a:pt x="100950" y="179549"/>
                  <a:pt x="95451" y="180974"/>
                  <a:pt x="85726" y="180974"/>
                </a:cubicBezTo>
                <a:cubicBezTo>
                  <a:pt x="76000" y="180974"/>
                  <a:pt x="70501" y="179549"/>
                  <a:pt x="67852" y="172160"/>
                </a:cubicBezTo>
                <a:cubicBezTo>
                  <a:pt x="65835" y="166534"/>
                  <a:pt x="65835" y="160576"/>
                  <a:pt x="72536" y="162210"/>
                </a:cubicBezTo>
                <a:close/>
                <a:moveTo>
                  <a:pt x="152400" y="76200"/>
                </a:moveTo>
                <a:lnTo>
                  <a:pt x="161925" y="76200"/>
                </a:lnTo>
                <a:cubicBezTo>
                  <a:pt x="167186" y="76200"/>
                  <a:pt x="171450" y="80464"/>
                  <a:pt x="171450" y="85725"/>
                </a:cubicBezTo>
                <a:cubicBezTo>
                  <a:pt x="171450" y="90986"/>
                  <a:pt x="167186" y="95250"/>
                  <a:pt x="161925" y="95250"/>
                </a:cubicBezTo>
                <a:lnTo>
                  <a:pt x="152400" y="95250"/>
                </a:lnTo>
                <a:cubicBezTo>
                  <a:pt x="147139" y="95250"/>
                  <a:pt x="142875" y="90986"/>
                  <a:pt x="142875" y="85725"/>
                </a:cubicBezTo>
                <a:cubicBezTo>
                  <a:pt x="142875" y="80464"/>
                  <a:pt x="147139" y="76200"/>
                  <a:pt x="152400" y="76200"/>
                </a:cubicBezTo>
                <a:close/>
                <a:moveTo>
                  <a:pt x="9525" y="76200"/>
                </a:moveTo>
                <a:lnTo>
                  <a:pt x="19050" y="76200"/>
                </a:lnTo>
                <a:cubicBezTo>
                  <a:pt x="24310" y="76200"/>
                  <a:pt x="28575" y="80464"/>
                  <a:pt x="28575" y="85725"/>
                </a:cubicBezTo>
                <a:cubicBezTo>
                  <a:pt x="28575" y="90986"/>
                  <a:pt x="24310" y="95250"/>
                  <a:pt x="19050" y="95250"/>
                </a:cubicBezTo>
                <a:lnTo>
                  <a:pt x="9525" y="95250"/>
                </a:lnTo>
                <a:cubicBezTo>
                  <a:pt x="4265" y="95250"/>
                  <a:pt x="0" y="90986"/>
                  <a:pt x="0" y="85725"/>
                </a:cubicBezTo>
                <a:cubicBezTo>
                  <a:pt x="0" y="80464"/>
                  <a:pt x="4265" y="76200"/>
                  <a:pt x="9525" y="76200"/>
                </a:cubicBezTo>
                <a:close/>
                <a:moveTo>
                  <a:pt x="85725" y="38100"/>
                </a:moveTo>
                <a:cubicBezTo>
                  <a:pt x="112027" y="38100"/>
                  <a:pt x="133350" y="58671"/>
                  <a:pt x="133350" y="85725"/>
                </a:cubicBezTo>
                <a:cubicBezTo>
                  <a:pt x="133350" y="100663"/>
                  <a:pt x="128144" y="107793"/>
                  <a:pt x="123174" y="114596"/>
                </a:cubicBezTo>
                <a:cubicBezTo>
                  <a:pt x="118639" y="120807"/>
                  <a:pt x="114300" y="126748"/>
                  <a:pt x="114300" y="138113"/>
                </a:cubicBezTo>
                <a:cubicBezTo>
                  <a:pt x="114300" y="147638"/>
                  <a:pt x="104775" y="152400"/>
                  <a:pt x="85725" y="152400"/>
                </a:cubicBezTo>
                <a:cubicBezTo>
                  <a:pt x="66675" y="152400"/>
                  <a:pt x="57150" y="147638"/>
                  <a:pt x="57150" y="138113"/>
                </a:cubicBezTo>
                <a:cubicBezTo>
                  <a:pt x="57150" y="126748"/>
                  <a:pt x="52811" y="120807"/>
                  <a:pt x="48275" y="114596"/>
                </a:cubicBezTo>
                <a:cubicBezTo>
                  <a:pt x="43306" y="107793"/>
                  <a:pt x="38100" y="100663"/>
                  <a:pt x="38100" y="85725"/>
                </a:cubicBezTo>
                <a:cubicBezTo>
                  <a:pt x="38100" y="57150"/>
                  <a:pt x="59422" y="38100"/>
                  <a:pt x="85725" y="38100"/>
                </a:cubicBezTo>
                <a:close/>
                <a:moveTo>
                  <a:pt x="136141" y="21840"/>
                </a:moveTo>
                <a:cubicBezTo>
                  <a:pt x="139860" y="18120"/>
                  <a:pt x="145891" y="18120"/>
                  <a:pt x="149611" y="21840"/>
                </a:cubicBezTo>
                <a:cubicBezTo>
                  <a:pt x="153330" y="25560"/>
                  <a:pt x="153330" y="31590"/>
                  <a:pt x="149611" y="35310"/>
                </a:cubicBezTo>
                <a:lnTo>
                  <a:pt x="140086" y="44835"/>
                </a:lnTo>
                <a:cubicBezTo>
                  <a:pt x="136366" y="48555"/>
                  <a:pt x="130335" y="48555"/>
                  <a:pt x="126616" y="44835"/>
                </a:cubicBezTo>
                <a:cubicBezTo>
                  <a:pt x="122896" y="41115"/>
                  <a:pt x="122896" y="35085"/>
                  <a:pt x="126616" y="31365"/>
                </a:cubicBezTo>
                <a:close/>
                <a:moveTo>
                  <a:pt x="21840" y="21840"/>
                </a:moveTo>
                <a:cubicBezTo>
                  <a:pt x="25560" y="18120"/>
                  <a:pt x="31590" y="18120"/>
                  <a:pt x="35310" y="21840"/>
                </a:cubicBezTo>
                <a:lnTo>
                  <a:pt x="44835" y="31365"/>
                </a:lnTo>
                <a:cubicBezTo>
                  <a:pt x="48555" y="35085"/>
                  <a:pt x="48555" y="41115"/>
                  <a:pt x="44835" y="44835"/>
                </a:cubicBezTo>
                <a:cubicBezTo>
                  <a:pt x="41115" y="48555"/>
                  <a:pt x="35085" y="48555"/>
                  <a:pt x="31365" y="44835"/>
                </a:cubicBezTo>
                <a:lnTo>
                  <a:pt x="21840" y="35310"/>
                </a:lnTo>
                <a:cubicBezTo>
                  <a:pt x="18120" y="31590"/>
                  <a:pt x="18120" y="25560"/>
                  <a:pt x="21840" y="21840"/>
                </a:cubicBezTo>
                <a:close/>
                <a:moveTo>
                  <a:pt x="85725" y="0"/>
                </a:moveTo>
                <a:cubicBezTo>
                  <a:pt x="90986" y="0"/>
                  <a:pt x="95250" y="4265"/>
                  <a:pt x="95250" y="9525"/>
                </a:cubicBezTo>
                <a:lnTo>
                  <a:pt x="95250" y="19050"/>
                </a:lnTo>
                <a:cubicBezTo>
                  <a:pt x="95250" y="24310"/>
                  <a:pt x="90986" y="28575"/>
                  <a:pt x="85725" y="28575"/>
                </a:cubicBezTo>
                <a:cubicBezTo>
                  <a:pt x="80464" y="28575"/>
                  <a:pt x="76200" y="24310"/>
                  <a:pt x="76200" y="19050"/>
                </a:cubicBezTo>
                <a:lnTo>
                  <a:pt x="76200" y="9525"/>
                </a:lnTo>
                <a:cubicBezTo>
                  <a:pt x="76200" y="4265"/>
                  <a:pt x="80464" y="0"/>
                  <a:pt x="85725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080FC503-198C-9BAB-F771-B9545D4FF161}"/>
              </a:ext>
            </a:extLst>
          </p:cNvPr>
          <p:cNvSpPr txBox="1"/>
          <p:nvPr userDrawn="1"/>
        </p:nvSpPr>
        <p:spPr>
          <a:xfrm>
            <a:off x="-1691344" y="2506490"/>
            <a:ext cx="1373969" cy="2428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</a:pPr>
            <a:r>
              <a:rPr lang="ru-RU" sz="900" b="0">
                <a:solidFill>
                  <a:schemeClr val="accent1"/>
                </a:solidFill>
              </a:rPr>
              <a:t>Используй эти размеры </a:t>
            </a:r>
            <a:br>
              <a:rPr lang="ru-RU" sz="900" b="0">
                <a:solidFill>
                  <a:schemeClr val="accent1"/>
                </a:solidFill>
              </a:rPr>
            </a:br>
            <a:r>
              <a:rPr lang="ru-RU" sz="900" b="0">
                <a:solidFill>
                  <a:schemeClr val="accent1"/>
                </a:solidFill>
              </a:rPr>
              <a:t>по всей презентации</a:t>
            </a:r>
          </a:p>
        </p:txBody>
      </p:sp>
      <p:grpSp>
        <p:nvGrpSpPr>
          <p:cNvPr id="33" name="Группа 32">
            <a:extLst>
              <a:ext uri="{FF2B5EF4-FFF2-40B4-BE49-F238E27FC236}">
                <a16:creationId xmlns:a16="http://schemas.microsoft.com/office/drawing/2014/main" id="{C7881004-6958-374E-B9BD-B9941EFFBC7A}"/>
              </a:ext>
            </a:extLst>
          </p:cNvPr>
          <p:cNvGrpSpPr/>
          <p:nvPr userDrawn="1"/>
        </p:nvGrpSpPr>
        <p:grpSpPr>
          <a:xfrm>
            <a:off x="-2138458" y="3070447"/>
            <a:ext cx="1935384" cy="3787553"/>
            <a:chOff x="-2138458" y="3070447"/>
            <a:chExt cx="1935384" cy="3787553"/>
          </a:xfrm>
        </p:grpSpPr>
        <p:sp>
          <p:nvSpPr>
            <p:cNvPr id="34" name="Прямоугольник: скругленные углы 38">
              <a:extLst>
                <a:ext uri="{FF2B5EF4-FFF2-40B4-BE49-F238E27FC236}">
                  <a16:creationId xmlns:a16="http://schemas.microsoft.com/office/drawing/2014/main" id="{C5C10136-6174-8341-AAF3-60EFFEA4FFE6}"/>
                </a:ext>
              </a:extLst>
            </p:cNvPr>
            <p:cNvSpPr/>
            <p:nvPr/>
          </p:nvSpPr>
          <p:spPr>
            <a:xfrm>
              <a:off x="-2138458" y="3125312"/>
              <a:ext cx="1928241" cy="2468818"/>
            </a:xfrm>
            <a:prstGeom prst="roundRect">
              <a:avLst>
                <a:gd name="adj" fmla="val 5926"/>
              </a:avLst>
            </a:prstGeom>
            <a:solidFill>
              <a:schemeClr val="bg1"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5" name="Прямоугольник: скругленные верхние углы 39">
              <a:extLst>
                <a:ext uri="{FF2B5EF4-FFF2-40B4-BE49-F238E27FC236}">
                  <a16:creationId xmlns:a16="http://schemas.microsoft.com/office/drawing/2014/main" id="{E27C25C2-CA2A-514D-8675-BCFC636D716E}"/>
                </a:ext>
              </a:extLst>
            </p:cNvPr>
            <p:cNvSpPr/>
            <p:nvPr/>
          </p:nvSpPr>
          <p:spPr>
            <a:xfrm>
              <a:off x="-2136930" y="3070447"/>
              <a:ext cx="1926713" cy="28800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36000" rtlCol="0" anchor="ctr"/>
            <a:lstStyle/>
            <a:p>
              <a:pPr algn="ctr"/>
              <a:r>
                <a:rPr lang="ru-RU" sz="1100" b="1">
                  <a:solidFill>
                    <a:schemeClr val="tx1"/>
                  </a:solidFill>
                </a:rPr>
                <a:t>Цвета </a:t>
              </a:r>
              <a:r>
                <a:rPr lang="en-US" sz="1100" b="1">
                  <a:solidFill>
                    <a:schemeClr val="tx1"/>
                  </a:solidFill>
                </a:rPr>
                <a:t>Ozon</a:t>
              </a:r>
              <a:endParaRPr lang="ru-RU" sz="1100" b="1">
                <a:solidFill>
                  <a:schemeClr val="tx1"/>
                </a:solidFill>
              </a:endParaRP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753C7BE1-B48C-B54D-A49A-6CC758A9588E}"/>
                </a:ext>
              </a:extLst>
            </p:cNvPr>
            <p:cNvSpPr txBox="1"/>
            <p:nvPr userDrawn="1"/>
          </p:nvSpPr>
          <p:spPr>
            <a:xfrm>
              <a:off x="-2003446" y="3412239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текста </a:t>
              </a:r>
            </a:p>
          </p:txBody>
        </p:sp>
        <p:sp>
          <p:nvSpPr>
            <p:cNvPr id="37" name="Прямоугольник: скругленные углы 41">
              <a:extLst>
                <a:ext uri="{FF2B5EF4-FFF2-40B4-BE49-F238E27FC236}">
                  <a16:creationId xmlns:a16="http://schemas.microsoft.com/office/drawing/2014/main" id="{6D777616-0635-8D48-8F87-EB0FFABD731D}"/>
                </a:ext>
              </a:extLst>
            </p:cNvPr>
            <p:cNvSpPr/>
            <p:nvPr userDrawn="1"/>
          </p:nvSpPr>
          <p:spPr>
            <a:xfrm>
              <a:off x="-2004344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8" name="Прямоугольник: скругленные углы 42">
              <a:extLst>
                <a:ext uri="{FF2B5EF4-FFF2-40B4-BE49-F238E27FC236}">
                  <a16:creationId xmlns:a16="http://schemas.microsoft.com/office/drawing/2014/main" id="{B081A747-C408-374F-A23D-544F0CB540E1}"/>
                </a:ext>
              </a:extLst>
            </p:cNvPr>
            <p:cNvSpPr/>
            <p:nvPr userDrawn="1"/>
          </p:nvSpPr>
          <p:spPr>
            <a:xfrm>
              <a:off x="-1738339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6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9" name="Прямоугольник: скругленные углы 43">
              <a:extLst>
                <a:ext uri="{FF2B5EF4-FFF2-40B4-BE49-F238E27FC236}">
                  <a16:creationId xmlns:a16="http://schemas.microsoft.com/office/drawing/2014/main" id="{ACAF3CF7-4B4E-0949-9FAC-DC97F7FE5056}"/>
                </a:ext>
              </a:extLst>
            </p:cNvPr>
            <p:cNvSpPr/>
            <p:nvPr userDrawn="1"/>
          </p:nvSpPr>
          <p:spPr>
            <a:xfrm>
              <a:off x="-1739900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3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0" name="Прямоугольник: скругленные углы 44">
              <a:extLst>
                <a:ext uri="{FF2B5EF4-FFF2-40B4-BE49-F238E27FC236}">
                  <a16:creationId xmlns:a16="http://schemas.microsoft.com/office/drawing/2014/main" id="{6771845E-8FF3-E247-8ACD-00401A9C8AF9}"/>
                </a:ext>
              </a:extLst>
            </p:cNvPr>
            <p:cNvSpPr/>
            <p:nvPr userDrawn="1"/>
          </p:nvSpPr>
          <p:spPr>
            <a:xfrm>
              <a:off x="-2004963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8EC6C0B4-F87B-664A-AB1C-0C26BB7F5A2A}"/>
                </a:ext>
              </a:extLst>
            </p:cNvPr>
            <p:cNvSpPr txBox="1"/>
            <p:nvPr userDrawn="1"/>
          </p:nvSpPr>
          <p:spPr>
            <a:xfrm>
              <a:off x="-2003446" y="3935644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больших плашек</a:t>
              </a:r>
            </a:p>
          </p:txBody>
        </p:sp>
        <p:sp>
          <p:nvSpPr>
            <p:cNvPr id="42" name="Прямоугольник: скругленные углы 47">
              <a:extLst>
                <a:ext uri="{FF2B5EF4-FFF2-40B4-BE49-F238E27FC236}">
                  <a16:creationId xmlns:a16="http://schemas.microsoft.com/office/drawing/2014/main" id="{9EE72B71-8D38-E64F-9D3F-10D9AF617439}"/>
                </a:ext>
              </a:extLst>
            </p:cNvPr>
            <p:cNvSpPr/>
            <p:nvPr userDrawn="1"/>
          </p:nvSpPr>
          <p:spPr>
            <a:xfrm>
              <a:off x="-2004963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tx2">
                <a:lumMod val="90000"/>
                <a:lumOff val="10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3" name="Прямоугольник: скругленные углы 48">
              <a:extLst>
                <a:ext uri="{FF2B5EF4-FFF2-40B4-BE49-F238E27FC236}">
                  <a16:creationId xmlns:a16="http://schemas.microsoft.com/office/drawing/2014/main" id="{FC5A15B5-758D-F24A-AA68-DDBFDC638A52}"/>
                </a:ext>
              </a:extLst>
            </p:cNvPr>
            <p:cNvSpPr/>
            <p:nvPr userDrawn="1"/>
          </p:nvSpPr>
          <p:spPr>
            <a:xfrm>
              <a:off x="-1739900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6022A657-06DF-644D-9BAC-EE4E5AE0BC96}"/>
                </a:ext>
              </a:extLst>
            </p:cNvPr>
            <p:cNvSpPr txBox="1"/>
            <p:nvPr userDrawn="1"/>
          </p:nvSpPr>
          <p:spPr>
            <a:xfrm>
              <a:off x="-2003446" y="4451492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а маленьких плашек</a:t>
              </a:r>
            </a:p>
          </p:txBody>
        </p:sp>
        <p:sp>
          <p:nvSpPr>
            <p:cNvPr id="45" name="Прямоугольник: скругленные углы 51">
              <a:extLst>
                <a:ext uri="{FF2B5EF4-FFF2-40B4-BE49-F238E27FC236}">
                  <a16:creationId xmlns:a16="http://schemas.microsoft.com/office/drawing/2014/main" id="{B8463760-2E95-7F41-8D69-78ADCD51424A}"/>
                </a:ext>
              </a:extLst>
            </p:cNvPr>
            <p:cNvSpPr/>
            <p:nvPr userDrawn="1"/>
          </p:nvSpPr>
          <p:spPr>
            <a:xfrm>
              <a:off x="-1475201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tx2"/>
            </a:solidFill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6" name="Прямоугольник: скругленные углы 52">
              <a:extLst>
                <a:ext uri="{FF2B5EF4-FFF2-40B4-BE49-F238E27FC236}">
                  <a16:creationId xmlns:a16="http://schemas.microsoft.com/office/drawing/2014/main" id="{F4E43358-7C59-7742-9006-77BCB78AAC96}"/>
                </a:ext>
              </a:extLst>
            </p:cNvPr>
            <p:cNvSpPr/>
            <p:nvPr userDrawn="1"/>
          </p:nvSpPr>
          <p:spPr>
            <a:xfrm>
              <a:off x="-1739900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B7EDC9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7" name="Прямоугольник: скругленные углы 53">
              <a:extLst>
                <a:ext uri="{FF2B5EF4-FFF2-40B4-BE49-F238E27FC236}">
                  <a16:creationId xmlns:a16="http://schemas.microsoft.com/office/drawing/2014/main" id="{8D74125F-3DAF-1243-B5DB-C50B7F067B7A}"/>
                </a:ext>
              </a:extLst>
            </p:cNvPr>
            <p:cNvSpPr/>
            <p:nvPr userDrawn="1"/>
          </p:nvSpPr>
          <p:spPr>
            <a:xfrm>
              <a:off x="-1474837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FA800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8" name="Прямоугольник: скругленные углы 54">
              <a:extLst>
                <a:ext uri="{FF2B5EF4-FFF2-40B4-BE49-F238E27FC236}">
                  <a16:creationId xmlns:a16="http://schemas.microsoft.com/office/drawing/2014/main" id="{44432125-3D9D-D442-B24A-85728B35FD4A}"/>
                </a:ext>
              </a:extLst>
            </p:cNvPr>
            <p:cNvSpPr/>
            <p:nvPr userDrawn="1"/>
          </p:nvSpPr>
          <p:spPr>
            <a:xfrm>
              <a:off x="-2004963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10C44C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F100AD9B-3799-5A44-84B2-58F0A8CEA72F}"/>
                </a:ext>
              </a:extLst>
            </p:cNvPr>
            <p:cNvSpPr txBox="1"/>
            <p:nvPr userDrawn="1"/>
          </p:nvSpPr>
          <p:spPr>
            <a:xfrm>
              <a:off x="-2003446" y="4973480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900"/>
                <a:t>Рост / падение показателей</a:t>
              </a:r>
            </a:p>
          </p:txBody>
        </p:sp>
        <p:sp>
          <p:nvSpPr>
            <p:cNvPr id="50" name="Прямоугольник: скругленные углы 56">
              <a:extLst>
                <a:ext uri="{FF2B5EF4-FFF2-40B4-BE49-F238E27FC236}">
                  <a16:creationId xmlns:a16="http://schemas.microsoft.com/office/drawing/2014/main" id="{0F884F14-3960-B242-888C-339C387823E8}"/>
                </a:ext>
              </a:extLst>
            </p:cNvPr>
            <p:cNvSpPr/>
            <p:nvPr userDrawn="1"/>
          </p:nvSpPr>
          <p:spPr>
            <a:xfrm>
              <a:off x="-1209774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1">
                <a:lumMod val="20000"/>
                <a:lumOff val="80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1" name="Прямоугольник: скругленные углы 57">
              <a:extLst>
                <a:ext uri="{FF2B5EF4-FFF2-40B4-BE49-F238E27FC236}">
                  <a16:creationId xmlns:a16="http://schemas.microsoft.com/office/drawing/2014/main" id="{8C21DCD3-8FE4-8048-ABE4-97E1E06BFDF6}"/>
                </a:ext>
              </a:extLst>
            </p:cNvPr>
            <p:cNvSpPr/>
            <p:nvPr/>
          </p:nvSpPr>
          <p:spPr>
            <a:xfrm>
              <a:off x="-2131314" y="5782119"/>
              <a:ext cx="1928240" cy="1075881"/>
            </a:xfrm>
            <a:prstGeom prst="roundRect">
              <a:avLst>
                <a:gd name="adj" fmla="val 12985"/>
              </a:avLst>
            </a:prstGeom>
            <a:solidFill>
              <a:schemeClr val="bg1"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01253F1C-5597-744D-8CEA-5D6DD3C45E06}"/>
                </a:ext>
              </a:extLst>
            </p:cNvPr>
            <p:cNvSpPr txBox="1"/>
            <p:nvPr/>
          </p:nvSpPr>
          <p:spPr>
            <a:xfrm>
              <a:off x="-1788338" y="5868204"/>
              <a:ext cx="1155882" cy="15109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l">
                <a:lnSpc>
                  <a:spcPct val="90000"/>
                </a:lnSpc>
              </a:pPr>
              <a:r>
                <a:rPr lang="ru-RU" sz="1000" b="1">
                  <a:solidFill>
                    <a:schemeClr val="accent1"/>
                  </a:solidFill>
                </a:rPr>
                <a:t>Шаблон </a:t>
              </a:r>
              <a:r>
                <a:rPr lang="en-US" sz="1000" b="1">
                  <a:solidFill>
                    <a:schemeClr val="accent1"/>
                  </a:solidFill>
                </a:rPr>
                <a:t>Ozon</a:t>
              </a:r>
              <a:endParaRPr lang="ru-RU" sz="1000" b="1">
                <a:solidFill>
                  <a:schemeClr val="accent1"/>
                </a:solidFill>
              </a:endParaRPr>
            </a:p>
          </p:txBody>
        </p:sp>
        <p:sp>
          <p:nvSpPr>
            <p:cNvPr id="53" name="Рисунок 93">
              <a:extLst>
                <a:ext uri="{FF2B5EF4-FFF2-40B4-BE49-F238E27FC236}">
                  <a16:creationId xmlns:a16="http://schemas.microsoft.com/office/drawing/2014/main" id="{85953602-8DD0-414C-B7C0-3147B106D0D0}"/>
                </a:ext>
              </a:extLst>
            </p:cNvPr>
            <p:cNvSpPr/>
            <p:nvPr/>
          </p:nvSpPr>
          <p:spPr>
            <a:xfrm>
              <a:off x="-2004963" y="5853908"/>
              <a:ext cx="161099" cy="161099"/>
            </a:xfrm>
            <a:custGeom>
              <a:avLst/>
              <a:gdLst>
                <a:gd name="connsiteX0" fmla="*/ 85725 w 171450"/>
                <a:gd name="connsiteY0" fmla="*/ 171450 h 171450"/>
                <a:gd name="connsiteX1" fmla="*/ 171450 w 171450"/>
                <a:gd name="connsiteY1" fmla="*/ 85725 h 171450"/>
                <a:gd name="connsiteX2" fmla="*/ 85725 w 171450"/>
                <a:gd name="connsiteY2" fmla="*/ 0 h 171450"/>
                <a:gd name="connsiteX3" fmla="*/ 0 w 171450"/>
                <a:gd name="connsiteY3" fmla="*/ 85725 h 171450"/>
                <a:gd name="connsiteX4" fmla="*/ 85725 w 171450"/>
                <a:gd name="connsiteY4" fmla="*/ 171450 h 171450"/>
                <a:gd name="connsiteX5" fmla="*/ 130560 w 171450"/>
                <a:gd name="connsiteY5" fmla="*/ 73410 h 171450"/>
                <a:gd name="connsiteX6" fmla="*/ 82935 w 171450"/>
                <a:gd name="connsiteY6" fmla="*/ 121035 h 171450"/>
                <a:gd name="connsiteX7" fmla="*/ 69465 w 171450"/>
                <a:gd name="connsiteY7" fmla="*/ 121035 h 171450"/>
                <a:gd name="connsiteX8" fmla="*/ 40890 w 171450"/>
                <a:gd name="connsiteY8" fmla="*/ 92460 h 171450"/>
                <a:gd name="connsiteX9" fmla="*/ 40890 w 171450"/>
                <a:gd name="connsiteY9" fmla="*/ 78990 h 171450"/>
                <a:gd name="connsiteX10" fmla="*/ 54360 w 171450"/>
                <a:gd name="connsiteY10" fmla="*/ 78990 h 171450"/>
                <a:gd name="connsiteX11" fmla="*/ 76200 w 171450"/>
                <a:gd name="connsiteY11" fmla="*/ 100830 h 171450"/>
                <a:gd name="connsiteX12" fmla="*/ 117090 w 171450"/>
                <a:gd name="connsiteY12" fmla="*/ 59940 h 171450"/>
                <a:gd name="connsiteX13" fmla="*/ 130560 w 171450"/>
                <a:gd name="connsiteY13" fmla="*/ 59940 h 171450"/>
                <a:gd name="connsiteX14" fmla="*/ 130560 w 171450"/>
                <a:gd name="connsiteY14" fmla="*/ 7341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71450" h="171450">
                  <a:moveTo>
                    <a:pt x="85725" y="171450"/>
                  </a:moveTo>
                  <a:cubicBezTo>
                    <a:pt x="138915" y="171450"/>
                    <a:pt x="171450" y="138915"/>
                    <a:pt x="171450" y="85725"/>
                  </a:cubicBezTo>
                  <a:cubicBezTo>
                    <a:pt x="171450" y="32535"/>
                    <a:pt x="138915" y="0"/>
                    <a:pt x="85725" y="0"/>
                  </a:cubicBezTo>
                  <a:cubicBezTo>
                    <a:pt x="32535" y="0"/>
                    <a:pt x="0" y="32535"/>
                    <a:pt x="0" y="85725"/>
                  </a:cubicBezTo>
                  <a:cubicBezTo>
                    <a:pt x="0" y="138915"/>
                    <a:pt x="32535" y="171450"/>
                    <a:pt x="85725" y="171450"/>
                  </a:cubicBezTo>
                  <a:close/>
                  <a:moveTo>
                    <a:pt x="130560" y="73410"/>
                  </a:moveTo>
                  <a:lnTo>
                    <a:pt x="82935" y="121035"/>
                  </a:lnTo>
                  <a:cubicBezTo>
                    <a:pt x="79216" y="124755"/>
                    <a:pt x="73184" y="124755"/>
                    <a:pt x="69465" y="121035"/>
                  </a:cubicBezTo>
                  <a:lnTo>
                    <a:pt x="40890" y="92460"/>
                  </a:lnTo>
                  <a:cubicBezTo>
                    <a:pt x="37170" y="88741"/>
                    <a:pt x="37170" y="82709"/>
                    <a:pt x="40890" y="78990"/>
                  </a:cubicBezTo>
                  <a:cubicBezTo>
                    <a:pt x="44610" y="75270"/>
                    <a:pt x="50640" y="75270"/>
                    <a:pt x="54360" y="78990"/>
                  </a:cubicBezTo>
                  <a:lnTo>
                    <a:pt x="76200" y="100830"/>
                  </a:lnTo>
                  <a:lnTo>
                    <a:pt x="117090" y="59940"/>
                  </a:lnTo>
                  <a:cubicBezTo>
                    <a:pt x="120809" y="56220"/>
                    <a:pt x="126841" y="56220"/>
                    <a:pt x="130560" y="59940"/>
                  </a:cubicBezTo>
                  <a:cubicBezTo>
                    <a:pt x="134280" y="63660"/>
                    <a:pt x="134280" y="69691"/>
                    <a:pt x="130560" y="7341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38D23689-A10C-C84C-A3F6-4C90E67083F4}"/>
                </a:ext>
              </a:extLst>
            </p:cNvPr>
            <p:cNvSpPr txBox="1"/>
            <p:nvPr/>
          </p:nvSpPr>
          <p:spPr>
            <a:xfrm>
              <a:off x="-2004962" y="6072106"/>
              <a:ext cx="1687587" cy="60024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>
                <a:lnSpc>
                  <a:spcPct val="110000"/>
                </a:lnSpc>
              </a:pPr>
              <a:r>
                <a:rPr lang="ru-RU" sz="900" spc="-30" baseline="0">
                  <a:solidFill>
                    <a:schemeClr val="tx2"/>
                  </a:solidFill>
                </a:rPr>
                <a:t>Если нужно больше материалов: </a:t>
              </a:r>
              <a:r>
                <a:rPr lang="ru-RU" sz="900" b="1" spc="-30" baseline="0">
                  <a:solidFill>
                    <a:schemeClr val="tx2"/>
                  </a:solidFill>
                </a:rPr>
                <a:t>правое меню </a:t>
              </a:r>
              <a:r>
                <a:rPr lang="en-US" sz="900" b="1" spc="-30" baseline="0">
                  <a:solidFill>
                    <a:schemeClr val="tx2"/>
                  </a:solidFill>
                </a:rPr>
                <a:t>Staff — Brand </a:t>
              </a:r>
              <a:r>
                <a:rPr lang="ru-RU" sz="900" b="1" spc="-30" baseline="0">
                  <a:solidFill>
                    <a:schemeClr val="tx2"/>
                  </a:solidFill>
                </a:rPr>
                <a:t>— Всё для презентаций. </a:t>
              </a:r>
              <a:r>
                <a:rPr lang="ru-RU" sz="900" b="0" spc="-30" baseline="0">
                  <a:solidFill>
                    <a:schemeClr val="tx2"/>
                  </a:solidFill>
                </a:rPr>
                <a:t>Или пиши нам на </a:t>
              </a:r>
              <a:r>
                <a:rPr lang="en-US" sz="900" b="0" spc="-30" baseline="0">
                  <a:solidFill>
                    <a:schemeClr val="tx2"/>
                  </a:solidFill>
                </a:rPr>
                <a:t>presentations@ozon.ru.</a:t>
              </a:r>
              <a:r>
                <a:rPr lang="ru-RU" sz="900" b="0" spc="-30" baseline="0">
                  <a:solidFill>
                    <a:schemeClr val="tx2"/>
                  </a:solidFill>
                </a:rPr>
                <a:t> </a:t>
              </a:r>
            </a:p>
          </p:txBody>
        </p:sp>
        <p:sp>
          <p:nvSpPr>
            <p:cNvPr id="55" name="Прямоугольник: скругленные углы 63">
              <a:extLst>
                <a:ext uri="{FF2B5EF4-FFF2-40B4-BE49-F238E27FC236}">
                  <a16:creationId xmlns:a16="http://schemas.microsoft.com/office/drawing/2014/main" id="{A10FA71E-C641-A547-A901-7E3DEBBC73B6}"/>
                </a:ext>
              </a:extLst>
            </p:cNvPr>
            <p:cNvSpPr/>
            <p:nvPr userDrawn="1"/>
          </p:nvSpPr>
          <p:spPr>
            <a:xfrm>
              <a:off x="-944711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53C14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6" name="Прямоугольник: скругленные углы 64">
              <a:extLst>
                <a:ext uri="{FF2B5EF4-FFF2-40B4-BE49-F238E27FC236}">
                  <a16:creationId xmlns:a16="http://schemas.microsoft.com/office/drawing/2014/main" id="{CB3BDB71-8A17-634F-886A-D0C8E06D7541}"/>
                </a:ext>
              </a:extLst>
            </p:cNvPr>
            <p:cNvSpPr/>
            <p:nvPr userDrawn="1"/>
          </p:nvSpPr>
          <p:spPr>
            <a:xfrm>
              <a:off x="-679648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CC4B8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7" name="Прямоугольник: скругленные углы 65">
              <a:extLst>
                <a:ext uri="{FF2B5EF4-FFF2-40B4-BE49-F238E27FC236}">
                  <a16:creationId xmlns:a16="http://schemas.microsoft.com/office/drawing/2014/main" id="{A52014EE-AD24-8047-A7C5-8505CD5406A5}"/>
                </a:ext>
              </a:extLst>
            </p:cNvPr>
            <p:cNvSpPr/>
            <p:nvPr userDrawn="1"/>
          </p:nvSpPr>
          <p:spPr>
            <a:xfrm>
              <a:off x="-1209774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FE5B2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8" name="Прямоугольник: скругленные углы 13">
              <a:extLst>
                <a:ext uri="{FF2B5EF4-FFF2-40B4-BE49-F238E27FC236}">
                  <a16:creationId xmlns:a16="http://schemas.microsoft.com/office/drawing/2014/main" id="{A0DC93E9-C88B-3241-AB74-A84EDF436A3B}"/>
                </a:ext>
              </a:extLst>
            </p:cNvPr>
            <p:cNvSpPr/>
            <p:nvPr userDrawn="1"/>
          </p:nvSpPr>
          <p:spPr>
            <a:xfrm>
              <a:off x="-2004344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9" name="Прямоугольник: скругленные углы 15">
              <a:extLst>
                <a:ext uri="{FF2B5EF4-FFF2-40B4-BE49-F238E27FC236}">
                  <a16:creationId xmlns:a16="http://schemas.microsoft.com/office/drawing/2014/main" id="{EB693D4B-DD7E-F542-804C-BF3AA740DA7C}"/>
                </a:ext>
              </a:extLst>
            </p:cNvPr>
            <p:cNvSpPr/>
            <p:nvPr userDrawn="1"/>
          </p:nvSpPr>
          <p:spPr>
            <a:xfrm>
              <a:off x="-1738339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6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2" name="Прямоугольник: скругленные углы 48">
              <a:extLst>
                <a:ext uri="{FF2B5EF4-FFF2-40B4-BE49-F238E27FC236}">
                  <a16:creationId xmlns:a16="http://schemas.microsoft.com/office/drawing/2014/main" id="{9725E235-973A-2E46-917C-D9D5131CC91A}"/>
                </a:ext>
              </a:extLst>
            </p:cNvPr>
            <p:cNvSpPr/>
            <p:nvPr userDrawn="1"/>
          </p:nvSpPr>
          <p:spPr>
            <a:xfrm>
              <a:off x="-1475201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tx2"/>
            </a:solidFill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3" name="Прямоугольник: скругленные углы 56">
              <a:extLst>
                <a:ext uri="{FF2B5EF4-FFF2-40B4-BE49-F238E27FC236}">
                  <a16:creationId xmlns:a16="http://schemas.microsoft.com/office/drawing/2014/main" id="{BBC3A543-8AE3-0047-93A5-060D23112712}"/>
                </a:ext>
              </a:extLst>
            </p:cNvPr>
            <p:cNvSpPr/>
            <p:nvPr userDrawn="1"/>
          </p:nvSpPr>
          <p:spPr>
            <a:xfrm>
              <a:off x="-946163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22623223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8">
          <p15:clr>
            <a:srgbClr val="F26B43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final_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Группа 3">
            <a:extLst>
              <a:ext uri="{FF2B5EF4-FFF2-40B4-BE49-F238E27FC236}">
                <a16:creationId xmlns:a16="http://schemas.microsoft.com/office/drawing/2014/main" id="{ABC908F3-2C71-3587-E192-B523B037ECE4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549398" y="883609"/>
            <a:ext cx="2131200" cy="473348"/>
            <a:chOff x="8489504" y="910877"/>
            <a:chExt cx="2734509" cy="606592"/>
          </a:xfrm>
          <a:solidFill>
            <a:schemeClr val="bg1"/>
          </a:solidFill>
        </p:grpSpPr>
        <p:sp>
          <p:nvSpPr>
            <p:cNvPr id="5" name="Полилиния 4">
              <a:extLst>
                <a:ext uri="{FF2B5EF4-FFF2-40B4-BE49-F238E27FC236}">
                  <a16:creationId xmlns:a16="http://schemas.microsoft.com/office/drawing/2014/main" id="{54AF277A-3642-82A7-A095-454A4DF9E269}"/>
                </a:ext>
              </a:extLst>
            </p:cNvPr>
            <p:cNvSpPr/>
            <p:nvPr/>
          </p:nvSpPr>
          <p:spPr>
            <a:xfrm>
              <a:off x="10064626" y="910877"/>
              <a:ext cx="1159387" cy="606592"/>
            </a:xfrm>
            <a:custGeom>
              <a:avLst/>
              <a:gdLst>
                <a:gd name="connsiteX0" fmla="*/ 0 w 1159387"/>
                <a:gd name="connsiteY0" fmla="*/ 178242 h 606592"/>
                <a:gd name="connsiteX1" fmla="*/ 0 w 1159387"/>
                <a:gd name="connsiteY1" fmla="*/ 237024 h 606592"/>
                <a:gd name="connsiteX2" fmla="*/ 9135 w 1159387"/>
                <a:gd name="connsiteY2" fmla="*/ 246098 h 606592"/>
                <a:gd name="connsiteX3" fmla="*/ 30214 w 1159387"/>
                <a:gd name="connsiteY3" fmla="*/ 250009 h 606592"/>
                <a:gd name="connsiteX4" fmla="*/ 32261 w 1159387"/>
                <a:gd name="connsiteY4" fmla="*/ 250607 h 606592"/>
                <a:gd name="connsiteX5" fmla="*/ 85030 w 1159387"/>
                <a:gd name="connsiteY5" fmla="*/ 319338 h 606592"/>
                <a:gd name="connsiteX6" fmla="*/ 85030 w 1159387"/>
                <a:gd name="connsiteY6" fmla="*/ 483817 h 606592"/>
                <a:gd name="connsiteX7" fmla="*/ 120863 w 1159387"/>
                <a:gd name="connsiteY7" fmla="*/ 570989 h 606592"/>
                <a:gd name="connsiteX8" fmla="*/ 205874 w 1159387"/>
                <a:gd name="connsiteY8" fmla="*/ 606364 h 606592"/>
                <a:gd name="connsiteX9" fmla="*/ 207284 w 1159387"/>
                <a:gd name="connsiteY9" fmla="*/ 606364 h 606592"/>
                <a:gd name="connsiteX10" fmla="*/ 235964 w 1159387"/>
                <a:gd name="connsiteY10" fmla="*/ 606364 h 606592"/>
                <a:gd name="connsiteX11" fmla="*/ 247356 w 1159387"/>
                <a:gd name="connsiteY11" fmla="*/ 593268 h 606592"/>
                <a:gd name="connsiteX12" fmla="*/ 247337 w 1159387"/>
                <a:gd name="connsiteY12" fmla="*/ 563750 h 606592"/>
                <a:gd name="connsiteX13" fmla="*/ 247337 w 1159387"/>
                <a:gd name="connsiteY13" fmla="*/ 541928 h 606592"/>
                <a:gd name="connsiteX14" fmla="*/ 236802 w 1159387"/>
                <a:gd name="connsiteY14" fmla="*/ 530565 h 606592"/>
                <a:gd name="connsiteX15" fmla="*/ 197454 w 1159387"/>
                <a:gd name="connsiteY15" fmla="*/ 530527 h 606592"/>
                <a:gd name="connsiteX16" fmla="*/ 159506 w 1159387"/>
                <a:gd name="connsiteY16" fmla="*/ 492285 h 606592"/>
                <a:gd name="connsiteX17" fmla="*/ 159506 w 1159387"/>
                <a:gd name="connsiteY17" fmla="*/ 403084 h 606592"/>
                <a:gd name="connsiteX18" fmla="*/ 159506 w 1159387"/>
                <a:gd name="connsiteY18" fmla="*/ 316772 h 606592"/>
                <a:gd name="connsiteX19" fmla="*/ 100365 w 1159387"/>
                <a:gd name="connsiteY19" fmla="*/ 207274 h 606592"/>
                <a:gd name="connsiteX20" fmla="*/ 99080 w 1159387"/>
                <a:gd name="connsiteY20" fmla="*/ 206423 h 606592"/>
                <a:gd name="connsiteX21" fmla="*/ 100356 w 1159387"/>
                <a:gd name="connsiteY21" fmla="*/ 205547 h 606592"/>
                <a:gd name="connsiteX22" fmla="*/ 159506 w 1159387"/>
                <a:gd name="connsiteY22" fmla="*/ 90665 h 606592"/>
                <a:gd name="connsiteX23" fmla="*/ 159506 w 1159387"/>
                <a:gd name="connsiteY23" fmla="*/ 10992 h 606592"/>
                <a:gd name="connsiteX24" fmla="*/ 148962 w 1159387"/>
                <a:gd name="connsiteY24" fmla="*/ 0 h 606592"/>
                <a:gd name="connsiteX25" fmla="*/ 95565 w 1159387"/>
                <a:gd name="connsiteY25" fmla="*/ 0 h 606592"/>
                <a:gd name="connsiteX26" fmla="*/ 85030 w 1159387"/>
                <a:gd name="connsiteY26" fmla="*/ 10992 h 606592"/>
                <a:gd name="connsiteX27" fmla="*/ 85030 w 1159387"/>
                <a:gd name="connsiteY27" fmla="*/ 90665 h 606592"/>
                <a:gd name="connsiteX28" fmla="*/ 32366 w 1159387"/>
                <a:gd name="connsiteY28" fmla="*/ 162761 h 606592"/>
                <a:gd name="connsiteX29" fmla="*/ 30214 w 1159387"/>
                <a:gd name="connsiteY29" fmla="*/ 163402 h 606592"/>
                <a:gd name="connsiteX30" fmla="*/ 9135 w 1159387"/>
                <a:gd name="connsiteY30" fmla="*/ 167302 h 606592"/>
                <a:gd name="connsiteX31" fmla="*/ 0 w 1159387"/>
                <a:gd name="connsiteY31" fmla="*/ 178242 h 606592"/>
                <a:gd name="connsiteX32" fmla="*/ 933768 w 1159387"/>
                <a:gd name="connsiteY32" fmla="*/ 313343 h 606592"/>
                <a:gd name="connsiteX33" fmla="*/ 933768 w 1159387"/>
                <a:gd name="connsiteY33" fmla="*/ 468558 h 606592"/>
                <a:gd name="connsiteX34" fmla="*/ 930749 w 1159387"/>
                <a:gd name="connsiteY34" fmla="*/ 475902 h 606592"/>
                <a:gd name="connsiteX35" fmla="*/ 923472 w 1159387"/>
                <a:gd name="connsiteY35" fmla="*/ 478940 h 606592"/>
                <a:gd name="connsiteX36" fmla="*/ 869627 w 1159387"/>
                <a:gd name="connsiteY36" fmla="*/ 478902 h 606592"/>
                <a:gd name="connsiteX37" fmla="*/ 859349 w 1159387"/>
                <a:gd name="connsiteY37" fmla="*/ 468530 h 606592"/>
                <a:gd name="connsiteX38" fmla="*/ 859349 w 1159387"/>
                <a:gd name="connsiteY38" fmla="*/ 10375 h 606592"/>
                <a:gd name="connsiteX39" fmla="*/ 869636 w 1159387"/>
                <a:gd name="connsiteY39" fmla="*/ 0 h 606592"/>
                <a:gd name="connsiteX40" fmla="*/ 923472 w 1159387"/>
                <a:gd name="connsiteY40" fmla="*/ 0 h 606592"/>
                <a:gd name="connsiteX41" fmla="*/ 933768 w 1159387"/>
                <a:gd name="connsiteY41" fmla="*/ 10375 h 606592"/>
                <a:gd name="connsiteX42" fmla="*/ 933768 w 1159387"/>
                <a:gd name="connsiteY42" fmla="*/ 193355 h 606592"/>
                <a:gd name="connsiteX43" fmla="*/ 1159388 w 1159387"/>
                <a:gd name="connsiteY43" fmla="*/ 312995 h 606592"/>
                <a:gd name="connsiteX44" fmla="*/ 1159388 w 1159387"/>
                <a:gd name="connsiteY44" fmla="*/ 468520 h 606592"/>
                <a:gd name="connsiteX45" fmla="*/ 1156378 w 1159387"/>
                <a:gd name="connsiteY45" fmla="*/ 475854 h 606592"/>
                <a:gd name="connsiteX46" fmla="*/ 1149101 w 1159387"/>
                <a:gd name="connsiteY46" fmla="*/ 478893 h 606592"/>
                <a:gd name="connsiteX47" fmla="*/ 1095199 w 1159387"/>
                <a:gd name="connsiteY47" fmla="*/ 478893 h 606592"/>
                <a:gd name="connsiteX48" fmla="*/ 1087922 w 1159387"/>
                <a:gd name="connsiteY48" fmla="*/ 475854 h 606592"/>
                <a:gd name="connsiteX49" fmla="*/ 1084912 w 1159387"/>
                <a:gd name="connsiteY49" fmla="*/ 468520 h 606592"/>
                <a:gd name="connsiteX50" fmla="*/ 1084912 w 1159387"/>
                <a:gd name="connsiteY50" fmla="*/ 312995 h 606592"/>
                <a:gd name="connsiteX51" fmla="*/ 966868 w 1159387"/>
                <a:gd name="connsiteY51" fmla="*/ 246504 h 606592"/>
                <a:gd name="connsiteX52" fmla="*/ 933768 w 1159387"/>
                <a:gd name="connsiteY52" fmla="*/ 313343 h 606592"/>
                <a:gd name="connsiteX53" fmla="*/ 596563 w 1159387"/>
                <a:gd name="connsiteY53" fmla="*/ 207040 h 606592"/>
                <a:gd name="connsiteX54" fmla="*/ 549471 w 1159387"/>
                <a:gd name="connsiteY54" fmla="*/ 323084 h 606592"/>
                <a:gd name="connsiteX55" fmla="*/ 596563 w 1159387"/>
                <a:gd name="connsiteY55" fmla="*/ 439145 h 606592"/>
                <a:gd name="connsiteX56" fmla="*/ 797522 w 1159387"/>
                <a:gd name="connsiteY56" fmla="*/ 460995 h 606592"/>
                <a:gd name="connsiteX57" fmla="*/ 799923 w 1159387"/>
                <a:gd name="connsiteY57" fmla="*/ 459357 h 606592"/>
                <a:gd name="connsiteX58" fmla="*/ 805247 w 1159387"/>
                <a:gd name="connsiteY58" fmla="*/ 455385 h 606592"/>
                <a:gd name="connsiteX59" fmla="*/ 806018 w 1159387"/>
                <a:gd name="connsiteY59" fmla="*/ 438745 h 606592"/>
                <a:gd name="connsiteX60" fmla="*/ 790226 w 1159387"/>
                <a:gd name="connsiteY60" fmla="*/ 417067 h 606592"/>
                <a:gd name="connsiteX61" fmla="*/ 776110 w 1159387"/>
                <a:gd name="connsiteY61" fmla="*/ 397747 h 606592"/>
                <a:gd name="connsiteX62" fmla="*/ 760975 w 1159387"/>
                <a:gd name="connsiteY62" fmla="*/ 394585 h 606592"/>
                <a:gd name="connsiteX63" fmla="*/ 757003 w 1159387"/>
                <a:gd name="connsiteY63" fmla="*/ 397067 h 606592"/>
                <a:gd name="connsiteX64" fmla="*/ 619737 w 1159387"/>
                <a:gd name="connsiteY64" fmla="*/ 323084 h 606592"/>
                <a:gd name="connsiteX65" fmla="*/ 756945 w 1159387"/>
                <a:gd name="connsiteY65" fmla="*/ 249203 h 606592"/>
                <a:gd name="connsiteX66" fmla="*/ 760975 w 1159387"/>
                <a:gd name="connsiteY66" fmla="*/ 251591 h 606592"/>
                <a:gd name="connsiteX67" fmla="*/ 776148 w 1159387"/>
                <a:gd name="connsiteY67" fmla="*/ 248416 h 606592"/>
                <a:gd name="connsiteX68" fmla="*/ 790207 w 1159387"/>
                <a:gd name="connsiteY68" fmla="*/ 229138 h 606592"/>
                <a:gd name="connsiteX69" fmla="*/ 804618 w 1159387"/>
                <a:gd name="connsiteY69" fmla="*/ 209395 h 606592"/>
                <a:gd name="connsiteX70" fmla="*/ 799903 w 1159387"/>
                <a:gd name="connsiteY70" fmla="*/ 186809 h 606592"/>
                <a:gd name="connsiteX71" fmla="*/ 797522 w 1159387"/>
                <a:gd name="connsiteY71" fmla="*/ 185195 h 606592"/>
                <a:gd name="connsiteX72" fmla="*/ 596563 w 1159387"/>
                <a:gd name="connsiteY72" fmla="*/ 207040 h 606592"/>
                <a:gd name="connsiteX73" fmla="*/ 293714 w 1159387"/>
                <a:gd name="connsiteY73" fmla="*/ 350313 h 606592"/>
                <a:gd name="connsiteX74" fmla="*/ 469385 w 1159387"/>
                <a:gd name="connsiteY74" fmla="*/ 350313 h 606592"/>
                <a:gd name="connsiteX75" fmla="*/ 507323 w 1159387"/>
                <a:gd name="connsiteY75" fmla="*/ 312290 h 606592"/>
                <a:gd name="connsiteX76" fmla="*/ 472890 w 1159387"/>
                <a:gd name="connsiteY76" fmla="*/ 208836 h 606592"/>
                <a:gd name="connsiteX77" fmla="*/ 368190 w 1159387"/>
                <a:gd name="connsiteY77" fmla="*/ 159530 h 606592"/>
                <a:gd name="connsiteX78" fmla="*/ 219228 w 1159387"/>
                <a:gd name="connsiteY78" fmla="*/ 323103 h 606592"/>
                <a:gd name="connsiteX79" fmla="*/ 375915 w 1159387"/>
                <a:gd name="connsiteY79" fmla="*/ 486674 h 606592"/>
                <a:gd name="connsiteX80" fmla="*/ 502398 w 1159387"/>
                <a:gd name="connsiteY80" fmla="*/ 450623 h 606592"/>
                <a:gd name="connsiteX81" fmla="*/ 505913 w 1159387"/>
                <a:gd name="connsiteY81" fmla="*/ 435907 h 606592"/>
                <a:gd name="connsiteX82" fmla="*/ 504818 w 1159387"/>
                <a:gd name="connsiteY82" fmla="*/ 434088 h 606592"/>
                <a:gd name="connsiteX83" fmla="*/ 478519 w 1159387"/>
                <a:gd name="connsiteY83" fmla="*/ 391689 h 606592"/>
                <a:gd name="connsiteX84" fmla="*/ 464460 w 1159387"/>
                <a:gd name="connsiteY84" fmla="*/ 388476 h 606592"/>
                <a:gd name="connsiteX85" fmla="*/ 377335 w 1159387"/>
                <a:gd name="connsiteY85" fmla="*/ 414990 h 606592"/>
                <a:gd name="connsiteX86" fmla="*/ 293714 w 1159387"/>
                <a:gd name="connsiteY86" fmla="*/ 350313 h 606592"/>
                <a:gd name="connsiteX87" fmla="*/ 430732 w 1159387"/>
                <a:gd name="connsiteY87" fmla="*/ 287912 h 606592"/>
                <a:gd name="connsiteX88" fmla="*/ 368190 w 1159387"/>
                <a:gd name="connsiteY88" fmla="*/ 232071 h 606592"/>
                <a:gd name="connsiteX89" fmla="*/ 296524 w 1159387"/>
                <a:gd name="connsiteY89" fmla="*/ 287912 h 606592"/>
                <a:gd name="connsiteX90" fmla="*/ 430732 w 1159387"/>
                <a:gd name="connsiteY90" fmla="*/ 287912 h 606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</a:cxnLst>
              <a:rect l="l" t="t" r="r" b="b"/>
              <a:pathLst>
                <a:path w="1159387" h="606592">
                  <a:moveTo>
                    <a:pt x="0" y="178242"/>
                  </a:moveTo>
                  <a:lnTo>
                    <a:pt x="0" y="237024"/>
                  </a:lnTo>
                  <a:cubicBezTo>
                    <a:pt x="695" y="241577"/>
                    <a:pt x="4220" y="245266"/>
                    <a:pt x="9135" y="246098"/>
                  </a:cubicBezTo>
                  <a:cubicBezTo>
                    <a:pt x="16869" y="247387"/>
                    <a:pt x="27404" y="249197"/>
                    <a:pt x="30214" y="250009"/>
                  </a:cubicBezTo>
                  <a:cubicBezTo>
                    <a:pt x="30833" y="250193"/>
                    <a:pt x="31518" y="250390"/>
                    <a:pt x="32261" y="250607"/>
                  </a:cubicBezTo>
                  <a:cubicBezTo>
                    <a:pt x="46749" y="254784"/>
                    <a:pt x="83697" y="265433"/>
                    <a:pt x="85030" y="319338"/>
                  </a:cubicBezTo>
                  <a:lnTo>
                    <a:pt x="85030" y="483817"/>
                  </a:lnTo>
                  <a:cubicBezTo>
                    <a:pt x="85030" y="516573"/>
                    <a:pt x="97670" y="547958"/>
                    <a:pt x="120863" y="570989"/>
                  </a:cubicBezTo>
                  <a:cubicBezTo>
                    <a:pt x="143342" y="593696"/>
                    <a:pt x="174261" y="606402"/>
                    <a:pt x="205874" y="606364"/>
                  </a:cubicBezTo>
                  <a:lnTo>
                    <a:pt x="207284" y="606364"/>
                  </a:lnTo>
                  <a:cubicBezTo>
                    <a:pt x="207284" y="606364"/>
                    <a:pt x="207284" y="606879"/>
                    <a:pt x="235964" y="606364"/>
                  </a:cubicBezTo>
                  <a:cubicBezTo>
                    <a:pt x="243232" y="606231"/>
                    <a:pt x="247461" y="601383"/>
                    <a:pt x="247356" y="593268"/>
                  </a:cubicBezTo>
                  <a:cubicBezTo>
                    <a:pt x="247222" y="582028"/>
                    <a:pt x="247527" y="573246"/>
                    <a:pt x="247337" y="563750"/>
                  </a:cubicBezTo>
                  <a:cubicBezTo>
                    <a:pt x="247184" y="555816"/>
                    <a:pt x="247337" y="548520"/>
                    <a:pt x="247337" y="541928"/>
                  </a:cubicBezTo>
                  <a:cubicBezTo>
                    <a:pt x="247337" y="535804"/>
                    <a:pt x="242422" y="530794"/>
                    <a:pt x="236802" y="530565"/>
                  </a:cubicBezTo>
                  <a:cubicBezTo>
                    <a:pt x="226258" y="530527"/>
                    <a:pt x="211504" y="530527"/>
                    <a:pt x="197454" y="530527"/>
                  </a:cubicBezTo>
                  <a:cubicBezTo>
                    <a:pt x="177071" y="530527"/>
                    <a:pt x="159506" y="513401"/>
                    <a:pt x="159506" y="492285"/>
                  </a:cubicBezTo>
                  <a:lnTo>
                    <a:pt x="159506" y="403084"/>
                  </a:lnTo>
                  <a:cubicBezTo>
                    <a:pt x="160202" y="402874"/>
                    <a:pt x="159506" y="317750"/>
                    <a:pt x="159506" y="316772"/>
                  </a:cubicBezTo>
                  <a:cubicBezTo>
                    <a:pt x="157544" y="243958"/>
                    <a:pt x="109233" y="212964"/>
                    <a:pt x="100365" y="207274"/>
                  </a:cubicBezTo>
                  <a:cubicBezTo>
                    <a:pt x="99708" y="206855"/>
                    <a:pt x="99270" y="206569"/>
                    <a:pt x="99080" y="206423"/>
                  </a:cubicBezTo>
                  <a:cubicBezTo>
                    <a:pt x="99270" y="206264"/>
                    <a:pt x="99708" y="205979"/>
                    <a:pt x="100356" y="205547"/>
                  </a:cubicBezTo>
                  <a:cubicBezTo>
                    <a:pt x="109395" y="199604"/>
                    <a:pt x="159506" y="166622"/>
                    <a:pt x="159506" y="90665"/>
                  </a:cubicBezTo>
                  <a:lnTo>
                    <a:pt x="159506" y="10992"/>
                  </a:lnTo>
                  <a:cubicBezTo>
                    <a:pt x="159506" y="4922"/>
                    <a:pt x="155287" y="0"/>
                    <a:pt x="148962" y="0"/>
                  </a:cubicBezTo>
                  <a:lnTo>
                    <a:pt x="95565" y="0"/>
                  </a:lnTo>
                  <a:cubicBezTo>
                    <a:pt x="89945" y="0"/>
                    <a:pt x="85030" y="4922"/>
                    <a:pt x="85030" y="10992"/>
                  </a:cubicBezTo>
                  <a:lnTo>
                    <a:pt x="85030" y="90665"/>
                  </a:lnTo>
                  <a:cubicBezTo>
                    <a:pt x="85030" y="147350"/>
                    <a:pt x="47054" y="158469"/>
                    <a:pt x="32366" y="162761"/>
                  </a:cubicBezTo>
                  <a:cubicBezTo>
                    <a:pt x="31576" y="162997"/>
                    <a:pt x="30861" y="163206"/>
                    <a:pt x="30214" y="163402"/>
                  </a:cubicBezTo>
                  <a:cubicBezTo>
                    <a:pt x="27404" y="164209"/>
                    <a:pt x="16869" y="166026"/>
                    <a:pt x="9135" y="167302"/>
                  </a:cubicBezTo>
                  <a:cubicBezTo>
                    <a:pt x="3515" y="168248"/>
                    <a:pt x="0" y="172858"/>
                    <a:pt x="0" y="178242"/>
                  </a:cubicBezTo>
                  <a:close/>
                  <a:moveTo>
                    <a:pt x="933768" y="313343"/>
                  </a:moveTo>
                  <a:lnTo>
                    <a:pt x="933768" y="468558"/>
                  </a:lnTo>
                  <a:cubicBezTo>
                    <a:pt x="933768" y="471320"/>
                    <a:pt x="932682" y="473949"/>
                    <a:pt x="930749" y="475902"/>
                  </a:cubicBezTo>
                  <a:cubicBezTo>
                    <a:pt x="928825" y="477845"/>
                    <a:pt x="926206" y="478940"/>
                    <a:pt x="923472" y="478940"/>
                  </a:cubicBezTo>
                  <a:cubicBezTo>
                    <a:pt x="909270" y="478921"/>
                    <a:pt x="883819" y="478912"/>
                    <a:pt x="869627" y="478902"/>
                  </a:cubicBezTo>
                  <a:cubicBezTo>
                    <a:pt x="863950" y="478893"/>
                    <a:pt x="859349" y="474254"/>
                    <a:pt x="859349" y="468530"/>
                  </a:cubicBezTo>
                  <a:cubicBezTo>
                    <a:pt x="859349" y="405427"/>
                    <a:pt x="859349" y="73513"/>
                    <a:pt x="859349" y="10375"/>
                  </a:cubicBezTo>
                  <a:cubicBezTo>
                    <a:pt x="859349" y="4648"/>
                    <a:pt x="863959" y="0"/>
                    <a:pt x="869636" y="0"/>
                  </a:cubicBezTo>
                  <a:cubicBezTo>
                    <a:pt x="883838" y="0"/>
                    <a:pt x="909279" y="0"/>
                    <a:pt x="923472" y="0"/>
                  </a:cubicBezTo>
                  <a:cubicBezTo>
                    <a:pt x="929158" y="0"/>
                    <a:pt x="933768" y="4648"/>
                    <a:pt x="933768" y="10375"/>
                  </a:cubicBezTo>
                  <a:cubicBezTo>
                    <a:pt x="933768" y="50513"/>
                    <a:pt x="933768" y="193355"/>
                    <a:pt x="933768" y="193355"/>
                  </a:cubicBezTo>
                  <a:cubicBezTo>
                    <a:pt x="1013169" y="118433"/>
                    <a:pt x="1159388" y="172318"/>
                    <a:pt x="1159388" y="312995"/>
                  </a:cubicBezTo>
                  <a:lnTo>
                    <a:pt x="1159388" y="468520"/>
                  </a:lnTo>
                  <a:cubicBezTo>
                    <a:pt x="1159388" y="471273"/>
                    <a:pt x="1158302" y="473911"/>
                    <a:pt x="1156378" y="475854"/>
                  </a:cubicBezTo>
                  <a:cubicBezTo>
                    <a:pt x="1154445" y="477797"/>
                    <a:pt x="1151835" y="478893"/>
                    <a:pt x="1149101" y="478893"/>
                  </a:cubicBezTo>
                  <a:cubicBezTo>
                    <a:pt x="1134899" y="478893"/>
                    <a:pt x="1109401" y="478893"/>
                    <a:pt x="1095199" y="478893"/>
                  </a:cubicBezTo>
                  <a:cubicBezTo>
                    <a:pt x="1092465" y="478893"/>
                    <a:pt x="1089855" y="477797"/>
                    <a:pt x="1087922" y="475854"/>
                  </a:cubicBezTo>
                  <a:cubicBezTo>
                    <a:pt x="1085998" y="473911"/>
                    <a:pt x="1084912" y="471273"/>
                    <a:pt x="1084912" y="468520"/>
                  </a:cubicBezTo>
                  <a:cubicBezTo>
                    <a:pt x="1084912" y="432211"/>
                    <a:pt x="1084912" y="312995"/>
                    <a:pt x="1084912" y="312995"/>
                  </a:cubicBezTo>
                  <a:cubicBezTo>
                    <a:pt x="1084912" y="239513"/>
                    <a:pt x="1011121" y="217047"/>
                    <a:pt x="966868" y="246504"/>
                  </a:cubicBezTo>
                  <a:cubicBezTo>
                    <a:pt x="947885" y="259141"/>
                    <a:pt x="933768" y="281804"/>
                    <a:pt x="933768" y="313343"/>
                  </a:cubicBezTo>
                  <a:close/>
                  <a:moveTo>
                    <a:pt x="596563" y="207040"/>
                  </a:moveTo>
                  <a:cubicBezTo>
                    <a:pt x="564235" y="238922"/>
                    <a:pt x="549471" y="280953"/>
                    <a:pt x="549471" y="323084"/>
                  </a:cubicBezTo>
                  <a:cubicBezTo>
                    <a:pt x="549471" y="365223"/>
                    <a:pt x="564235" y="407246"/>
                    <a:pt x="596563" y="439145"/>
                  </a:cubicBezTo>
                  <a:cubicBezTo>
                    <a:pt x="650665" y="494085"/>
                    <a:pt x="734285" y="501400"/>
                    <a:pt x="797522" y="460995"/>
                  </a:cubicBezTo>
                  <a:cubicBezTo>
                    <a:pt x="798208" y="460481"/>
                    <a:pt x="799037" y="459938"/>
                    <a:pt x="799923" y="459357"/>
                  </a:cubicBezTo>
                  <a:cubicBezTo>
                    <a:pt x="801761" y="458147"/>
                    <a:pt x="803828" y="456795"/>
                    <a:pt x="805247" y="455385"/>
                  </a:cubicBezTo>
                  <a:cubicBezTo>
                    <a:pt x="808762" y="451909"/>
                    <a:pt x="810762" y="445470"/>
                    <a:pt x="806018" y="438745"/>
                  </a:cubicBezTo>
                  <a:cubicBezTo>
                    <a:pt x="801761" y="432697"/>
                    <a:pt x="796170" y="425153"/>
                    <a:pt x="790226" y="417067"/>
                  </a:cubicBezTo>
                  <a:cubicBezTo>
                    <a:pt x="785121" y="410132"/>
                    <a:pt x="780339" y="403665"/>
                    <a:pt x="776110" y="397747"/>
                  </a:cubicBezTo>
                  <a:cubicBezTo>
                    <a:pt x="772671" y="392947"/>
                    <a:pt x="765890" y="391664"/>
                    <a:pt x="760975" y="394585"/>
                  </a:cubicBezTo>
                  <a:cubicBezTo>
                    <a:pt x="759565" y="395461"/>
                    <a:pt x="758393" y="396172"/>
                    <a:pt x="757003" y="397067"/>
                  </a:cubicBezTo>
                  <a:cubicBezTo>
                    <a:pt x="686032" y="442936"/>
                    <a:pt x="619737" y="382374"/>
                    <a:pt x="619737" y="323084"/>
                  </a:cubicBezTo>
                  <a:cubicBezTo>
                    <a:pt x="619737" y="263795"/>
                    <a:pt x="687384" y="203573"/>
                    <a:pt x="756945" y="249203"/>
                  </a:cubicBezTo>
                  <a:cubicBezTo>
                    <a:pt x="758308" y="250105"/>
                    <a:pt x="759565" y="250708"/>
                    <a:pt x="760975" y="251591"/>
                  </a:cubicBezTo>
                  <a:cubicBezTo>
                    <a:pt x="765890" y="254512"/>
                    <a:pt x="772805" y="253115"/>
                    <a:pt x="776148" y="248416"/>
                  </a:cubicBezTo>
                  <a:cubicBezTo>
                    <a:pt x="780377" y="242497"/>
                    <a:pt x="785102" y="236065"/>
                    <a:pt x="790207" y="229138"/>
                  </a:cubicBezTo>
                  <a:cubicBezTo>
                    <a:pt x="795560" y="221854"/>
                    <a:pt x="800580" y="215072"/>
                    <a:pt x="804618" y="209395"/>
                  </a:cubicBezTo>
                  <a:cubicBezTo>
                    <a:pt x="811362" y="199928"/>
                    <a:pt x="809571" y="193191"/>
                    <a:pt x="799903" y="186809"/>
                  </a:cubicBezTo>
                  <a:cubicBezTo>
                    <a:pt x="799027" y="186231"/>
                    <a:pt x="798199" y="185691"/>
                    <a:pt x="797522" y="185195"/>
                  </a:cubicBezTo>
                  <a:cubicBezTo>
                    <a:pt x="734285" y="144778"/>
                    <a:pt x="650665" y="152087"/>
                    <a:pt x="596563" y="207040"/>
                  </a:cubicBezTo>
                  <a:close/>
                  <a:moveTo>
                    <a:pt x="293714" y="350313"/>
                  </a:moveTo>
                  <a:lnTo>
                    <a:pt x="469385" y="350313"/>
                  </a:lnTo>
                  <a:cubicBezTo>
                    <a:pt x="490463" y="350313"/>
                    <a:pt x="507323" y="333283"/>
                    <a:pt x="507323" y="312290"/>
                  </a:cubicBezTo>
                  <a:cubicBezTo>
                    <a:pt x="507323" y="265561"/>
                    <a:pt x="499588" y="240644"/>
                    <a:pt x="472890" y="208836"/>
                  </a:cubicBezTo>
                  <a:cubicBezTo>
                    <a:pt x="445486" y="176865"/>
                    <a:pt x="401919" y="159530"/>
                    <a:pt x="368190" y="159530"/>
                  </a:cubicBezTo>
                  <a:cubicBezTo>
                    <a:pt x="283875" y="159530"/>
                    <a:pt x="219228" y="231722"/>
                    <a:pt x="219228" y="323103"/>
                  </a:cubicBezTo>
                  <a:cubicBezTo>
                    <a:pt x="219228" y="435697"/>
                    <a:pt x="306354" y="486674"/>
                    <a:pt x="375915" y="486674"/>
                  </a:cubicBezTo>
                  <a:cubicBezTo>
                    <a:pt x="425807" y="486674"/>
                    <a:pt x="464460" y="474616"/>
                    <a:pt x="502398" y="450623"/>
                  </a:cubicBezTo>
                  <a:cubicBezTo>
                    <a:pt x="506618" y="447470"/>
                    <a:pt x="508723" y="441003"/>
                    <a:pt x="505913" y="435907"/>
                  </a:cubicBezTo>
                  <a:lnTo>
                    <a:pt x="504818" y="434088"/>
                  </a:lnTo>
                  <a:cubicBezTo>
                    <a:pt x="497150" y="421362"/>
                    <a:pt x="486558" y="403789"/>
                    <a:pt x="478519" y="391689"/>
                  </a:cubicBezTo>
                  <a:cubicBezTo>
                    <a:pt x="475709" y="386901"/>
                    <a:pt x="469385" y="385492"/>
                    <a:pt x="464460" y="388476"/>
                  </a:cubicBezTo>
                  <a:cubicBezTo>
                    <a:pt x="440571" y="402722"/>
                    <a:pt x="415273" y="415266"/>
                    <a:pt x="377335" y="414990"/>
                  </a:cubicBezTo>
                  <a:cubicBezTo>
                    <a:pt x="342197" y="414742"/>
                    <a:pt x="304954" y="392280"/>
                    <a:pt x="293714" y="350313"/>
                  </a:cubicBezTo>
                  <a:close/>
                  <a:moveTo>
                    <a:pt x="430732" y="287912"/>
                  </a:moveTo>
                  <a:cubicBezTo>
                    <a:pt x="424407" y="240694"/>
                    <a:pt x="392079" y="232071"/>
                    <a:pt x="368190" y="232071"/>
                  </a:cubicBezTo>
                  <a:cubicBezTo>
                    <a:pt x="335872" y="232071"/>
                    <a:pt x="308478" y="256182"/>
                    <a:pt x="296524" y="287912"/>
                  </a:cubicBezTo>
                  <a:lnTo>
                    <a:pt x="430732" y="287912"/>
                  </a:lnTo>
                  <a:close/>
                </a:path>
              </a:pathLst>
            </a:custGeom>
            <a:solidFill>
              <a:schemeClr val="accent2"/>
            </a:solidFill>
            <a:ln w="76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6" name="Полилиния 5">
              <a:extLst>
                <a:ext uri="{FF2B5EF4-FFF2-40B4-BE49-F238E27FC236}">
                  <a16:creationId xmlns:a16="http://schemas.microsoft.com/office/drawing/2014/main" id="{19B40B49-AB0A-4209-5890-243E9D6ECAA0}"/>
                </a:ext>
              </a:extLst>
            </p:cNvPr>
            <p:cNvSpPr/>
            <p:nvPr/>
          </p:nvSpPr>
          <p:spPr>
            <a:xfrm>
              <a:off x="8489504" y="1070894"/>
              <a:ext cx="1492273" cy="326563"/>
            </a:xfrm>
            <a:custGeom>
              <a:avLst/>
              <a:gdLst>
                <a:gd name="connsiteX0" fmla="*/ 180273 w 1492273"/>
                <a:gd name="connsiteY0" fmla="*/ 900 h 326563"/>
                <a:gd name="connsiteX1" fmla="*/ 83526 w 1492273"/>
                <a:gd name="connsiteY1" fmla="*/ 20775 h 326563"/>
                <a:gd name="connsiteX2" fmla="*/ 15954 w 1492273"/>
                <a:gd name="connsiteY2" fmla="*/ 92853 h 326563"/>
                <a:gd name="connsiteX3" fmla="*/ 2323 w 1492273"/>
                <a:gd name="connsiteY3" fmla="*/ 190737 h 326563"/>
                <a:gd name="connsiteX4" fmla="*/ 47618 w 1492273"/>
                <a:gd name="connsiteY4" fmla="*/ 278557 h 326563"/>
                <a:gd name="connsiteX5" fmla="*/ 135243 w 1492273"/>
                <a:gd name="connsiteY5" fmla="*/ 324153 h 326563"/>
                <a:gd name="connsiteX6" fmla="*/ 233098 w 1492273"/>
                <a:gd name="connsiteY6" fmla="*/ 310818 h 326563"/>
                <a:gd name="connsiteX7" fmla="*/ 305341 w 1492273"/>
                <a:gd name="connsiteY7" fmla="*/ 243429 h 326563"/>
                <a:gd name="connsiteX8" fmla="*/ 325507 w 1492273"/>
                <a:gd name="connsiteY8" fmla="*/ 146675 h 326563"/>
                <a:gd name="connsiteX9" fmla="*/ 278778 w 1492273"/>
                <a:gd name="connsiteY9" fmla="*/ 47965 h 326563"/>
                <a:gd name="connsiteX10" fmla="*/ 180273 w 1492273"/>
                <a:gd name="connsiteY10" fmla="*/ 900 h 326563"/>
                <a:gd name="connsiteX11" fmla="*/ 174984 w 1492273"/>
                <a:gd name="connsiteY11" fmla="*/ 249697 h 326563"/>
                <a:gd name="connsiteX12" fmla="*/ 122555 w 1492273"/>
                <a:gd name="connsiteY12" fmla="*/ 240277 h 326563"/>
                <a:gd name="connsiteX13" fmla="*/ 85427 w 1492273"/>
                <a:gd name="connsiteY13" fmla="*/ 202047 h 326563"/>
                <a:gd name="connsiteX14" fmla="*/ 77507 w 1492273"/>
                <a:gd name="connsiteY14" fmla="*/ 149329 h 326563"/>
                <a:gd name="connsiteX15" fmla="*/ 101766 w 1492273"/>
                <a:gd name="connsiteY15" fmla="*/ 101883 h 326563"/>
                <a:gd name="connsiteX16" fmla="*/ 149113 w 1492273"/>
                <a:gd name="connsiteY16" fmla="*/ 77461 h 326563"/>
                <a:gd name="connsiteX17" fmla="*/ 201825 w 1492273"/>
                <a:gd name="connsiteY17" fmla="*/ 85220 h 326563"/>
                <a:gd name="connsiteX18" fmla="*/ 240132 w 1492273"/>
                <a:gd name="connsiteY18" fmla="*/ 122247 h 326563"/>
                <a:gd name="connsiteX19" fmla="*/ 249714 w 1492273"/>
                <a:gd name="connsiteY19" fmla="*/ 174684 h 326563"/>
                <a:gd name="connsiteX20" fmla="*/ 225058 w 1492273"/>
                <a:gd name="connsiteY20" fmla="*/ 224868 h 326563"/>
                <a:gd name="connsiteX21" fmla="*/ 174984 w 1492273"/>
                <a:gd name="connsiteY21" fmla="*/ 249697 h 326563"/>
                <a:gd name="connsiteX22" fmla="*/ 412780 w 1492273"/>
                <a:gd name="connsiteY22" fmla="*/ 7358 h 326563"/>
                <a:gd name="connsiteX23" fmla="*/ 396435 w 1492273"/>
                <a:gd name="connsiteY23" fmla="*/ 11091 h 326563"/>
                <a:gd name="connsiteX24" fmla="*/ 383276 w 1492273"/>
                <a:gd name="connsiteY24" fmla="*/ 21498 h 326563"/>
                <a:gd name="connsiteX25" fmla="*/ 375859 w 1492273"/>
                <a:gd name="connsiteY25" fmla="*/ 36548 h 326563"/>
                <a:gd name="connsiteX26" fmla="*/ 375620 w 1492273"/>
                <a:gd name="connsiteY26" fmla="*/ 53325 h 326563"/>
                <a:gd name="connsiteX27" fmla="*/ 414209 w 1492273"/>
                <a:gd name="connsiteY27" fmla="*/ 83537 h 326563"/>
                <a:gd name="connsiteX28" fmla="*/ 520143 w 1492273"/>
                <a:gd name="connsiteY28" fmla="*/ 83537 h 326563"/>
                <a:gd name="connsiteX29" fmla="*/ 355289 w 1492273"/>
                <a:gd name="connsiteY29" fmla="*/ 301846 h 326563"/>
                <a:gd name="connsiteX30" fmla="*/ 353136 w 1492273"/>
                <a:gd name="connsiteY30" fmla="*/ 307389 h 326563"/>
                <a:gd name="connsiteX31" fmla="*/ 354212 w 1492273"/>
                <a:gd name="connsiteY31" fmla="*/ 313237 h 326563"/>
                <a:gd name="connsiteX32" fmla="*/ 358204 w 1492273"/>
                <a:gd name="connsiteY32" fmla="*/ 317647 h 326563"/>
                <a:gd name="connsiteX33" fmla="*/ 363921 w 1492273"/>
                <a:gd name="connsiteY33" fmla="*/ 319295 h 326563"/>
                <a:gd name="connsiteX34" fmla="*/ 622504 w 1492273"/>
                <a:gd name="connsiteY34" fmla="*/ 319295 h 326563"/>
                <a:gd name="connsiteX35" fmla="*/ 661099 w 1492273"/>
                <a:gd name="connsiteY35" fmla="*/ 289082 h 326563"/>
                <a:gd name="connsiteX36" fmla="*/ 660861 w 1492273"/>
                <a:gd name="connsiteY36" fmla="*/ 272299 h 326563"/>
                <a:gd name="connsiteX37" fmla="*/ 653451 w 1492273"/>
                <a:gd name="connsiteY37" fmla="*/ 257250 h 326563"/>
                <a:gd name="connsiteX38" fmla="*/ 640297 w 1492273"/>
                <a:gd name="connsiteY38" fmla="*/ 246849 h 326563"/>
                <a:gd name="connsiteX39" fmla="*/ 623952 w 1492273"/>
                <a:gd name="connsiteY39" fmla="*/ 243105 h 326563"/>
                <a:gd name="connsiteX40" fmla="*/ 494883 w 1492273"/>
                <a:gd name="connsiteY40" fmla="*/ 243105 h 326563"/>
                <a:gd name="connsiteX41" fmla="*/ 659613 w 1492273"/>
                <a:gd name="connsiteY41" fmla="*/ 24972 h 326563"/>
                <a:gd name="connsiteX42" fmla="*/ 661785 w 1492273"/>
                <a:gd name="connsiteY42" fmla="*/ 19371 h 326563"/>
                <a:gd name="connsiteX43" fmla="*/ 660690 w 1492273"/>
                <a:gd name="connsiteY43" fmla="*/ 13473 h 326563"/>
                <a:gd name="connsiteX44" fmla="*/ 656661 w 1492273"/>
                <a:gd name="connsiteY44" fmla="*/ 9021 h 326563"/>
                <a:gd name="connsiteX45" fmla="*/ 650888 w 1492273"/>
                <a:gd name="connsiteY45" fmla="*/ 7358 h 326563"/>
                <a:gd name="connsiteX46" fmla="*/ 412780 w 1492273"/>
                <a:gd name="connsiteY46" fmla="*/ 7358 h 326563"/>
                <a:gd name="connsiteX47" fmla="*/ 1446105 w 1492273"/>
                <a:gd name="connsiteY47" fmla="*/ 8240 h 326563"/>
                <a:gd name="connsiteX48" fmla="*/ 1424484 w 1492273"/>
                <a:gd name="connsiteY48" fmla="*/ 22127 h 326563"/>
                <a:gd name="connsiteX49" fmla="*/ 1416378 w 1492273"/>
                <a:gd name="connsiteY49" fmla="*/ 46473 h 326563"/>
                <a:gd name="connsiteX50" fmla="*/ 1416378 w 1492273"/>
                <a:gd name="connsiteY50" fmla="*/ 173313 h 326563"/>
                <a:gd name="connsiteX51" fmla="*/ 1210980 w 1492273"/>
                <a:gd name="connsiteY51" fmla="*/ 9758 h 326563"/>
                <a:gd name="connsiteX52" fmla="*/ 1205389 w 1492273"/>
                <a:gd name="connsiteY52" fmla="*/ 7453 h 326563"/>
                <a:gd name="connsiteX53" fmla="*/ 1199426 w 1492273"/>
                <a:gd name="connsiteY53" fmla="*/ 8482 h 326563"/>
                <a:gd name="connsiteX54" fmla="*/ 1194921 w 1492273"/>
                <a:gd name="connsiteY54" fmla="*/ 12520 h 326563"/>
                <a:gd name="connsiteX55" fmla="*/ 1193263 w 1492273"/>
                <a:gd name="connsiteY55" fmla="*/ 18343 h 326563"/>
                <a:gd name="connsiteX56" fmla="*/ 1193263 w 1492273"/>
                <a:gd name="connsiteY56" fmla="*/ 280243 h 326563"/>
                <a:gd name="connsiteX57" fmla="*/ 1201388 w 1492273"/>
                <a:gd name="connsiteY57" fmla="*/ 304589 h 326563"/>
                <a:gd name="connsiteX58" fmla="*/ 1222962 w 1492273"/>
                <a:gd name="connsiteY58" fmla="*/ 318486 h 326563"/>
                <a:gd name="connsiteX59" fmla="*/ 1239803 w 1492273"/>
                <a:gd name="connsiteY59" fmla="*/ 318362 h 326563"/>
                <a:gd name="connsiteX60" fmla="*/ 1254966 w 1492273"/>
                <a:gd name="connsiteY60" fmla="*/ 310961 h 326563"/>
                <a:gd name="connsiteX61" fmla="*/ 1265444 w 1492273"/>
                <a:gd name="connsiteY61" fmla="*/ 297721 h 326563"/>
                <a:gd name="connsiteX62" fmla="*/ 1269159 w 1492273"/>
                <a:gd name="connsiteY62" fmla="*/ 281272 h 326563"/>
                <a:gd name="connsiteX63" fmla="*/ 1269159 w 1492273"/>
                <a:gd name="connsiteY63" fmla="*/ 153323 h 326563"/>
                <a:gd name="connsiteX64" fmla="*/ 1474538 w 1492273"/>
                <a:gd name="connsiteY64" fmla="*/ 316885 h 326563"/>
                <a:gd name="connsiteX65" fmla="*/ 1480148 w 1492273"/>
                <a:gd name="connsiteY65" fmla="*/ 319190 h 326563"/>
                <a:gd name="connsiteX66" fmla="*/ 1486120 w 1492273"/>
                <a:gd name="connsiteY66" fmla="*/ 318162 h 326563"/>
                <a:gd name="connsiteX67" fmla="*/ 1490625 w 1492273"/>
                <a:gd name="connsiteY67" fmla="*/ 314123 h 326563"/>
                <a:gd name="connsiteX68" fmla="*/ 1492273 w 1492273"/>
                <a:gd name="connsiteY68" fmla="*/ 308303 h 326563"/>
                <a:gd name="connsiteX69" fmla="*/ 1492273 w 1492273"/>
                <a:gd name="connsiteY69" fmla="*/ 45444 h 326563"/>
                <a:gd name="connsiteX70" fmla="*/ 1488559 w 1492273"/>
                <a:gd name="connsiteY70" fmla="*/ 28985 h 326563"/>
                <a:gd name="connsiteX71" fmla="*/ 1478081 w 1492273"/>
                <a:gd name="connsiteY71" fmla="*/ 15759 h 326563"/>
                <a:gd name="connsiteX72" fmla="*/ 1462908 w 1492273"/>
                <a:gd name="connsiteY72" fmla="*/ 8354 h 326563"/>
                <a:gd name="connsiteX73" fmla="*/ 1446105 w 1492273"/>
                <a:gd name="connsiteY73" fmla="*/ 8240 h 326563"/>
                <a:gd name="connsiteX74" fmla="*/ 911265 w 1492273"/>
                <a:gd name="connsiteY74" fmla="*/ 76254 h 326563"/>
                <a:gd name="connsiteX75" fmla="*/ 1063066 w 1492273"/>
                <a:gd name="connsiteY75" fmla="*/ 163286 h 326563"/>
                <a:gd name="connsiteX76" fmla="*/ 911265 w 1492273"/>
                <a:gd name="connsiteY76" fmla="*/ 250325 h 326563"/>
                <a:gd name="connsiteX77" fmla="*/ 759483 w 1492273"/>
                <a:gd name="connsiteY77" fmla="*/ 163286 h 326563"/>
                <a:gd name="connsiteX78" fmla="*/ 911265 w 1492273"/>
                <a:gd name="connsiteY78" fmla="*/ 76254 h 326563"/>
                <a:gd name="connsiteX79" fmla="*/ 911265 w 1492273"/>
                <a:gd name="connsiteY79" fmla="*/ 67 h 326563"/>
                <a:gd name="connsiteX80" fmla="*/ 683578 w 1492273"/>
                <a:gd name="connsiteY80" fmla="*/ 163286 h 326563"/>
                <a:gd name="connsiteX81" fmla="*/ 911265 w 1492273"/>
                <a:gd name="connsiteY81" fmla="*/ 326506 h 326563"/>
                <a:gd name="connsiteX82" fmla="*/ 1138961 w 1492273"/>
                <a:gd name="connsiteY82" fmla="*/ 163286 h 326563"/>
                <a:gd name="connsiteX83" fmla="*/ 911265 w 1492273"/>
                <a:gd name="connsiteY83" fmla="*/ 67 h 3265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</a:cxnLst>
              <a:rect l="l" t="t" r="r" b="b"/>
              <a:pathLst>
                <a:path w="1492273" h="326563">
                  <a:moveTo>
                    <a:pt x="180273" y="900"/>
                  </a:moveTo>
                  <a:cubicBezTo>
                    <a:pt x="146739" y="-2638"/>
                    <a:pt x="112948" y="4310"/>
                    <a:pt x="83526" y="20775"/>
                  </a:cubicBezTo>
                  <a:cubicBezTo>
                    <a:pt x="54104" y="37240"/>
                    <a:pt x="30499" y="62424"/>
                    <a:pt x="15954" y="92853"/>
                  </a:cubicBezTo>
                  <a:cubicBezTo>
                    <a:pt x="1417" y="123295"/>
                    <a:pt x="-3344" y="157489"/>
                    <a:pt x="2323" y="190737"/>
                  </a:cubicBezTo>
                  <a:cubicBezTo>
                    <a:pt x="7990" y="223998"/>
                    <a:pt x="23812" y="254669"/>
                    <a:pt x="47618" y="278557"/>
                  </a:cubicBezTo>
                  <a:cubicBezTo>
                    <a:pt x="71412" y="302455"/>
                    <a:pt x="102030" y="318381"/>
                    <a:pt x="135243" y="324153"/>
                  </a:cubicBezTo>
                  <a:cubicBezTo>
                    <a:pt x="168455" y="329925"/>
                    <a:pt x="202644" y="325277"/>
                    <a:pt x="233098" y="310818"/>
                  </a:cubicBezTo>
                  <a:cubicBezTo>
                    <a:pt x="263559" y="296359"/>
                    <a:pt x="288801" y="272814"/>
                    <a:pt x="305341" y="243429"/>
                  </a:cubicBezTo>
                  <a:cubicBezTo>
                    <a:pt x="321894" y="214035"/>
                    <a:pt x="328933" y="180240"/>
                    <a:pt x="325507" y="146675"/>
                  </a:cubicBezTo>
                  <a:cubicBezTo>
                    <a:pt x="321736" y="109375"/>
                    <a:pt x="305234" y="74514"/>
                    <a:pt x="278778" y="47965"/>
                  </a:cubicBezTo>
                  <a:cubicBezTo>
                    <a:pt x="252327" y="21410"/>
                    <a:pt x="217534" y="4786"/>
                    <a:pt x="180273" y="900"/>
                  </a:cubicBezTo>
                  <a:close/>
                  <a:moveTo>
                    <a:pt x="174984" y="249697"/>
                  </a:moveTo>
                  <a:cubicBezTo>
                    <a:pt x="156946" y="252116"/>
                    <a:pt x="138617" y="248820"/>
                    <a:pt x="122555" y="240277"/>
                  </a:cubicBezTo>
                  <a:cubicBezTo>
                    <a:pt x="106488" y="231725"/>
                    <a:pt x="93505" y="218366"/>
                    <a:pt x="85427" y="202047"/>
                  </a:cubicBezTo>
                  <a:cubicBezTo>
                    <a:pt x="77349" y="185733"/>
                    <a:pt x="74579" y="167300"/>
                    <a:pt x="77507" y="149329"/>
                  </a:cubicBezTo>
                  <a:cubicBezTo>
                    <a:pt x="80440" y="131372"/>
                    <a:pt x="88922" y="114773"/>
                    <a:pt x="101766" y="101883"/>
                  </a:cubicBezTo>
                  <a:cubicBezTo>
                    <a:pt x="114610" y="88986"/>
                    <a:pt x="131176" y="80452"/>
                    <a:pt x="149113" y="77461"/>
                  </a:cubicBezTo>
                  <a:cubicBezTo>
                    <a:pt x="167057" y="74470"/>
                    <a:pt x="185493" y="77181"/>
                    <a:pt x="201825" y="85220"/>
                  </a:cubicBezTo>
                  <a:cubicBezTo>
                    <a:pt x="218145" y="93247"/>
                    <a:pt x="231543" y="106194"/>
                    <a:pt x="240132" y="122247"/>
                  </a:cubicBezTo>
                  <a:cubicBezTo>
                    <a:pt x="248725" y="138293"/>
                    <a:pt x="252068" y="156625"/>
                    <a:pt x="249714" y="174684"/>
                  </a:cubicBezTo>
                  <a:cubicBezTo>
                    <a:pt x="247233" y="193670"/>
                    <a:pt x="238569" y="211305"/>
                    <a:pt x="225058" y="224868"/>
                  </a:cubicBezTo>
                  <a:cubicBezTo>
                    <a:pt x="211546" y="238425"/>
                    <a:pt x="193948" y="247154"/>
                    <a:pt x="174984" y="249697"/>
                  </a:cubicBezTo>
                  <a:close/>
                  <a:moveTo>
                    <a:pt x="412780" y="7358"/>
                  </a:moveTo>
                  <a:cubicBezTo>
                    <a:pt x="407126" y="7370"/>
                    <a:pt x="401534" y="8646"/>
                    <a:pt x="396435" y="11091"/>
                  </a:cubicBezTo>
                  <a:cubicBezTo>
                    <a:pt x="391328" y="13536"/>
                    <a:pt x="386833" y="17092"/>
                    <a:pt x="383276" y="21498"/>
                  </a:cubicBezTo>
                  <a:cubicBezTo>
                    <a:pt x="379712" y="25899"/>
                    <a:pt x="377174" y="31042"/>
                    <a:pt x="375859" y="36548"/>
                  </a:cubicBezTo>
                  <a:cubicBezTo>
                    <a:pt x="374537" y="42053"/>
                    <a:pt x="374448" y="47787"/>
                    <a:pt x="375620" y="53325"/>
                  </a:cubicBezTo>
                  <a:cubicBezTo>
                    <a:pt x="379202" y="71282"/>
                    <a:pt x="395956" y="83537"/>
                    <a:pt x="414209" y="83537"/>
                  </a:cubicBezTo>
                  <a:lnTo>
                    <a:pt x="520143" y="83537"/>
                  </a:lnTo>
                  <a:lnTo>
                    <a:pt x="355289" y="301846"/>
                  </a:lnTo>
                  <a:cubicBezTo>
                    <a:pt x="354067" y="303455"/>
                    <a:pt x="353324" y="305379"/>
                    <a:pt x="353136" y="307389"/>
                  </a:cubicBezTo>
                  <a:cubicBezTo>
                    <a:pt x="352940" y="309399"/>
                    <a:pt x="353319" y="311428"/>
                    <a:pt x="354212" y="313237"/>
                  </a:cubicBezTo>
                  <a:cubicBezTo>
                    <a:pt x="355113" y="315047"/>
                    <a:pt x="356491" y="316581"/>
                    <a:pt x="358204" y="317647"/>
                  </a:cubicBezTo>
                  <a:cubicBezTo>
                    <a:pt x="359923" y="318714"/>
                    <a:pt x="361900" y="319286"/>
                    <a:pt x="363921" y="319295"/>
                  </a:cubicBezTo>
                  <a:lnTo>
                    <a:pt x="622504" y="319295"/>
                  </a:lnTo>
                  <a:cubicBezTo>
                    <a:pt x="640744" y="319295"/>
                    <a:pt x="657518" y="307037"/>
                    <a:pt x="661099" y="289082"/>
                  </a:cubicBezTo>
                  <a:cubicBezTo>
                    <a:pt x="662271" y="283539"/>
                    <a:pt x="662185" y="277805"/>
                    <a:pt x="660861" y="272299"/>
                  </a:cubicBezTo>
                  <a:cubicBezTo>
                    <a:pt x="659537" y="266794"/>
                    <a:pt x="657004" y="261650"/>
                    <a:pt x="653451" y="257250"/>
                  </a:cubicBezTo>
                  <a:cubicBezTo>
                    <a:pt x="649898" y="252849"/>
                    <a:pt x="645402" y="249297"/>
                    <a:pt x="640297" y="246849"/>
                  </a:cubicBezTo>
                  <a:cubicBezTo>
                    <a:pt x="635191" y="244391"/>
                    <a:pt x="629610" y="243115"/>
                    <a:pt x="623952" y="243105"/>
                  </a:cubicBezTo>
                  <a:lnTo>
                    <a:pt x="494883" y="243105"/>
                  </a:lnTo>
                  <a:lnTo>
                    <a:pt x="659613" y="24972"/>
                  </a:lnTo>
                  <a:cubicBezTo>
                    <a:pt x="660842" y="23340"/>
                    <a:pt x="661595" y="21403"/>
                    <a:pt x="661785" y="19371"/>
                  </a:cubicBezTo>
                  <a:cubicBezTo>
                    <a:pt x="661976" y="17340"/>
                    <a:pt x="661604" y="15295"/>
                    <a:pt x="660690" y="13473"/>
                  </a:cubicBezTo>
                  <a:cubicBezTo>
                    <a:pt x="659785" y="11637"/>
                    <a:pt x="658385" y="10101"/>
                    <a:pt x="656661" y="9021"/>
                  </a:cubicBezTo>
                  <a:cubicBezTo>
                    <a:pt x="654937" y="7942"/>
                    <a:pt x="652927" y="7363"/>
                    <a:pt x="650888" y="7358"/>
                  </a:cubicBezTo>
                  <a:lnTo>
                    <a:pt x="412780" y="7358"/>
                  </a:lnTo>
                  <a:close/>
                  <a:moveTo>
                    <a:pt x="1446105" y="8240"/>
                  </a:moveTo>
                  <a:cubicBezTo>
                    <a:pt x="1437514" y="10272"/>
                    <a:pt x="1429894" y="15174"/>
                    <a:pt x="1424484" y="22127"/>
                  </a:cubicBezTo>
                  <a:cubicBezTo>
                    <a:pt x="1419112" y="29080"/>
                    <a:pt x="1416254" y="37666"/>
                    <a:pt x="1416378" y="46473"/>
                  </a:cubicBezTo>
                  <a:lnTo>
                    <a:pt x="1416378" y="173313"/>
                  </a:lnTo>
                  <a:lnTo>
                    <a:pt x="1210980" y="9758"/>
                  </a:lnTo>
                  <a:cubicBezTo>
                    <a:pt x="1209361" y="8475"/>
                    <a:pt x="1207427" y="7675"/>
                    <a:pt x="1205389" y="7453"/>
                  </a:cubicBezTo>
                  <a:cubicBezTo>
                    <a:pt x="1203341" y="7230"/>
                    <a:pt x="1201274" y="7580"/>
                    <a:pt x="1199426" y="8482"/>
                  </a:cubicBezTo>
                  <a:cubicBezTo>
                    <a:pt x="1197569" y="9377"/>
                    <a:pt x="1196006" y="10773"/>
                    <a:pt x="1194921" y="12520"/>
                  </a:cubicBezTo>
                  <a:cubicBezTo>
                    <a:pt x="1193835" y="14273"/>
                    <a:pt x="1193254" y="16285"/>
                    <a:pt x="1193263" y="18343"/>
                  </a:cubicBezTo>
                  <a:lnTo>
                    <a:pt x="1193263" y="280243"/>
                  </a:lnTo>
                  <a:cubicBezTo>
                    <a:pt x="1193120" y="289054"/>
                    <a:pt x="1195987" y="297645"/>
                    <a:pt x="1201388" y="304589"/>
                  </a:cubicBezTo>
                  <a:cubicBezTo>
                    <a:pt x="1206789" y="311542"/>
                    <a:pt x="1214409" y="316447"/>
                    <a:pt x="1222962" y="318486"/>
                  </a:cubicBezTo>
                  <a:cubicBezTo>
                    <a:pt x="1228525" y="319714"/>
                    <a:pt x="1234288" y="319667"/>
                    <a:pt x="1239803" y="318362"/>
                  </a:cubicBezTo>
                  <a:cubicBezTo>
                    <a:pt x="1245346" y="317066"/>
                    <a:pt x="1250518" y="314533"/>
                    <a:pt x="1254966" y="310961"/>
                  </a:cubicBezTo>
                  <a:cubicBezTo>
                    <a:pt x="1259415" y="307389"/>
                    <a:pt x="1263006" y="302874"/>
                    <a:pt x="1265444" y="297721"/>
                  </a:cubicBezTo>
                  <a:cubicBezTo>
                    <a:pt x="1267882" y="292587"/>
                    <a:pt x="1269159" y="286958"/>
                    <a:pt x="1269159" y="281272"/>
                  </a:cubicBezTo>
                  <a:lnTo>
                    <a:pt x="1269159" y="153323"/>
                  </a:lnTo>
                  <a:lnTo>
                    <a:pt x="1474538" y="316885"/>
                  </a:lnTo>
                  <a:cubicBezTo>
                    <a:pt x="1476195" y="318171"/>
                    <a:pt x="1478138" y="318962"/>
                    <a:pt x="1480148" y="319190"/>
                  </a:cubicBezTo>
                  <a:cubicBezTo>
                    <a:pt x="1482224" y="319419"/>
                    <a:pt x="1484291" y="319057"/>
                    <a:pt x="1486120" y="318162"/>
                  </a:cubicBezTo>
                  <a:cubicBezTo>
                    <a:pt x="1487949" y="317266"/>
                    <a:pt x="1489530" y="315866"/>
                    <a:pt x="1490625" y="314123"/>
                  </a:cubicBezTo>
                  <a:cubicBezTo>
                    <a:pt x="1491721" y="312380"/>
                    <a:pt x="1492273" y="310361"/>
                    <a:pt x="1492273" y="308303"/>
                  </a:cubicBezTo>
                  <a:lnTo>
                    <a:pt x="1492273" y="45444"/>
                  </a:lnTo>
                  <a:cubicBezTo>
                    <a:pt x="1492273" y="39748"/>
                    <a:pt x="1490997" y="34123"/>
                    <a:pt x="1488559" y="28985"/>
                  </a:cubicBezTo>
                  <a:cubicBezTo>
                    <a:pt x="1486120" y="23848"/>
                    <a:pt x="1482529" y="19327"/>
                    <a:pt x="1478081" y="15759"/>
                  </a:cubicBezTo>
                  <a:cubicBezTo>
                    <a:pt x="1473633" y="12190"/>
                    <a:pt x="1468461" y="9656"/>
                    <a:pt x="1462908" y="8354"/>
                  </a:cubicBezTo>
                  <a:cubicBezTo>
                    <a:pt x="1457364" y="7059"/>
                    <a:pt x="1451649" y="7015"/>
                    <a:pt x="1446105" y="8240"/>
                  </a:cubicBezTo>
                  <a:close/>
                  <a:moveTo>
                    <a:pt x="911265" y="76254"/>
                  </a:moveTo>
                  <a:cubicBezTo>
                    <a:pt x="998152" y="76254"/>
                    <a:pt x="1063066" y="122196"/>
                    <a:pt x="1063066" y="163286"/>
                  </a:cubicBezTo>
                  <a:cubicBezTo>
                    <a:pt x="1063066" y="204383"/>
                    <a:pt x="998152" y="250325"/>
                    <a:pt x="911265" y="250325"/>
                  </a:cubicBezTo>
                  <a:cubicBezTo>
                    <a:pt x="824397" y="250325"/>
                    <a:pt x="759483" y="204383"/>
                    <a:pt x="759483" y="163286"/>
                  </a:cubicBezTo>
                  <a:cubicBezTo>
                    <a:pt x="759483" y="122196"/>
                    <a:pt x="824397" y="76254"/>
                    <a:pt x="911265" y="76254"/>
                  </a:cubicBezTo>
                  <a:close/>
                  <a:moveTo>
                    <a:pt x="911265" y="67"/>
                  </a:moveTo>
                  <a:cubicBezTo>
                    <a:pt x="785515" y="67"/>
                    <a:pt x="683578" y="73142"/>
                    <a:pt x="683578" y="163286"/>
                  </a:cubicBezTo>
                  <a:cubicBezTo>
                    <a:pt x="683578" y="253421"/>
                    <a:pt x="785515" y="326506"/>
                    <a:pt x="911265" y="326506"/>
                  </a:cubicBezTo>
                  <a:cubicBezTo>
                    <a:pt x="1037024" y="326506"/>
                    <a:pt x="1138961" y="253421"/>
                    <a:pt x="1138961" y="163286"/>
                  </a:cubicBezTo>
                  <a:cubicBezTo>
                    <a:pt x="1138961" y="73142"/>
                    <a:pt x="1037024" y="67"/>
                    <a:pt x="911265" y="67"/>
                  </a:cubicBezTo>
                  <a:close/>
                </a:path>
              </a:pathLst>
            </a:custGeom>
            <a:grpFill/>
            <a:ln w="76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2E22186C-4B12-E0C1-79B2-480F2CD086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441150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33" imgH="233" progId="TCLayout.ActiveDocument.1">
                  <p:embed/>
                </p:oleObj>
              </mc:Choice>
              <mc:Fallback>
                <p:oleObj name="Слайд think-cell" r:id="rId3" imgW="233" imgH="233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id="{2E22186C-4B12-E0C1-79B2-480F2CD086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6E1F914-6E31-3D8A-0729-94C84B17961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55808" y="1931435"/>
            <a:ext cx="6340418" cy="2123348"/>
          </a:xfrm>
        </p:spPr>
        <p:txBody>
          <a:bodyPr vert="horz" anchor="b">
            <a:noAutofit/>
          </a:bodyPr>
          <a:lstStyle>
            <a:lvl1pPr algn="l">
              <a:lnSpc>
                <a:spcPct val="87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ru-RU"/>
              <a:t>Напиши призыв </a:t>
            </a:r>
            <a:br>
              <a:rPr lang="ru-RU"/>
            </a:br>
            <a:r>
              <a:rPr lang="ru-RU"/>
              <a:t>к действию</a:t>
            </a:r>
            <a:r>
              <a:rPr lang="en-US"/>
              <a:t> </a:t>
            </a:r>
            <a:r>
              <a:rPr lang="ru-RU"/>
              <a:t>в 2–3 строки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EF11FA05-DC06-B340-2031-0DB23FEF24A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49400" y="5194112"/>
            <a:ext cx="3867020" cy="590868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Имя и фамилия спикера, контакты </a:t>
            </a:r>
            <a:br>
              <a:rPr lang="ru-RU"/>
            </a:br>
            <a:r>
              <a:rPr lang="ru-RU"/>
              <a:t>или другая информация</a:t>
            </a:r>
          </a:p>
        </p:txBody>
      </p:sp>
    </p:spTree>
    <p:extLst>
      <p:ext uri="{BB962C8B-B14F-4D97-AF65-F5344CB8AC3E}">
        <p14:creationId xmlns:p14="http://schemas.microsoft.com/office/powerpoint/2010/main" val="1931012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3" orient="horz" pos="216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sic_colo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9C6A208F-2A8F-8640-1889-7EF3989875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6547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33" imgH="233" progId="TCLayout.ActiveDocument.1">
                  <p:embed/>
                </p:oleObj>
              </mc:Choice>
              <mc:Fallback>
                <p:oleObj name="Слайд think-cell" r:id="rId3" imgW="233" imgH="233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9C6A208F-2A8F-8640-1889-7EF3989875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Заголовок 1">
            <a:extLst>
              <a:ext uri="{FF2B5EF4-FFF2-40B4-BE49-F238E27FC236}">
                <a16:creationId xmlns:a16="http://schemas.microsoft.com/office/drawing/2014/main" id="{1E7388FD-D149-4D25-0D53-8FD5721832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9764" y="411163"/>
            <a:ext cx="10910888" cy="68446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7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ru-RU"/>
              <a:t>Сформулируй заголовок </a:t>
            </a:r>
            <a:br>
              <a:rPr lang="ru-RU"/>
            </a:br>
            <a:r>
              <a:rPr lang="ru-RU"/>
              <a:t>слайда в 1–2 строки</a:t>
            </a:r>
          </a:p>
        </p:txBody>
      </p:sp>
      <p:sp>
        <p:nvSpPr>
          <p:cNvPr id="15" name="Объект 2">
            <a:extLst>
              <a:ext uri="{FF2B5EF4-FFF2-40B4-BE49-F238E27FC236}">
                <a16:creationId xmlns:a16="http://schemas.microsoft.com/office/drawing/2014/main" id="{00E81AAF-ABDB-4D08-7BE3-C7B407E68E1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763" y="1520824"/>
            <a:ext cx="10910887" cy="47418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5">
            <a:extLst>
              <a:ext uri="{FF2B5EF4-FFF2-40B4-BE49-F238E27FC236}">
                <a16:creationId xmlns:a16="http://schemas.microsoft.com/office/drawing/2014/main" id="{371F2FD1-0E8C-A36C-3CEF-FF20A77F36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57744" y="6430370"/>
            <a:ext cx="908050" cy="216000"/>
          </a:xfrm>
        </p:spPr>
        <p:txBody>
          <a:bodyPr/>
          <a:lstStyle>
            <a:lvl1pPr>
              <a:defRPr>
                <a:solidFill>
                  <a:schemeClr val="accent6">
                    <a:lumMod val="40000"/>
                    <a:lumOff val="60000"/>
                  </a:schemeClr>
                </a:solidFill>
              </a:defRPr>
            </a:lvl1pPr>
          </a:lstStyle>
          <a:p>
            <a:fld id="{EB5249F5-0093-48B0-B996-C4E44A87EAFB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35" name="Прямоугольник: скругленные углы 34">
            <a:extLst>
              <a:ext uri="{FF2B5EF4-FFF2-40B4-BE49-F238E27FC236}">
                <a16:creationId xmlns:a16="http://schemas.microsoft.com/office/drawing/2014/main" id="{C9800CF7-ABC5-B2F5-0454-607E6375863B}"/>
              </a:ext>
            </a:extLst>
          </p:cNvPr>
          <p:cNvSpPr/>
          <p:nvPr/>
        </p:nvSpPr>
        <p:spPr>
          <a:xfrm>
            <a:off x="-2138458" y="54865"/>
            <a:ext cx="1928241" cy="2826069"/>
          </a:xfrm>
          <a:prstGeom prst="roundRect">
            <a:avLst>
              <a:gd name="adj" fmla="val 5926"/>
            </a:avLst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" name="Прямоугольник: скругленные верхние углы 35">
            <a:extLst>
              <a:ext uri="{FF2B5EF4-FFF2-40B4-BE49-F238E27FC236}">
                <a16:creationId xmlns:a16="http://schemas.microsoft.com/office/drawing/2014/main" id="{C2940C45-7EC6-0986-B020-2D94E4C01F25}"/>
              </a:ext>
            </a:extLst>
          </p:cNvPr>
          <p:cNvSpPr/>
          <p:nvPr/>
        </p:nvSpPr>
        <p:spPr>
          <a:xfrm>
            <a:off x="-2136930" y="0"/>
            <a:ext cx="1926713" cy="2880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36000" rtlCol="0" anchor="ctr"/>
          <a:lstStyle/>
          <a:p>
            <a:pPr algn="ctr"/>
            <a:r>
              <a:rPr lang="ru-RU" sz="1100" b="1">
                <a:solidFill>
                  <a:schemeClr val="tx1"/>
                </a:solidFill>
              </a:rPr>
              <a:t>Размеры текста</a:t>
            </a:r>
          </a:p>
        </p:txBody>
      </p:sp>
      <p:graphicFrame>
        <p:nvGraphicFramePr>
          <p:cNvPr id="37" name="Таблица 46">
            <a:extLst>
              <a:ext uri="{FF2B5EF4-FFF2-40B4-BE49-F238E27FC236}">
                <a16:creationId xmlns:a16="http://schemas.microsoft.com/office/drawing/2014/main" id="{22E21D68-4F58-F199-36D3-C10450C366F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20574792"/>
              </p:ext>
            </p:extLst>
          </p:nvPr>
        </p:nvGraphicFramePr>
        <p:xfrm>
          <a:off x="-2046114" y="312643"/>
          <a:ext cx="1958731" cy="2142000"/>
        </p:xfrm>
        <a:graphic>
          <a:graphicData uri="http://schemas.openxmlformats.org/drawingml/2006/table">
            <a:tbl>
              <a:tblPr/>
              <a:tblGrid>
                <a:gridCol w="532517">
                  <a:extLst>
                    <a:ext uri="{9D8B030D-6E8A-4147-A177-3AD203B41FA5}">
                      <a16:colId xmlns:a16="http://schemas.microsoft.com/office/drawing/2014/main" val="2594385797"/>
                    </a:ext>
                  </a:extLst>
                </a:gridCol>
                <a:gridCol w="1426214">
                  <a:extLst>
                    <a:ext uri="{9D8B030D-6E8A-4147-A177-3AD203B41FA5}">
                      <a16:colId xmlns:a16="http://schemas.microsoft.com/office/drawing/2014/main" val="1017723076"/>
                    </a:ext>
                  </a:extLst>
                </a:gridCol>
              </a:tblGrid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44+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0" spc="-40" baseline="0"/>
                        <a:t>акцентные цифр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8329665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32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заголовки и самые </a:t>
                      </a:r>
                      <a:br>
                        <a:rPr lang="ru-RU" sz="1000" spc="-40" baseline="0"/>
                      </a:br>
                      <a:r>
                        <a:rPr lang="ru-RU" sz="1000" spc="-40" baseline="0"/>
                        <a:t>важные данные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17697917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24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8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подзаголовки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72780009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18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4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основной текст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0685745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4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2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торой уровень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текста (менее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ажная информация)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1997433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0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сноски, пояснения, </a:t>
                      </a:r>
                      <a:br>
                        <a:rPr lang="en-US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большие таблиц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76660845"/>
                  </a:ext>
                </a:extLst>
              </a:tr>
            </a:tbl>
          </a:graphicData>
        </a:graphic>
      </p:graphicFrame>
      <p:sp>
        <p:nvSpPr>
          <p:cNvPr id="38" name="Полилиния: фигура 37">
            <a:extLst>
              <a:ext uri="{FF2B5EF4-FFF2-40B4-BE49-F238E27FC236}">
                <a16:creationId xmlns:a16="http://schemas.microsoft.com/office/drawing/2014/main" id="{84FF97CD-0431-AB46-37C2-E699CA989913}"/>
              </a:ext>
            </a:extLst>
          </p:cNvPr>
          <p:cNvSpPr/>
          <p:nvPr/>
        </p:nvSpPr>
        <p:spPr>
          <a:xfrm>
            <a:off x="-2004344" y="2488864"/>
            <a:ext cx="216624" cy="228657"/>
          </a:xfrm>
          <a:custGeom>
            <a:avLst/>
            <a:gdLst>
              <a:gd name="connsiteX0" fmla="*/ 72536 w 171450"/>
              <a:gd name="connsiteY0" fmla="*/ 162210 h 180974"/>
              <a:gd name="connsiteX1" fmla="*/ 98923 w 171450"/>
              <a:gd name="connsiteY1" fmla="*/ 162210 h 180974"/>
              <a:gd name="connsiteX2" fmla="*/ 103600 w 171450"/>
              <a:gd name="connsiteY2" fmla="*/ 172160 h 180974"/>
              <a:gd name="connsiteX3" fmla="*/ 85726 w 171450"/>
              <a:gd name="connsiteY3" fmla="*/ 180974 h 180974"/>
              <a:gd name="connsiteX4" fmla="*/ 67852 w 171450"/>
              <a:gd name="connsiteY4" fmla="*/ 172160 h 180974"/>
              <a:gd name="connsiteX5" fmla="*/ 72536 w 171450"/>
              <a:gd name="connsiteY5" fmla="*/ 162210 h 180974"/>
              <a:gd name="connsiteX6" fmla="*/ 152400 w 171450"/>
              <a:gd name="connsiteY6" fmla="*/ 76200 h 180974"/>
              <a:gd name="connsiteX7" fmla="*/ 161925 w 171450"/>
              <a:gd name="connsiteY7" fmla="*/ 76200 h 180974"/>
              <a:gd name="connsiteX8" fmla="*/ 171450 w 171450"/>
              <a:gd name="connsiteY8" fmla="*/ 85725 h 180974"/>
              <a:gd name="connsiteX9" fmla="*/ 161925 w 171450"/>
              <a:gd name="connsiteY9" fmla="*/ 95250 h 180974"/>
              <a:gd name="connsiteX10" fmla="*/ 152400 w 171450"/>
              <a:gd name="connsiteY10" fmla="*/ 95250 h 180974"/>
              <a:gd name="connsiteX11" fmla="*/ 142875 w 171450"/>
              <a:gd name="connsiteY11" fmla="*/ 85725 h 180974"/>
              <a:gd name="connsiteX12" fmla="*/ 152400 w 171450"/>
              <a:gd name="connsiteY12" fmla="*/ 76200 h 180974"/>
              <a:gd name="connsiteX13" fmla="*/ 9525 w 171450"/>
              <a:gd name="connsiteY13" fmla="*/ 76200 h 180974"/>
              <a:gd name="connsiteX14" fmla="*/ 19050 w 171450"/>
              <a:gd name="connsiteY14" fmla="*/ 76200 h 180974"/>
              <a:gd name="connsiteX15" fmla="*/ 28575 w 171450"/>
              <a:gd name="connsiteY15" fmla="*/ 85725 h 180974"/>
              <a:gd name="connsiteX16" fmla="*/ 19050 w 171450"/>
              <a:gd name="connsiteY16" fmla="*/ 95250 h 180974"/>
              <a:gd name="connsiteX17" fmla="*/ 9525 w 171450"/>
              <a:gd name="connsiteY17" fmla="*/ 95250 h 180974"/>
              <a:gd name="connsiteX18" fmla="*/ 0 w 171450"/>
              <a:gd name="connsiteY18" fmla="*/ 85725 h 180974"/>
              <a:gd name="connsiteX19" fmla="*/ 9525 w 171450"/>
              <a:gd name="connsiteY19" fmla="*/ 76200 h 180974"/>
              <a:gd name="connsiteX20" fmla="*/ 85725 w 171450"/>
              <a:gd name="connsiteY20" fmla="*/ 38100 h 180974"/>
              <a:gd name="connsiteX21" fmla="*/ 133350 w 171450"/>
              <a:gd name="connsiteY21" fmla="*/ 85725 h 180974"/>
              <a:gd name="connsiteX22" fmla="*/ 123174 w 171450"/>
              <a:gd name="connsiteY22" fmla="*/ 114596 h 180974"/>
              <a:gd name="connsiteX23" fmla="*/ 114300 w 171450"/>
              <a:gd name="connsiteY23" fmla="*/ 138113 h 180974"/>
              <a:gd name="connsiteX24" fmla="*/ 85725 w 171450"/>
              <a:gd name="connsiteY24" fmla="*/ 152400 h 180974"/>
              <a:gd name="connsiteX25" fmla="*/ 57150 w 171450"/>
              <a:gd name="connsiteY25" fmla="*/ 138113 h 180974"/>
              <a:gd name="connsiteX26" fmla="*/ 48275 w 171450"/>
              <a:gd name="connsiteY26" fmla="*/ 114596 h 180974"/>
              <a:gd name="connsiteX27" fmla="*/ 38100 w 171450"/>
              <a:gd name="connsiteY27" fmla="*/ 85725 h 180974"/>
              <a:gd name="connsiteX28" fmla="*/ 85725 w 171450"/>
              <a:gd name="connsiteY28" fmla="*/ 38100 h 180974"/>
              <a:gd name="connsiteX29" fmla="*/ 136141 w 171450"/>
              <a:gd name="connsiteY29" fmla="*/ 21840 h 180974"/>
              <a:gd name="connsiteX30" fmla="*/ 149611 w 171450"/>
              <a:gd name="connsiteY30" fmla="*/ 21840 h 180974"/>
              <a:gd name="connsiteX31" fmla="*/ 149611 w 171450"/>
              <a:gd name="connsiteY31" fmla="*/ 35310 h 180974"/>
              <a:gd name="connsiteX32" fmla="*/ 140086 w 171450"/>
              <a:gd name="connsiteY32" fmla="*/ 44835 h 180974"/>
              <a:gd name="connsiteX33" fmla="*/ 126616 w 171450"/>
              <a:gd name="connsiteY33" fmla="*/ 44835 h 180974"/>
              <a:gd name="connsiteX34" fmla="*/ 126616 w 171450"/>
              <a:gd name="connsiteY34" fmla="*/ 31365 h 180974"/>
              <a:gd name="connsiteX35" fmla="*/ 21840 w 171450"/>
              <a:gd name="connsiteY35" fmla="*/ 21840 h 180974"/>
              <a:gd name="connsiteX36" fmla="*/ 35310 w 171450"/>
              <a:gd name="connsiteY36" fmla="*/ 21840 h 180974"/>
              <a:gd name="connsiteX37" fmla="*/ 44835 w 171450"/>
              <a:gd name="connsiteY37" fmla="*/ 31365 h 180974"/>
              <a:gd name="connsiteX38" fmla="*/ 44835 w 171450"/>
              <a:gd name="connsiteY38" fmla="*/ 44835 h 180974"/>
              <a:gd name="connsiteX39" fmla="*/ 31365 w 171450"/>
              <a:gd name="connsiteY39" fmla="*/ 44835 h 180974"/>
              <a:gd name="connsiteX40" fmla="*/ 21840 w 171450"/>
              <a:gd name="connsiteY40" fmla="*/ 35310 h 180974"/>
              <a:gd name="connsiteX41" fmla="*/ 21840 w 171450"/>
              <a:gd name="connsiteY41" fmla="*/ 21840 h 180974"/>
              <a:gd name="connsiteX42" fmla="*/ 85725 w 171450"/>
              <a:gd name="connsiteY42" fmla="*/ 0 h 180974"/>
              <a:gd name="connsiteX43" fmla="*/ 95250 w 171450"/>
              <a:gd name="connsiteY43" fmla="*/ 9525 h 180974"/>
              <a:gd name="connsiteX44" fmla="*/ 95250 w 171450"/>
              <a:gd name="connsiteY44" fmla="*/ 19050 h 180974"/>
              <a:gd name="connsiteX45" fmla="*/ 85725 w 171450"/>
              <a:gd name="connsiteY45" fmla="*/ 28575 h 180974"/>
              <a:gd name="connsiteX46" fmla="*/ 76200 w 171450"/>
              <a:gd name="connsiteY46" fmla="*/ 19050 h 180974"/>
              <a:gd name="connsiteX47" fmla="*/ 76200 w 171450"/>
              <a:gd name="connsiteY47" fmla="*/ 9525 h 180974"/>
              <a:gd name="connsiteX48" fmla="*/ 85725 w 171450"/>
              <a:gd name="connsiteY48" fmla="*/ 0 h 18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1450" h="180974">
                <a:moveTo>
                  <a:pt x="72536" y="162210"/>
                </a:moveTo>
                <a:cubicBezTo>
                  <a:pt x="80449" y="164140"/>
                  <a:pt x="90933" y="164211"/>
                  <a:pt x="98923" y="162210"/>
                </a:cubicBezTo>
                <a:cubicBezTo>
                  <a:pt x="105617" y="160534"/>
                  <a:pt x="105617" y="166533"/>
                  <a:pt x="103600" y="172160"/>
                </a:cubicBezTo>
                <a:cubicBezTo>
                  <a:pt x="100950" y="179549"/>
                  <a:pt x="95451" y="180974"/>
                  <a:pt x="85726" y="180974"/>
                </a:cubicBezTo>
                <a:cubicBezTo>
                  <a:pt x="76000" y="180974"/>
                  <a:pt x="70501" y="179549"/>
                  <a:pt x="67852" y="172160"/>
                </a:cubicBezTo>
                <a:cubicBezTo>
                  <a:pt x="65835" y="166534"/>
                  <a:pt x="65835" y="160576"/>
                  <a:pt x="72536" y="162210"/>
                </a:cubicBezTo>
                <a:close/>
                <a:moveTo>
                  <a:pt x="152400" y="76200"/>
                </a:moveTo>
                <a:lnTo>
                  <a:pt x="161925" y="76200"/>
                </a:lnTo>
                <a:cubicBezTo>
                  <a:pt x="167186" y="76200"/>
                  <a:pt x="171450" y="80464"/>
                  <a:pt x="171450" y="85725"/>
                </a:cubicBezTo>
                <a:cubicBezTo>
                  <a:pt x="171450" y="90986"/>
                  <a:pt x="167186" y="95250"/>
                  <a:pt x="161925" y="95250"/>
                </a:cubicBezTo>
                <a:lnTo>
                  <a:pt x="152400" y="95250"/>
                </a:lnTo>
                <a:cubicBezTo>
                  <a:pt x="147139" y="95250"/>
                  <a:pt x="142875" y="90986"/>
                  <a:pt x="142875" y="85725"/>
                </a:cubicBezTo>
                <a:cubicBezTo>
                  <a:pt x="142875" y="80464"/>
                  <a:pt x="147139" y="76200"/>
                  <a:pt x="152400" y="76200"/>
                </a:cubicBezTo>
                <a:close/>
                <a:moveTo>
                  <a:pt x="9525" y="76200"/>
                </a:moveTo>
                <a:lnTo>
                  <a:pt x="19050" y="76200"/>
                </a:lnTo>
                <a:cubicBezTo>
                  <a:pt x="24310" y="76200"/>
                  <a:pt x="28575" y="80464"/>
                  <a:pt x="28575" y="85725"/>
                </a:cubicBezTo>
                <a:cubicBezTo>
                  <a:pt x="28575" y="90986"/>
                  <a:pt x="24310" y="95250"/>
                  <a:pt x="19050" y="95250"/>
                </a:cubicBezTo>
                <a:lnTo>
                  <a:pt x="9525" y="95250"/>
                </a:lnTo>
                <a:cubicBezTo>
                  <a:pt x="4265" y="95250"/>
                  <a:pt x="0" y="90986"/>
                  <a:pt x="0" y="85725"/>
                </a:cubicBezTo>
                <a:cubicBezTo>
                  <a:pt x="0" y="80464"/>
                  <a:pt x="4265" y="76200"/>
                  <a:pt x="9525" y="76200"/>
                </a:cubicBezTo>
                <a:close/>
                <a:moveTo>
                  <a:pt x="85725" y="38100"/>
                </a:moveTo>
                <a:cubicBezTo>
                  <a:pt x="112027" y="38100"/>
                  <a:pt x="133350" y="58671"/>
                  <a:pt x="133350" y="85725"/>
                </a:cubicBezTo>
                <a:cubicBezTo>
                  <a:pt x="133350" y="100663"/>
                  <a:pt x="128144" y="107793"/>
                  <a:pt x="123174" y="114596"/>
                </a:cubicBezTo>
                <a:cubicBezTo>
                  <a:pt x="118639" y="120807"/>
                  <a:pt x="114300" y="126748"/>
                  <a:pt x="114300" y="138113"/>
                </a:cubicBezTo>
                <a:cubicBezTo>
                  <a:pt x="114300" y="147638"/>
                  <a:pt x="104775" y="152400"/>
                  <a:pt x="85725" y="152400"/>
                </a:cubicBezTo>
                <a:cubicBezTo>
                  <a:pt x="66675" y="152400"/>
                  <a:pt x="57150" y="147638"/>
                  <a:pt x="57150" y="138113"/>
                </a:cubicBezTo>
                <a:cubicBezTo>
                  <a:pt x="57150" y="126748"/>
                  <a:pt x="52811" y="120807"/>
                  <a:pt x="48275" y="114596"/>
                </a:cubicBezTo>
                <a:cubicBezTo>
                  <a:pt x="43306" y="107793"/>
                  <a:pt x="38100" y="100663"/>
                  <a:pt x="38100" y="85725"/>
                </a:cubicBezTo>
                <a:cubicBezTo>
                  <a:pt x="38100" y="57150"/>
                  <a:pt x="59422" y="38100"/>
                  <a:pt x="85725" y="38100"/>
                </a:cubicBezTo>
                <a:close/>
                <a:moveTo>
                  <a:pt x="136141" y="21840"/>
                </a:moveTo>
                <a:cubicBezTo>
                  <a:pt x="139860" y="18120"/>
                  <a:pt x="145891" y="18120"/>
                  <a:pt x="149611" y="21840"/>
                </a:cubicBezTo>
                <a:cubicBezTo>
                  <a:pt x="153330" y="25560"/>
                  <a:pt x="153330" y="31590"/>
                  <a:pt x="149611" y="35310"/>
                </a:cubicBezTo>
                <a:lnTo>
                  <a:pt x="140086" y="44835"/>
                </a:lnTo>
                <a:cubicBezTo>
                  <a:pt x="136366" y="48555"/>
                  <a:pt x="130335" y="48555"/>
                  <a:pt x="126616" y="44835"/>
                </a:cubicBezTo>
                <a:cubicBezTo>
                  <a:pt x="122896" y="41115"/>
                  <a:pt x="122896" y="35085"/>
                  <a:pt x="126616" y="31365"/>
                </a:cubicBezTo>
                <a:close/>
                <a:moveTo>
                  <a:pt x="21840" y="21840"/>
                </a:moveTo>
                <a:cubicBezTo>
                  <a:pt x="25560" y="18120"/>
                  <a:pt x="31590" y="18120"/>
                  <a:pt x="35310" y="21840"/>
                </a:cubicBezTo>
                <a:lnTo>
                  <a:pt x="44835" y="31365"/>
                </a:lnTo>
                <a:cubicBezTo>
                  <a:pt x="48555" y="35085"/>
                  <a:pt x="48555" y="41115"/>
                  <a:pt x="44835" y="44835"/>
                </a:cubicBezTo>
                <a:cubicBezTo>
                  <a:pt x="41115" y="48555"/>
                  <a:pt x="35085" y="48555"/>
                  <a:pt x="31365" y="44835"/>
                </a:cubicBezTo>
                <a:lnTo>
                  <a:pt x="21840" y="35310"/>
                </a:lnTo>
                <a:cubicBezTo>
                  <a:pt x="18120" y="31590"/>
                  <a:pt x="18120" y="25560"/>
                  <a:pt x="21840" y="21840"/>
                </a:cubicBezTo>
                <a:close/>
                <a:moveTo>
                  <a:pt x="85725" y="0"/>
                </a:moveTo>
                <a:cubicBezTo>
                  <a:pt x="90986" y="0"/>
                  <a:pt x="95250" y="4265"/>
                  <a:pt x="95250" y="9525"/>
                </a:cubicBezTo>
                <a:lnTo>
                  <a:pt x="95250" y="19050"/>
                </a:lnTo>
                <a:cubicBezTo>
                  <a:pt x="95250" y="24310"/>
                  <a:pt x="90986" y="28575"/>
                  <a:pt x="85725" y="28575"/>
                </a:cubicBezTo>
                <a:cubicBezTo>
                  <a:pt x="80464" y="28575"/>
                  <a:pt x="76200" y="24310"/>
                  <a:pt x="76200" y="19050"/>
                </a:cubicBezTo>
                <a:lnTo>
                  <a:pt x="76200" y="9525"/>
                </a:lnTo>
                <a:cubicBezTo>
                  <a:pt x="76200" y="4265"/>
                  <a:pt x="80464" y="0"/>
                  <a:pt x="85725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2" name="Полилиния: фигура 61">
            <a:extLst>
              <a:ext uri="{FF2B5EF4-FFF2-40B4-BE49-F238E27FC236}">
                <a16:creationId xmlns:a16="http://schemas.microsoft.com/office/drawing/2014/main" id="{A7B63E7B-62B1-B63D-8185-8BE47CB66443}"/>
              </a:ext>
            </a:extLst>
          </p:cNvPr>
          <p:cNvSpPr/>
          <p:nvPr/>
        </p:nvSpPr>
        <p:spPr>
          <a:xfrm>
            <a:off x="-2004344" y="2488864"/>
            <a:ext cx="216624" cy="228657"/>
          </a:xfrm>
          <a:custGeom>
            <a:avLst/>
            <a:gdLst>
              <a:gd name="connsiteX0" fmla="*/ 72536 w 171450"/>
              <a:gd name="connsiteY0" fmla="*/ 162210 h 180974"/>
              <a:gd name="connsiteX1" fmla="*/ 98923 w 171450"/>
              <a:gd name="connsiteY1" fmla="*/ 162210 h 180974"/>
              <a:gd name="connsiteX2" fmla="*/ 103600 w 171450"/>
              <a:gd name="connsiteY2" fmla="*/ 172160 h 180974"/>
              <a:gd name="connsiteX3" fmla="*/ 85726 w 171450"/>
              <a:gd name="connsiteY3" fmla="*/ 180974 h 180974"/>
              <a:gd name="connsiteX4" fmla="*/ 67852 w 171450"/>
              <a:gd name="connsiteY4" fmla="*/ 172160 h 180974"/>
              <a:gd name="connsiteX5" fmla="*/ 72536 w 171450"/>
              <a:gd name="connsiteY5" fmla="*/ 162210 h 180974"/>
              <a:gd name="connsiteX6" fmla="*/ 152400 w 171450"/>
              <a:gd name="connsiteY6" fmla="*/ 76200 h 180974"/>
              <a:gd name="connsiteX7" fmla="*/ 161925 w 171450"/>
              <a:gd name="connsiteY7" fmla="*/ 76200 h 180974"/>
              <a:gd name="connsiteX8" fmla="*/ 171450 w 171450"/>
              <a:gd name="connsiteY8" fmla="*/ 85725 h 180974"/>
              <a:gd name="connsiteX9" fmla="*/ 161925 w 171450"/>
              <a:gd name="connsiteY9" fmla="*/ 95250 h 180974"/>
              <a:gd name="connsiteX10" fmla="*/ 152400 w 171450"/>
              <a:gd name="connsiteY10" fmla="*/ 95250 h 180974"/>
              <a:gd name="connsiteX11" fmla="*/ 142875 w 171450"/>
              <a:gd name="connsiteY11" fmla="*/ 85725 h 180974"/>
              <a:gd name="connsiteX12" fmla="*/ 152400 w 171450"/>
              <a:gd name="connsiteY12" fmla="*/ 76200 h 180974"/>
              <a:gd name="connsiteX13" fmla="*/ 9525 w 171450"/>
              <a:gd name="connsiteY13" fmla="*/ 76200 h 180974"/>
              <a:gd name="connsiteX14" fmla="*/ 19050 w 171450"/>
              <a:gd name="connsiteY14" fmla="*/ 76200 h 180974"/>
              <a:gd name="connsiteX15" fmla="*/ 28575 w 171450"/>
              <a:gd name="connsiteY15" fmla="*/ 85725 h 180974"/>
              <a:gd name="connsiteX16" fmla="*/ 19050 w 171450"/>
              <a:gd name="connsiteY16" fmla="*/ 95250 h 180974"/>
              <a:gd name="connsiteX17" fmla="*/ 9525 w 171450"/>
              <a:gd name="connsiteY17" fmla="*/ 95250 h 180974"/>
              <a:gd name="connsiteX18" fmla="*/ 0 w 171450"/>
              <a:gd name="connsiteY18" fmla="*/ 85725 h 180974"/>
              <a:gd name="connsiteX19" fmla="*/ 9525 w 171450"/>
              <a:gd name="connsiteY19" fmla="*/ 76200 h 180974"/>
              <a:gd name="connsiteX20" fmla="*/ 85725 w 171450"/>
              <a:gd name="connsiteY20" fmla="*/ 38100 h 180974"/>
              <a:gd name="connsiteX21" fmla="*/ 133350 w 171450"/>
              <a:gd name="connsiteY21" fmla="*/ 85725 h 180974"/>
              <a:gd name="connsiteX22" fmla="*/ 123174 w 171450"/>
              <a:gd name="connsiteY22" fmla="*/ 114596 h 180974"/>
              <a:gd name="connsiteX23" fmla="*/ 114300 w 171450"/>
              <a:gd name="connsiteY23" fmla="*/ 138113 h 180974"/>
              <a:gd name="connsiteX24" fmla="*/ 85725 w 171450"/>
              <a:gd name="connsiteY24" fmla="*/ 152400 h 180974"/>
              <a:gd name="connsiteX25" fmla="*/ 57150 w 171450"/>
              <a:gd name="connsiteY25" fmla="*/ 138113 h 180974"/>
              <a:gd name="connsiteX26" fmla="*/ 48275 w 171450"/>
              <a:gd name="connsiteY26" fmla="*/ 114596 h 180974"/>
              <a:gd name="connsiteX27" fmla="*/ 38100 w 171450"/>
              <a:gd name="connsiteY27" fmla="*/ 85725 h 180974"/>
              <a:gd name="connsiteX28" fmla="*/ 85725 w 171450"/>
              <a:gd name="connsiteY28" fmla="*/ 38100 h 180974"/>
              <a:gd name="connsiteX29" fmla="*/ 136141 w 171450"/>
              <a:gd name="connsiteY29" fmla="*/ 21840 h 180974"/>
              <a:gd name="connsiteX30" fmla="*/ 149611 w 171450"/>
              <a:gd name="connsiteY30" fmla="*/ 21840 h 180974"/>
              <a:gd name="connsiteX31" fmla="*/ 149611 w 171450"/>
              <a:gd name="connsiteY31" fmla="*/ 35310 h 180974"/>
              <a:gd name="connsiteX32" fmla="*/ 140086 w 171450"/>
              <a:gd name="connsiteY32" fmla="*/ 44835 h 180974"/>
              <a:gd name="connsiteX33" fmla="*/ 126616 w 171450"/>
              <a:gd name="connsiteY33" fmla="*/ 44835 h 180974"/>
              <a:gd name="connsiteX34" fmla="*/ 126616 w 171450"/>
              <a:gd name="connsiteY34" fmla="*/ 31365 h 180974"/>
              <a:gd name="connsiteX35" fmla="*/ 21840 w 171450"/>
              <a:gd name="connsiteY35" fmla="*/ 21840 h 180974"/>
              <a:gd name="connsiteX36" fmla="*/ 35310 w 171450"/>
              <a:gd name="connsiteY36" fmla="*/ 21840 h 180974"/>
              <a:gd name="connsiteX37" fmla="*/ 44835 w 171450"/>
              <a:gd name="connsiteY37" fmla="*/ 31365 h 180974"/>
              <a:gd name="connsiteX38" fmla="*/ 44835 w 171450"/>
              <a:gd name="connsiteY38" fmla="*/ 44835 h 180974"/>
              <a:gd name="connsiteX39" fmla="*/ 31365 w 171450"/>
              <a:gd name="connsiteY39" fmla="*/ 44835 h 180974"/>
              <a:gd name="connsiteX40" fmla="*/ 21840 w 171450"/>
              <a:gd name="connsiteY40" fmla="*/ 35310 h 180974"/>
              <a:gd name="connsiteX41" fmla="*/ 21840 w 171450"/>
              <a:gd name="connsiteY41" fmla="*/ 21840 h 180974"/>
              <a:gd name="connsiteX42" fmla="*/ 85725 w 171450"/>
              <a:gd name="connsiteY42" fmla="*/ 0 h 180974"/>
              <a:gd name="connsiteX43" fmla="*/ 95250 w 171450"/>
              <a:gd name="connsiteY43" fmla="*/ 9525 h 180974"/>
              <a:gd name="connsiteX44" fmla="*/ 95250 w 171450"/>
              <a:gd name="connsiteY44" fmla="*/ 19050 h 180974"/>
              <a:gd name="connsiteX45" fmla="*/ 85725 w 171450"/>
              <a:gd name="connsiteY45" fmla="*/ 28575 h 180974"/>
              <a:gd name="connsiteX46" fmla="*/ 76200 w 171450"/>
              <a:gd name="connsiteY46" fmla="*/ 19050 h 180974"/>
              <a:gd name="connsiteX47" fmla="*/ 76200 w 171450"/>
              <a:gd name="connsiteY47" fmla="*/ 9525 h 180974"/>
              <a:gd name="connsiteX48" fmla="*/ 85725 w 171450"/>
              <a:gd name="connsiteY48" fmla="*/ 0 h 18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1450" h="180974">
                <a:moveTo>
                  <a:pt x="72536" y="162210"/>
                </a:moveTo>
                <a:cubicBezTo>
                  <a:pt x="80449" y="164140"/>
                  <a:pt x="90933" y="164211"/>
                  <a:pt x="98923" y="162210"/>
                </a:cubicBezTo>
                <a:cubicBezTo>
                  <a:pt x="105617" y="160534"/>
                  <a:pt x="105617" y="166533"/>
                  <a:pt x="103600" y="172160"/>
                </a:cubicBezTo>
                <a:cubicBezTo>
                  <a:pt x="100950" y="179549"/>
                  <a:pt x="95451" y="180974"/>
                  <a:pt x="85726" y="180974"/>
                </a:cubicBezTo>
                <a:cubicBezTo>
                  <a:pt x="76000" y="180974"/>
                  <a:pt x="70501" y="179549"/>
                  <a:pt x="67852" y="172160"/>
                </a:cubicBezTo>
                <a:cubicBezTo>
                  <a:pt x="65835" y="166534"/>
                  <a:pt x="65835" y="160576"/>
                  <a:pt x="72536" y="162210"/>
                </a:cubicBezTo>
                <a:close/>
                <a:moveTo>
                  <a:pt x="152400" y="76200"/>
                </a:moveTo>
                <a:lnTo>
                  <a:pt x="161925" y="76200"/>
                </a:lnTo>
                <a:cubicBezTo>
                  <a:pt x="167186" y="76200"/>
                  <a:pt x="171450" y="80464"/>
                  <a:pt x="171450" y="85725"/>
                </a:cubicBezTo>
                <a:cubicBezTo>
                  <a:pt x="171450" y="90986"/>
                  <a:pt x="167186" y="95250"/>
                  <a:pt x="161925" y="95250"/>
                </a:cubicBezTo>
                <a:lnTo>
                  <a:pt x="152400" y="95250"/>
                </a:lnTo>
                <a:cubicBezTo>
                  <a:pt x="147139" y="95250"/>
                  <a:pt x="142875" y="90986"/>
                  <a:pt x="142875" y="85725"/>
                </a:cubicBezTo>
                <a:cubicBezTo>
                  <a:pt x="142875" y="80464"/>
                  <a:pt x="147139" y="76200"/>
                  <a:pt x="152400" y="76200"/>
                </a:cubicBezTo>
                <a:close/>
                <a:moveTo>
                  <a:pt x="9525" y="76200"/>
                </a:moveTo>
                <a:lnTo>
                  <a:pt x="19050" y="76200"/>
                </a:lnTo>
                <a:cubicBezTo>
                  <a:pt x="24310" y="76200"/>
                  <a:pt x="28575" y="80464"/>
                  <a:pt x="28575" y="85725"/>
                </a:cubicBezTo>
                <a:cubicBezTo>
                  <a:pt x="28575" y="90986"/>
                  <a:pt x="24310" y="95250"/>
                  <a:pt x="19050" y="95250"/>
                </a:cubicBezTo>
                <a:lnTo>
                  <a:pt x="9525" y="95250"/>
                </a:lnTo>
                <a:cubicBezTo>
                  <a:pt x="4265" y="95250"/>
                  <a:pt x="0" y="90986"/>
                  <a:pt x="0" y="85725"/>
                </a:cubicBezTo>
                <a:cubicBezTo>
                  <a:pt x="0" y="80464"/>
                  <a:pt x="4265" y="76200"/>
                  <a:pt x="9525" y="76200"/>
                </a:cubicBezTo>
                <a:close/>
                <a:moveTo>
                  <a:pt x="85725" y="38100"/>
                </a:moveTo>
                <a:cubicBezTo>
                  <a:pt x="112027" y="38100"/>
                  <a:pt x="133350" y="58671"/>
                  <a:pt x="133350" y="85725"/>
                </a:cubicBezTo>
                <a:cubicBezTo>
                  <a:pt x="133350" y="100663"/>
                  <a:pt x="128144" y="107793"/>
                  <a:pt x="123174" y="114596"/>
                </a:cubicBezTo>
                <a:cubicBezTo>
                  <a:pt x="118639" y="120807"/>
                  <a:pt x="114300" y="126748"/>
                  <a:pt x="114300" y="138113"/>
                </a:cubicBezTo>
                <a:cubicBezTo>
                  <a:pt x="114300" y="147638"/>
                  <a:pt x="104775" y="152400"/>
                  <a:pt x="85725" y="152400"/>
                </a:cubicBezTo>
                <a:cubicBezTo>
                  <a:pt x="66675" y="152400"/>
                  <a:pt x="57150" y="147638"/>
                  <a:pt x="57150" y="138113"/>
                </a:cubicBezTo>
                <a:cubicBezTo>
                  <a:pt x="57150" y="126748"/>
                  <a:pt x="52811" y="120807"/>
                  <a:pt x="48275" y="114596"/>
                </a:cubicBezTo>
                <a:cubicBezTo>
                  <a:pt x="43306" y="107793"/>
                  <a:pt x="38100" y="100663"/>
                  <a:pt x="38100" y="85725"/>
                </a:cubicBezTo>
                <a:cubicBezTo>
                  <a:pt x="38100" y="57150"/>
                  <a:pt x="59422" y="38100"/>
                  <a:pt x="85725" y="38100"/>
                </a:cubicBezTo>
                <a:close/>
                <a:moveTo>
                  <a:pt x="136141" y="21840"/>
                </a:moveTo>
                <a:cubicBezTo>
                  <a:pt x="139860" y="18120"/>
                  <a:pt x="145891" y="18120"/>
                  <a:pt x="149611" y="21840"/>
                </a:cubicBezTo>
                <a:cubicBezTo>
                  <a:pt x="153330" y="25560"/>
                  <a:pt x="153330" y="31590"/>
                  <a:pt x="149611" y="35310"/>
                </a:cubicBezTo>
                <a:lnTo>
                  <a:pt x="140086" y="44835"/>
                </a:lnTo>
                <a:cubicBezTo>
                  <a:pt x="136366" y="48555"/>
                  <a:pt x="130335" y="48555"/>
                  <a:pt x="126616" y="44835"/>
                </a:cubicBezTo>
                <a:cubicBezTo>
                  <a:pt x="122896" y="41115"/>
                  <a:pt x="122896" y="35085"/>
                  <a:pt x="126616" y="31365"/>
                </a:cubicBezTo>
                <a:close/>
                <a:moveTo>
                  <a:pt x="21840" y="21840"/>
                </a:moveTo>
                <a:cubicBezTo>
                  <a:pt x="25560" y="18120"/>
                  <a:pt x="31590" y="18120"/>
                  <a:pt x="35310" y="21840"/>
                </a:cubicBezTo>
                <a:lnTo>
                  <a:pt x="44835" y="31365"/>
                </a:lnTo>
                <a:cubicBezTo>
                  <a:pt x="48555" y="35085"/>
                  <a:pt x="48555" y="41115"/>
                  <a:pt x="44835" y="44835"/>
                </a:cubicBezTo>
                <a:cubicBezTo>
                  <a:pt x="41115" y="48555"/>
                  <a:pt x="35085" y="48555"/>
                  <a:pt x="31365" y="44835"/>
                </a:cubicBezTo>
                <a:lnTo>
                  <a:pt x="21840" y="35310"/>
                </a:lnTo>
                <a:cubicBezTo>
                  <a:pt x="18120" y="31590"/>
                  <a:pt x="18120" y="25560"/>
                  <a:pt x="21840" y="21840"/>
                </a:cubicBezTo>
                <a:close/>
                <a:moveTo>
                  <a:pt x="85725" y="0"/>
                </a:moveTo>
                <a:cubicBezTo>
                  <a:pt x="90986" y="0"/>
                  <a:pt x="95250" y="4265"/>
                  <a:pt x="95250" y="9525"/>
                </a:cubicBezTo>
                <a:lnTo>
                  <a:pt x="95250" y="19050"/>
                </a:lnTo>
                <a:cubicBezTo>
                  <a:pt x="95250" y="24310"/>
                  <a:pt x="90986" y="28575"/>
                  <a:pt x="85725" y="28575"/>
                </a:cubicBezTo>
                <a:cubicBezTo>
                  <a:pt x="80464" y="28575"/>
                  <a:pt x="76200" y="24310"/>
                  <a:pt x="76200" y="19050"/>
                </a:cubicBezTo>
                <a:lnTo>
                  <a:pt x="76200" y="9525"/>
                </a:lnTo>
                <a:cubicBezTo>
                  <a:pt x="76200" y="4265"/>
                  <a:pt x="80464" y="0"/>
                  <a:pt x="85725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EC11CE47-F2DE-CA1C-5C0F-C21FAC0B5671}"/>
              </a:ext>
            </a:extLst>
          </p:cNvPr>
          <p:cNvSpPr txBox="1"/>
          <p:nvPr/>
        </p:nvSpPr>
        <p:spPr>
          <a:xfrm>
            <a:off x="-1691344" y="2506490"/>
            <a:ext cx="1373969" cy="2428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</a:pPr>
            <a:r>
              <a:rPr lang="ru-RU" sz="900" b="0">
                <a:solidFill>
                  <a:schemeClr val="accent1"/>
                </a:solidFill>
              </a:rPr>
              <a:t>Используй эти размеры </a:t>
            </a:r>
            <a:br>
              <a:rPr lang="ru-RU" sz="900" b="0">
                <a:solidFill>
                  <a:schemeClr val="accent1"/>
                </a:solidFill>
              </a:rPr>
            </a:br>
            <a:r>
              <a:rPr lang="ru-RU" sz="900" b="0">
                <a:solidFill>
                  <a:schemeClr val="accent1"/>
                </a:solidFill>
              </a:rPr>
              <a:t>по всей презентации</a:t>
            </a:r>
          </a:p>
        </p:txBody>
      </p:sp>
      <p:sp>
        <p:nvSpPr>
          <p:cNvPr id="6" name="Прямоугольник: скругленные верхние углы 5">
            <a:extLst>
              <a:ext uri="{FF2B5EF4-FFF2-40B4-BE49-F238E27FC236}">
                <a16:creationId xmlns:a16="http://schemas.microsoft.com/office/drawing/2014/main" id="{2A7065C9-92E3-6B9B-9ACA-AEB5C23862DE}"/>
              </a:ext>
            </a:extLst>
          </p:cNvPr>
          <p:cNvSpPr/>
          <p:nvPr/>
        </p:nvSpPr>
        <p:spPr>
          <a:xfrm>
            <a:off x="-2136930" y="0"/>
            <a:ext cx="1926713" cy="2880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36000" rtlCol="0" anchor="ctr"/>
          <a:lstStyle/>
          <a:p>
            <a:pPr algn="ctr"/>
            <a:r>
              <a:rPr lang="ru-RU" sz="1100" b="1">
                <a:solidFill>
                  <a:schemeClr val="tx1"/>
                </a:solidFill>
              </a:rPr>
              <a:t>Размеры текста</a:t>
            </a:r>
          </a:p>
        </p:txBody>
      </p:sp>
      <p:sp>
        <p:nvSpPr>
          <p:cNvPr id="9" name="Полилиния: фигура 8">
            <a:extLst>
              <a:ext uri="{FF2B5EF4-FFF2-40B4-BE49-F238E27FC236}">
                <a16:creationId xmlns:a16="http://schemas.microsoft.com/office/drawing/2014/main" id="{0832DE9F-07AB-D3EB-D833-C1DC910E0CE8}"/>
              </a:ext>
            </a:extLst>
          </p:cNvPr>
          <p:cNvSpPr/>
          <p:nvPr/>
        </p:nvSpPr>
        <p:spPr>
          <a:xfrm>
            <a:off x="-2004344" y="2488864"/>
            <a:ext cx="216624" cy="228657"/>
          </a:xfrm>
          <a:custGeom>
            <a:avLst/>
            <a:gdLst>
              <a:gd name="connsiteX0" fmla="*/ 72536 w 171450"/>
              <a:gd name="connsiteY0" fmla="*/ 162210 h 180974"/>
              <a:gd name="connsiteX1" fmla="*/ 98923 w 171450"/>
              <a:gd name="connsiteY1" fmla="*/ 162210 h 180974"/>
              <a:gd name="connsiteX2" fmla="*/ 103600 w 171450"/>
              <a:gd name="connsiteY2" fmla="*/ 172160 h 180974"/>
              <a:gd name="connsiteX3" fmla="*/ 85726 w 171450"/>
              <a:gd name="connsiteY3" fmla="*/ 180974 h 180974"/>
              <a:gd name="connsiteX4" fmla="*/ 67852 w 171450"/>
              <a:gd name="connsiteY4" fmla="*/ 172160 h 180974"/>
              <a:gd name="connsiteX5" fmla="*/ 72536 w 171450"/>
              <a:gd name="connsiteY5" fmla="*/ 162210 h 180974"/>
              <a:gd name="connsiteX6" fmla="*/ 152400 w 171450"/>
              <a:gd name="connsiteY6" fmla="*/ 76200 h 180974"/>
              <a:gd name="connsiteX7" fmla="*/ 161925 w 171450"/>
              <a:gd name="connsiteY7" fmla="*/ 76200 h 180974"/>
              <a:gd name="connsiteX8" fmla="*/ 171450 w 171450"/>
              <a:gd name="connsiteY8" fmla="*/ 85725 h 180974"/>
              <a:gd name="connsiteX9" fmla="*/ 161925 w 171450"/>
              <a:gd name="connsiteY9" fmla="*/ 95250 h 180974"/>
              <a:gd name="connsiteX10" fmla="*/ 152400 w 171450"/>
              <a:gd name="connsiteY10" fmla="*/ 95250 h 180974"/>
              <a:gd name="connsiteX11" fmla="*/ 142875 w 171450"/>
              <a:gd name="connsiteY11" fmla="*/ 85725 h 180974"/>
              <a:gd name="connsiteX12" fmla="*/ 152400 w 171450"/>
              <a:gd name="connsiteY12" fmla="*/ 76200 h 180974"/>
              <a:gd name="connsiteX13" fmla="*/ 9525 w 171450"/>
              <a:gd name="connsiteY13" fmla="*/ 76200 h 180974"/>
              <a:gd name="connsiteX14" fmla="*/ 19050 w 171450"/>
              <a:gd name="connsiteY14" fmla="*/ 76200 h 180974"/>
              <a:gd name="connsiteX15" fmla="*/ 28575 w 171450"/>
              <a:gd name="connsiteY15" fmla="*/ 85725 h 180974"/>
              <a:gd name="connsiteX16" fmla="*/ 19050 w 171450"/>
              <a:gd name="connsiteY16" fmla="*/ 95250 h 180974"/>
              <a:gd name="connsiteX17" fmla="*/ 9525 w 171450"/>
              <a:gd name="connsiteY17" fmla="*/ 95250 h 180974"/>
              <a:gd name="connsiteX18" fmla="*/ 0 w 171450"/>
              <a:gd name="connsiteY18" fmla="*/ 85725 h 180974"/>
              <a:gd name="connsiteX19" fmla="*/ 9525 w 171450"/>
              <a:gd name="connsiteY19" fmla="*/ 76200 h 180974"/>
              <a:gd name="connsiteX20" fmla="*/ 85725 w 171450"/>
              <a:gd name="connsiteY20" fmla="*/ 38100 h 180974"/>
              <a:gd name="connsiteX21" fmla="*/ 133350 w 171450"/>
              <a:gd name="connsiteY21" fmla="*/ 85725 h 180974"/>
              <a:gd name="connsiteX22" fmla="*/ 123174 w 171450"/>
              <a:gd name="connsiteY22" fmla="*/ 114596 h 180974"/>
              <a:gd name="connsiteX23" fmla="*/ 114300 w 171450"/>
              <a:gd name="connsiteY23" fmla="*/ 138113 h 180974"/>
              <a:gd name="connsiteX24" fmla="*/ 85725 w 171450"/>
              <a:gd name="connsiteY24" fmla="*/ 152400 h 180974"/>
              <a:gd name="connsiteX25" fmla="*/ 57150 w 171450"/>
              <a:gd name="connsiteY25" fmla="*/ 138113 h 180974"/>
              <a:gd name="connsiteX26" fmla="*/ 48275 w 171450"/>
              <a:gd name="connsiteY26" fmla="*/ 114596 h 180974"/>
              <a:gd name="connsiteX27" fmla="*/ 38100 w 171450"/>
              <a:gd name="connsiteY27" fmla="*/ 85725 h 180974"/>
              <a:gd name="connsiteX28" fmla="*/ 85725 w 171450"/>
              <a:gd name="connsiteY28" fmla="*/ 38100 h 180974"/>
              <a:gd name="connsiteX29" fmla="*/ 136141 w 171450"/>
              <a:gd name="connsiteY29" fmla="*/ 21840 h 180974"/>
              <a:gd name="connsiteX30" fmla="*/ 149611 w 171450"/>
              <a:gd name="connsiteY30" fmla="*/ 21840 h 180974"/>
              <a:gd name="connsiteX31" fmla="*/ 149611 w 171450"/>
              <a:gd name="connsiteY31" fmla="*/ 35310 h 180974"/>
              <a:gd name="connsiteX32" fmla="*/ 140086 w 171450"/>
              <a:gd name="connsiteY32" fmla="*/ 44835 h 180974"/>
              <a:gd name="connsiteX33" fmla="*/ 126616 w 171450"/>
              <a:gd name="connsiteY33" fmla="*/ 44835 h 180974"/>
              <a:gd name="connsiteX34" fmla="*/ 126616 w 171450"/>
              <a:gd name="connsiteY34" fmla="*/ 31365 h 180974"/>
              <a:gd name="connsiteX35" fmla="*/ 21840 w 171450"/>
              <a:gd name="connsiteY35" fmla="*/ 21840 h 180974"/>
              <a:gd name="connsiteX36" fmla="*/ 35310 w 171450"/>
              <a:gd name="connsiteY36" fmla="*/ 21840 h 180974"/>
              <a:gd name="connsiteX37" fmla="*/ 44835 w 171450"/>
              <a:gd name="connsiteY37" fmla="*/ 31365 h 180974"/>
              <a:gd name="connsiteX38" fmla="*/ 44835 w 171450"/>
              <a:gd name="connsiteY38" fmla="*/ 44835 h 180974"/>
              <a:gd name="connsiteX39" fmla="*/ 31365 w 171450"/>
              <a:gd name="connsiteY39" fmla="*/ 44835 h 180974"/>
              <a:gd name="connsiteX40" fmla="*/ 21840 w 171450"/>
              <a:gd name="connsiteY40" fmla="*/ 35310 h 180974"/>
              <a:gd name="connsiteX41" fmla="*/ 21840 w 171450"/>
              <a:gd name="connsiteY41" fmla="*/ 21840 h 180974"/>
              <a:gd name="connsiteX42" fmla="*/ 85725 w 171450"/>
              <a:gd name="connsiteY42" fmla="*/ 0 h 180974"/>
              <a:gd name="connsiteX43" fmla="*/ 95250 w 171450"/>
              <a:gd name="connsiteY43" fmla="*/ 9525 h 180974"/>
              <a:gd name="connsiteX44" fmla="*/ 95250 w 171450"/>
              <a:gd name="connsiteY44" fmla="*/ 19050 h 180974"/>
              <a:gd name="connsiteX45" fmla="*/ 85725 w 171450"/>
              <a:gd name="connsiteY45" fmla="*/ 28575 h 180974"/>
              <a:gd name="connsiteX46" fmla="*/ 76200 w 171450"/>
              <a:gd name="connsiteY46" fmla="*/ 19050 h 180974"/>
              <a:gd name="connsiteX47" fmla="*/ 76200 w 171450"/>
              <a:gd name="connsiteY47" fmla="*/ 9525 h 180974"/>
              <a:gd name="connsiteX48" fmla="*/ 85725 w 171450"/>
              <a:gd name="connsiteY48" fmla="*/ 0 h 18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1450" h="180974">
                <a:moveTo>
                  <a:pt x="72536" y="162210"/>
                </a:moveTo>
                <a:cubicBezTo>
                  <a:pt x="80449" y="164140"/>
                  <a:pt x="90933" y="164211"/>
                  <a:pt x="98923" y="162210"/>
                </a:cubicBezTo>
                <a:cubicBezTo>
                  <a:pt x="105617" y="160534"/>
                  <a:pt x="105617" y="166533"/>
                  <a:pt x="103600" y="172160"/>
                </a:cubicBezTo>
                <a:cubicBezTo>
                  <a:pt x="100950" y="179549"/>
                  <a:pt x="95451" y="180974"/>
                  <a:pt x="85726" y="180974"/>
                </a:cubicBezTo>
                <a:cubicBezTo>
                  <a:pt x="76000" y="180974"/>
                  <a:pt x="70501" y="179549"/>
                  <a:pt x="67852" y="172160"/>
                </a:cubicBezTo>
                <a:cubicBezTo>
                  <a:pt x="65835" y="166534"/>
                  <a:pt x="65835" y="160576"/>
                  <a:pt x="72536" y="162210"/>
                </a:cubicBezTo>
                <a:close/>
                <a:moveTo>
                  <a:pt x="152400" y="76200"/>
                </a:moveTo>
                <a:lnTo>
                  <a:pt x="161925" y="76200"/>
                </a:lnTo>
                <a:cubicBezTo>
                  <a:pt x="167186" y="76200"/>
                  <a:pt x="171450" y="80464"/>
                  <a:pt x="171450" y="85725"/>
                </a:cubicBezTo>
                <a:cubicBezTo>
                  <a:pt x="171450" y="90986"/>
                  <a:pt x="167186" y="95250"/>
                  <a:pt x="161925" y="95250"/>
                </a:cubicBezTo>
                <a:lnTo>
                  <a:pt x="152400" y="95250"/>
                </a:lnTo>
                <a:cubicBezTo>
                  <a:pt x="147139" y="95250"/>
                  <a:pt x="142875" y="90986"/>
                  <a:pt x="142875" y="85725"/>
                </a:cubicBezTo>
                <a:cubicBezTo>
                  <a:pt x="142875" y="80464"/>
                  <a:pt x="147139" y="76200"/>
                  <a:pt x="152400" y="76200"/>
                </a:cubicBezTo>
                <a:close/>
                <a:moveTo>
                  <a:pt x="9525" y="76200"/>
                </a:moveTo>
                <a:lnTo>
                  <a:pt x="19050" y="76200"/>
                </a:lnTo>
                <a:cubicBezTo>
                  <a:pt x="24310" y="76200"/>
                  <a:pt x="28575" y="80464"/>
                  <a:pt x="28575" y="85725"/>
                </a:cubicBezTo>
                <a:cubicBezTo>
                  <a:pt x="28575" y="90986"/>
                  <a:pt x="24310" y="95250"/>
                  <a:pt x="19050" y="95250"/>
                </a:cubicBezTo>
                <a:lnTo>
                  <a:pt x="9525" y="95250"/>
                </a:lnTo>
                <a:cubicBezTo>
                  <a:pt x="4265" y="95250"/>
                  <a:pt x="0" y="90986"/>
                  <a:pt x="0" y="85725"/>
                </a:cubicBezTo>
                <a:cubicBezTo>
                  <a:pt x="0" y="80464"/>
                  <a:pt x="4265" y="76200"/>
                  <a:pt x="9525" y="76200"/>
                </a:cubicBezTo>
                <a:close/>
                <a:moveTo>
                  <a:pt x="85725" y="38100"/>
                </a:moveTo>
                <a:cubicBezTo>
                  <a:pt x="112027" y="38100"/>
                  <a:pt x="133350" y="58671"/>
                  <a:pt x="133350" y="85725"/>
                </a:cubicBezTo>
                <a:cubicBezTo>
                  <a:pt x="133350" y="100663"/>
                  <a:pt x="128144" y="107793"/>
                  <a:pt x="123174" y="114596"/>
                </a:cubicBezTo>
                <a:cubicBezTo>
                  <a:pt x="118639" y="120807"/>
                  <a:pt x="114300" y="126748"/>
                  <a:pt x="114300" y="138113"/>
                </a:cubicBezTo>
                <a:cubicBezTo>
                  <a:pt x="114300" y="147638"/>
                  <a:pt x="104775" y="152400"/>
                  <a:pt x="85725" y="152400"/>
                </a:cubicBezTo>
                <a:cubicBezTo>
                  <a:pt x="66675" y="152400"/>
                  <a:pt x="57150" y="147638"/>
                  <a:pt x="57150" y="138113"/>
                </a:cubicBezTo>
                <a:cubicBezTo>
                  <a:pt x="57150" y="126748"/>
                  <a:pt x="52811" y="120807"/>
                  <a:pt x="48275" y="114596"/>
                </a:cubicBezTo>
                <a:cubicBezTo>
                  <a:pt x="43306" y="107793"/>
                  <a:pt x="38100" y="100663"/>
                  <a:pt x="38100" y="85725"/>
                </a:cubicBezTo>
                <a:cubicBezTo>
                  <a:pt x="38100" y="57150"/>
                  <a:pt x="59422" y="38100"/>
                  <a:pt x="85725" y="38100"/>
                </a:cubicBezTo>
                <a:close/>
                <a:moveTo>
                  <a:pt x="136141" y="21840"/>
                </a:moveTo>
                <a:cubicBezTo>
                  <a:pt x="139860" y="18120"/>
                  <a:pt x="145891" y="18120"/>
                  <a:pt x="149611" y="21840"/>
                </a:cubicBezTo>
                <a:cubicBezTo>
                  <a:pt x="153330" y="25560"/>
                  <a:pt x="153330" y="31590"/>
                  <a:pt x="149611" y="35310"/>
                </a:cubicBezTo>
                <a:lnTo>
                  <a:pt x="140086" y="44835"/>
                </a:lnTo>
                <a:cubicBezTo>
                  <a:pt x="136366" y="48555"/>
                  <a:pt x="130335" y="48555"/>
                  <a:pt x="126616" y="44835"/>
                </a:cubicBezTo>
                <a:cubicBezTo>
                  <a:pt x="122896" y="41115"/>
                  <a:pt x="122896" y="35085"/>
                  <a:pt x="126616" y="31365"/>
                </a:cubicBezTo>
                <a:close/>
                <a:moveTo>
                  <a:pt x="21840" y="21840"/>
                </a:moveTo>
                <a:cubicBezTo>
                  <a:pt x="25560" y="18120"/>
                  <a:pt x="31590" y="18120"/>
                  <a:pt x="35310" y="21840"/>
                </a:cubicBezTo>
                <a:lnTo>
                  <a:pt x="44835" y="31365"/>
                </a:lnTo>
                <a:cubicBezTo>
                  <a:pt x="48555" y="35085"/>
                  <a:pt x="48555" y="41115"/>
                  <a:pt x="44835" y="44835"/>
                </a:cubicBezTo>
                <a:cubicBezTo>
                  <a:pt x="41115" y="48555"/>
                  <a:pt x="35085" y="48555"/>
                  <a:pt x="31365" y="44835"/>
                </a:cubicBezTo>
                <a:lnTo>
                  <a:pt x="21840" y="35310"/>
                </a:lnTo>
                <a:cubicBezTo>
                  <a:pt x="18120" y="31590"/>
                  <a:pt x="18120" y="25560"/>
                  <a:pt x="21840" y="21840"/>
                </a:cubicBezTo>
                <a:close/>
                <a:moveTo>
                  <a:pt x="85725" y="0"/>
                </a:moveTo>
                <a:cubicBezTo>
                  <a:pt x="90986" y="0"/>
                  <a:pt x="95250" y="4265"/>
                  <a:pt x="95250" y="9525"/>
                </a:cubicBezTo>
                <a:lnTo>
                  <a:pt x="95250" y="19050"/>
                </a:lnTo>
                <a:cubicBezTo>
                  <a:pt x="95250" y="24310"/>
                  <a:pt x="90986" y="28575"/>
                  <a:pt x="85725" y="28575"/>
                </a:cubicBezTo>
                <a:cubicBezTo>
                  <a:pt x="80464" y="28575"/>
                  <a:pt x="76200" y="24310"/>
                  <a:pt x="76200" y="19050"/>
                </a:cubicBezTo>
                <a:lnTo>
                  <a:pt x="76200" y="9525"/>
                </a:lnTo>
                <a:cubicBezTo>
                  <a:pt x="76200" y="4265"/>
                  <a:pt x="80464" y="0"/>
                  <a:pt x="85725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721549CC-0872-1288-C1D5-BD89CF9450AC}"/>
              </a:ext>
            </a:extLst>
          </p:cNvPr>
          <p:cNvGrpSpPr/>
          <p:nvPr userDrawn="1"/>
        </p:nvGrpSpPr>
        <p:grpSpPr>
          <a:xfrm>
            <a:off x="-2138458" y="3070447"/>
            <a:ext cx="1935384" cy="3787553"/>
            <a:chOff x="-2138458" y="3070447"/>
            <a:chExt cx="1935384" cy="3787553"/>
          </a:xfrm>
        </p:grpSpPr>
        <p:sp>
          <p:nvSpPr>
            <p:cNvPr id="39" name="Прямоугольник: скругленные углы 38">
              <a:extLst>
                <a:ext uri="{FF2B5EF4-FFF2-40B4-BE49-F238E27FC236}">
                  <a16:creationId xmlns:a16="http://schemas.microsoft.com/office/drawing/2014/main" id="{26561D24-BBBB-253A-7A51-A96C57F40E5B}"/>
                </a:ext>
              </a:extLst>
            </p:cNvPr>
            <p:cNvSpPr/>
            <p:nvPr userDrawn="1"/>
          </p:nvSpPr>
          <p:spPr>
            <a:xfrm>
              <a:off x="-2138458" y="3125312"/>
              <a:ext cx="1928241" cy="2468818"/>
            </a:xfrm>
            <a:prstGeom prst="roundRect">
              <a:avLst>
                <a:gd name="adj" fmla="val 5926"/>
              </a:avLst>
            </a:prstGeom>
            <a:solidFill>
              <a:schemeClr val="bg1"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0" name="Прямоугольник: скругленные верхние углы 39">
              <a:extLst>
                <a:ext uri="{FF2B5EF4-FFF2-40B4-BE49-F238E27FC236}">
                  <a16:creationId xmlns:a16="http://schemas.microsoft.com/office/drawing/2014/main" id="{A2B8DFB7-79B0-0439-C360-6941BF32E4D7}"/>
                </a:ext>
              </a:extLst>
            </p:cNvPr>
            <p:cNvSpPr/>
            <p:nvPr/>
          </p:nvSpPr>
          <p:spPr>
            <a:xfrm>
              <a:off x="-2136930" y="3070447"/>
              <a:ext cx="1926713" cy="28800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36000" rtlCol="0" anchor="ctr"/>
            <a:lstStyle/>
            <a:p>
              <a:pPr algn="ctr"/>
              <a:r>
                <a:rPr lang="ru-RU" sz="1100" b="1">
                  <a:solidFill>
                    <a:schemeClr val="tx1"/>
                  </a:solidFill>
                </a:rPr>
                <a:t>Цвета </a:t>
              </a:r>
              <a:r>
                <a:rPr lang="en-US" sz="1100" b="1">
                  <a:solidFill>
                    <a:schemeClr val="tx1"/>
                  </a:solidFill>
                </a:rPr>
                <a:t>Ozon</a:t>
              </a:r>
              <a:endParaRPr lang="ru-RU" sz="1100" b="1">
                <a:solidFill>
                  <a:schemeClr val="tx1"/>
                </a:solidFill>
              </a:endParaRP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69298A01-26D5-77F0-1B44-28C8BBA32B5A}"/>
                </a:ext>
              </a:extLst>
            </p:cNvPr>
            <p:cNvSpPr txBox="1"/>
            <p:nvPr/>
          </p:nvSpPr>
          <p:spPr>
            <a:xfrm>
              <a:off x="-2003446" y="3412239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текста </a:t>
              </a:r>
            </a:p>
          </p:txBody>
        </p:sp>
        <p:sp>
          <p:nvSpPr>
            <p:cNvPr id="42" name="Прямоугольник: скругленные углы 41">
              <a:extLst>
                <a:ext uri="{FF2B5EF4-FFF2-40B4-BE49-F238E27FC236}">
                  <a16:creationId xmlns:a16="http://schemas.microsoft.com/office/drawing/2014/main" id="{21EA26B0-23BA-7A00-892D-A1F326878E52}"/>
                </a:ext>
              </a:extLst>
            </p:cNvPr>
            <p:cNvSpPr/>
            <p:nvPr/>
          </p:nvSpPr>
          <p:spPr>
            <a:xfrm>
              <a:off x="-2004344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3" name="Прямоугольник: скругленные углы 42">
              <a:extLst>
                <a:ext uri="{FF2B5EF4-FFF2-40B4-BE49-F238E27FC236}">
                  <a16:creationId xmlns:a16="http://schemas.microsoft.com/office/drawing/2014/main" id="{A5D3FC7E-9D3D-EB60-5F4A-AB0976EFEC60}"/>
                </a:ext>
              </a:extLst>
            </p:cNvPr>
            <p:cNvSpPr/>
            <p:nvPr/>
          </p:nvSpPr>
          <p:spPr>
            <a:xfrm>
              <a:off x="-1738339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6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9068336B-339F-1776-3C0F-78C717AA59C8}"/>
                </a:ext>
              </a:extLst>
            </p:cNvPr>
            <p:cNvSpPr txBox="1"/>
            <p:nvPr/>
          </p:nvSpPr>
          <p:spPr>
            <a:xfrm>
              <a:off x="-2003446" y="3935644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больших плашек</a:t>
              </a:r>
            </a:p>
          </p:txBody>
        </p:sp>
        <p:sp>
          <p:nvSpPr>
            <p:cNvPr id="49" name="Прямоугольник: скругленные углы 48">
              <a:extLst>
                <a:ext uri="{FF2B5EF4-FFF2-40B4-BE49-F238E27FC236}">
                  <a16:creationId xmlns:a16="http://schemas.microsoft.com/office/drawing/2014/main" id="{48ABCE10-7A7F-1324-4D1D-7AD10D1042B1}"/>
                </a:ext>
              </a:extLst>
            </p:cNvPr>
            <p:cNvSpPr/>
            <p:nvPr userDrawn="1"/>
          </p:nvSpPr>
          <p:spPr>
            <a:xfrm>
              <a:off x="-2004963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3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0FA92F67-A433-8731-5914-B14989A94311}"/>
                </a:ext>
              </a:extLst>
            </p:cNvPr>
            <p:cNvSpPr txBox="1"/>
            <p:nvPr/>
          </p:nvSpPr>
          <p:spPr>
            <a:xfrm>
              <a:off x="-2003446" y="4451492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а маленьких плашек</a:t>
              </a:r>
            </a:p>
          </p:txBody>
        </p:sp>
        <p:sp>
          <p:nvSpPr>
            <p:cNvPr id="53" name="Прямоугольник: скругленные углы 52">
              <a:extLst>
                <a:ext uri="{FF2B5EF4-FFF2-40B4-BE49-F238E27FC236}">
                  <a16:creationId xmlns:a16="http://schemas.microsoft.com/office/drawing/2014/main" id="{504D71D0-6847-ADE8-467F-77206D5DE761}"/>
                </a:ext>
              </a:extLst>
            </p:cNvPr>
            <p:cNvSpPr/>
            <p:nvPr/>
          </p:nvSpPr>
          <p:spPr>
            <a:xfrm>
              <a:off x="-1739900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B7EDC9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4" name="Прямоугольник: скругленные углы 53">
              <a:extLst>
                <a:ext uri="{FF2B5EF4-FFF2-40B4-BE49-F238E27FC236}">
                  <a16:creationId xmlns:a16="http://schemas.microsoft.com/office/drawing/2014/main" id="{AB17545C-2653-11B9-6AAD-F2414CA88813}"/>
                </a:ext>
              </a:extLst>
            </p:cNvPr>
            <p:cNvSpPr/>
            <p:nvPr/>
          </p:nvSpPr>
          <p:spPr>
            <a:xfrm>
              <a:off x="-1474837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FA800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5" name="Прямоугольник: скругленные углы 54">
              <a:extLst>
                <a:ext uri="{FF2B5EF4-FFF2-40B4-BE49-F238E27FC236}">
                  <a16:creationId xmlns:a16="http://schemas.microsoft.com/office/drawing/2014/main" id="{1D454EF4-1099-5940-A5D4-5F82D3172AE1}"/>
                </a:ext>
              </a:extLst>
            </p:cNvPr>
            <p:cNvSpPr/>
            <p:nvPr/>
          </p:nvSpPr>
          <p:spPr>
            <a:xfrm>
              <a:off x="-2004963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10C44C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FAB6D7EE-DAF5-E7EF-6D1E-0891469BD32B}"/>
                </a:ext>
              </a:extLst>
            </p:cNvPr>
            <p:cNvSpPr txBox="1"/>
            <p:nvPr/>
          </p:nvSpPr>
          <p:spPr>
            <a:xfrm>
              <a:off x="-2003446" y="4973480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900"/>
                <a:t>Рост / падение показателей</a:t>
              </a:r>
            </a:p>
          </p:txBody>
        </p:sp>
        <p:sp>
          <p:nvSpPr>
            <p:cNvPr id="44" name="Прямоугольник: скругленные углы 43">
              <a:extLst>
                <a:ext uri="{FF2B5EF4-FFF2-40B4-BE49-F238E27FC236}">
                  <a16:creationId xmlns:a16="http://schemas.microsoft.com/office/drawing/2014/main" id="{E6DA982A-4819-86A4-B3E3-3820BE19C0E0}"/>
                </a:ext>
              </a:extLst>
            </p:cNvPr>
            <p:cNvSpPr/>
            <p:nvPr/>
          </p:nvSpPr>
          <p:spPr>
            <a:xfrm>
              <a:off x="-2004963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3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2" name="Прямоугольник: скругленные углы 51">
              <a:extLst>
                <a:ext uri="{FF2B5EF4-FFF2-40B4-BE49-F238E27FC236}">
                  <a16:creationId xmlns:a16="http://schemas.microsoft.com/office/drawing/2014/main" id="{4C7A1397-7A11-591D-AA68-55A9039699E9}"/>
                </a:ext>
              </a:extLst>
            </p:cNvPr>
            <p:cNvSpPr/>
            <p:nvPr/>
          </p:nvSpPr>
          <p:spPr>
            <a:xfrm>
              <a:off x="-1740264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2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7" name="Прямоугольник: скругленные углы 56">
              <a:extLst>
                <a:ext uri="{FF2B5EF4-FFF2-40B4-BE49-F238E27FC236}">
                  <a16:creationId xmlns:a16="http://schemas.microsoft.com/office/drawing/2014/main" id="{64568EE7-F81D-84C3-5AE6-8B77C2134C94}"/>
                </a:ext>
              </a:extLst>
            </p:cNvPr>
            <p:cNvSpPr/>
            <p:nvPr/>
          </p:nvSpPr>
          <p:spPr>
            <a:xfrm>
              <a:off x="-1474837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8" name="Прямоугольник: скругленные углы 57">
              <a:extLst>
                <a:ext uri="{FF2B5EF4-FFF2-40B4-BE49-F238E27FC236}">
                  <a16:creationId xmlns:a16="http://schemas.microsoft.com/office/drawing/2014/main" id="{0BC0B63B-AFDA-54FE-3829-EC8AA6CFBAEB}"/>
                </a:ext>
              </a:extLst>
            </p:cNvPr>
            <p:cNvSpPr/>
            <p:nvPr/>
          </p:nvSpPr>
          <p:spPr>
            <a:xfrm>
              <a:off x="-2131314" y="5782119"/>
              <a:ext cx="1928240" cy="1075881"/>
            </a:xfrm>
            <a:prstGeom prst="roundRect">
              <a:avLst>
                <a:gd name="adj" fmla="val 12985"/>
              </a:avLst>
            </a:prstGeom>
            <a:solidFill>
              <a:schemeClr val="bg1"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72FE7B29-A123-EF1E-09DB-12AADC874FA6}"/>
                </a:ext>
              </a:extLst>
            </p:cNvPr>
            <p:cNvSpPr txBox="1"/>
            <p:nvPr/>
          </p:nvSpPr>
          <p:spPr>
            <a:xfrm>
              <a:off x="-1788338" y="5868204"/>
              <a:ext cx="1155882" cy="15109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l">
                <a:lnSpc>
                  <a:spcPct val="90000"/>
                </a:lnSpc>
              </a:pPr>
              <a:r>
                <a:rPr lang="ru-RU" sz="1000" b="1">
                  <a:solidFill>
                    <a:schemeClr val="accent1"/>
                  </a:solidFill>
                </a:rPr>
                <a:t>Шаблон </a:t>
              </a:r>
              <a:r>
                <a:rPr lang="en-US" sz="1000" b="1">
                  <a:solidFill>
                    <a:schemeClr val="accent1"/>
                  </a:solidFill>
                </a:rPr>
                <a:t>Ozon</a:t>
              </a:r>
              <a:endParaRPr lang="ru-RU" sz="1000" b="1">
                <a:solidFill>
                  <a:schemeClr val="accent1"/>
                </a:solidFill>
              </a:endParaRPr>
            </a:p>
          </p:txBody>
        </p:sp>
        <p:sp>
          <p:nvSpPr>
            <p:cNvPr id="60" name="Рисунок 93">
              <a:extLst>
                <a:ext uri="{FF2B5EF4-FFF2-40B4-BE49-F238E27FC236}">
                  <a16:creationId xmlns:a16="http://schemas.microsoft.com/office/drawing/2014/main" id="{AA53B632-DD94-4453-746B-3AC3CCA27D0B}"/>
                </a:ext>
              </a:extLst>
            </p:cNvPr>
            <p:cNvSpPr/>
            <p:nvPr/>
          </p:nvSpPr>
          <p:spPr>
            <a:xfrm>
              <a:off x="-2004963" y="5853908"/>
              <a:ext cx="161099" cy="161099"/>
            </a:xfrm>
            <a:custGeom>
              <a:avLst/>
              <a:gdLst>
                <a:gd name="connsiteX0" fmla="*/ 85725 w 171450"/>
                <a:gd name="connsiteY0" fmla="*/ 171450 h 171450"/>
                <a:gd name="connsiteX1" fmla="*/ 171450 w 171450"/>
                <a:gd name="connsiteY1" fmla="*/ 85725 h 171450"/>
                <a:gd name="connsiteX2" fmla="*/ 85725 w 171450"/>
                <a:gd name="connsiteY2" fmla="*/ 0 h 171450"/>
                <a:gd name="connsiteX3" fmla="*/ 0 w 171450"/>
                <a:gd name="connsiteY3" fmla="*/ 85725 h 171450"/>
                <a:gd name="connsiteX4" fmla="*/ 85725 w 171450"/>
                <a:gd name="connsiteY4" fmla="*/ 171450 h 171450"/>
                <a:gd name="connsiteX5" fmla="*/ 130560 w 171450"/>
                <a:gd name="connsiteY5" fmla="*/ 73410 h 171450"/>
                <a:gd name="connsiteX6" fmla="*/ 82935 w 171450"/>
                <a:gd name="connsiteY6" fmla="*/ 121035 h 171450"/>
                <a:gd name="connsiteX7" fmla="*/ 69465 w 171450"/>
                <a:gd name="connsiteY7" fmla="*/ 121035 h 171450"/>
                <a:gd name="connsiteX8" fmla="*/ 40890 w 171450"/>
                <a:gd name="connsiteY8" fmla="*/ 92460 h 171450"/>
                <a:gd name="connsiteX9" fmla="*/ 40890 w 171450"/>
                <a:gd name="connsiteY9" fmla="*/ 78990 h 171450"/>
                <a:gd name="connsiteX10" fmla="*/ 54360 w 171450"/>
                <a:gd name="connsiteY10" fmla="*/ 78990 h 171450"/>
                <a:gd name="connsiteX11" fmla="*/ 76200 w 171450"/>
                <a:gd name="connsiteY11" fmla="*/ 100830 h 171450"/>
                <a:gd name="connsiteX12" fmla="*/ 117090 w 171450"/>
                <a:gd name="connsiteY12" fmla="*/ 59940 h 171450"/>
                <a:gd name="connsiteX13" fmla="*/ 130560 w 171450"/>
                <a:gd name="connsiteY13" fmla="*/ 59940 h 171450"/>
                <a:gd name="connsiteX14" fmla="*/ 130560 w 171450"/>
                <a:gd name="connsiteY14" fmla="*/ 7341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71450" h="171450">
                  <a:moveTo>
                    <a:pt x="85725" y="171450"/>
                  </a:moveTo>
                  <a:cubicBezTo>
                    <a:pt x="138915" y="171450"/>
                    <a:pt x="171450" y="138915"/>
                    <a:pt x="171450" y="85725"/>
                  </a:cubicBezTo>
                  <a:cubicBezTo>
                    <a:pt x="171450" y="32535"/>
                    <a:pt x="138915" y="0"/>
                    <a:pt x="85725" y="0"/>
                  </a:cubicBezTo>
                  <a:cubicBezTo>
                    <a:pt x="32535" y="0"/>
                    <a:pt x="0" y="32535"/>
                    <a:pt x="0" y="85725"/>
                  </a:cubicBezTo>
                  <a:cubicBezTo>
                    <a:pt x="0" y="138915"/>
                    <a:pt x="32535" y="171450"/>
                    <a:pt x="85725" y="171450"/>
                  </a:cubicBezTo>
                  <a:close/>
                  <a:moveTo>
                    <a:pt x="130560" y="73410"/>
                  </a:moveTo>
                  <a:lnTo>
                    <a:pt x="82935" y="121035"/>
                  </a:lnTo>
                  <a:cubicBezTo>
                    <a:pt x="79216" y="124755"/>
                    <a:pt x="73184" y="124755"/>
                    <a:pt x="69465" y="121035"/>
                  </a:cubicBezTo>
                  <a:lnTo>
                    <a:pt x="40890" y="92460"/>
                  </a:lnTo>
                  <a:cubicBezTo>
                    <a:pt x="37170" y="88741"/>
                    <a:pt x="37170" y="82709"/>
                    <a:pt x="40890" y="78990"/>
                  </a:cubicBezTo>
                  <a:cubicBezTo>
                    <a:pt x="44610" y="75270"/>
                    <a:pt x="50640" y="75270"/>
                    <a:pt x="54360" y="78990"/>
                  </a:cubicBezTo>
                  <a:lnTo>
                    <a:pt x="76200" y="100830"/>
                  </a:lnTo>
                  <a:lnTo>
                    <a:pt x="117090" y="59940"/>
                  </a:lnTo>
                  <a:cubicBezTo>
                    <a:pt x="120809" y="56220"/>
                    <a:pt x="126841" y="56220"/>
                    <a:pt x="130560" y="59940"/>
                  </a:cubicBezTo>
                  <a:cubicBezTo>
                    <a:pt x="134280" y="63660"/>
                    <a:pt x="134280" y="69691"/>
                    <a:pt x="130560" y="7341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8DE6F264-2180-A77B-E487-478DC7F970C2}"/>
                </a:ext>
              </a:extLst>
            </p:cNvPr>
            <p:cNvSpPr txBox="1"/>
            <p:nvPr userDrawn="1"/>
          </p:nvSpPr>
          <p:spPr>
            <a:xfrm>
              <a:off x="-2004962" y="6072106"/>
              <a:ext cx="1687587" cy="60024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>
                <a:lnSpc>
                  <a:spcPct val="110000"/>
                </a:lnSpc>
              </a:pPr>
              <a:r>
                <a:rPr lang="ru-RU" sz="900" spc="-30" baseline="0">
                  <a:solidFill>
                    <a:schemeClr val="tx2"/>
                  </a:solidFill>
                </a:rPr>
                <a:t>Если нужно больше материалов: </a:t>
              </a:r>
              <a:r>
                <a:rPr lang="ru-RU" sz="900" b="1" spc="-30" baseline="0">
                  <a:solidFill>
                    <a:schemeClr val="tx2"/>
                  </a:solidFill>
                </a:rPr>
                <a:t>правое меню </a:t>
              </a:r>
              <a:r>
                <a:rPr lang="en-US" sz="900" b="1" spc="-30" baseline="0">
                  <a:solidFill>
                    <a:schemeClr val="tx2"/>
                  </a:solidFill>
                </a:rPr>
                <a:t>Staff — Brand </a:t>
              </a:r>
              <a:r>
                <a:rPr lang="ru-RU" sz="900" b="1" spc="-30" baseline="0">
                  <a:solidFill>
                    <a:schemeClr val="tx2"/>
                  </a:solidFill>
                </a:rPr>
                <a:t>— Всё для презентаций. </a:t>
              </a:r>
              <a:r>
                <a:rPr lang="ru-RU" sz="900" b="0" spc="-30" baseline="0">
                  <a:solidFill>
                    <a:schemeClr val="tx2"/>
                  </a:solidFill>
                </a:rPr>
                <a:t>Или пиши нам на </a:t>
              </a:r>
              <a:r>
                <a:rPr lang="en-US" sz="900" b="0" spc="-30" baseline="0">
                  <a:solidFill>
                    <a:schemeClr val="tx2"/>
                  </a:solidFill>
                </a:rPr>
                <a:t>presentations@ozon.ru.</a:t>
              </a:r>
              <a:r>
                <a:rPr lang="ru-RU" sz="900" b="0" spc="-30" baseline="0">
                  <a:solidFill>
                    <a:schemeClr val="tx2"/>
                  </a:solidFill>
                </a:rPr>
                <a:t> </a:t>
              </a:r>
            </a:p>
          </p:txBody>
        </p:sp>
        <p:sp>
          <p:nvSpPr>
            <p:cNvPr id="64" name="Прямоугольник: скругленные углы 63">
              <a:extLst>
                <a:ext uri="{FF2B5EF4-FFF2-40B4-BE49-F238E27FC236}">
                  <a16:creationId xmlns:a16="http://schemas.microsoft.com/office/drawing/2014/main" id="{2B9BFCAF-86CA-1244-E85A-F30E4AC766F2}"/>
                </a:ext>
              </a:extLst>
            </p:cNvPr>
            <p:cNvSpPr/>
            <p:nvPr/>
          </p:nvSpPr>
          <p:spPr>
            <a:xfrm>
              <a:off x="-944711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53C14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5" name="Прямоугольник: скругленные углы 64">
              <a:extLst>
                <a:ext uri="{FF2B5EF4-FFF2-40B4-BE49-F238E27FC236}">
                  <a16:creationId xmlns:a16="http://schemas.microsoft.com/office/drawing/2014/main" id="{860A63BB-781E-AEA8-4E5D-D35214A49880}"/>
                </a:ext>
              </a:extLst>
            </p:cNvPr>
            <p:cNvSpPr/>
            <p:nvPr/>
          </p:nvSpPr>
          <p:spPr>
            <a:xfrm>
              <a:off x="-679648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CC4B8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6" name="Прямоугольник: скругленные углы 65">
              <a:extLst>
                <a:ext uri="{FF2B5EF4-FFF2-40B4-BE49-F238E27FC236}">
                  <a16:creationId xmlns:a16="http://schemas.microsoft.com/office/drawing/2014/main" id="{09CABE96-EC03-3157-B363-C0896B3891CC}"/>
                </a:ext>
              </a:extLst>
            </p:cNvPr>
            <p:cNvSpPr/>
            <p:nvPr/>
          </p:nvSpPr>
          <p:spPr>
            <a:xfrm>
              <a:off x="-1209774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FE5B2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3" name="Прямоугольник: скругленные верхние углы 12">
              <a:extLst>
                <a:ext uri="{FF2B5EF4-FFF2-40B4-BE49-F238E27FC236}">
                  <a16:creationId xmlns:a16="http://schemas.microsoft.com/office/drawing/2014/main" id="{EF4B2147-300C-3BFA-81C6-8712BD20BD73}"/>
                </a:ext>
              </a:extLst>
            </p:cNvPr>
            <p:cNvSpPr/>
            <p:nvPr/>
          </p:nvSpPr>
          <p:spPr>
            <a:xfrm>
              <a:off x="-2136930" y="3070447"/>
              <a:ext cx="1926713" cy="28800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36000" rtlCol="0" anchor="ctr"/>
            <a:lstStyle/>
            <a:p>
              <a:pPr algn="ctr"/>
              <a:r>
                <a:rPr lang="ru-RU" sz="1100" b="1">
                  <a:solidFill>
                    <a:schemeClr val="tx1"/>
                  </a:solidFill>
                </a:rPr>
                <a:t>Цвета </a:t>
              </a:r>
              <a:r>
                <a:rPr lang="en-US" sz="1100" b="1">
                  <a:solidFill>
                    <a:schemeClr val="tx1"/>
                  </a:solidFill>
                </a:rPr>
                <a:t>Ozon</a:t>
              </a:r>
              <a:endParaRPr lang="ru-RU" sz="1100" b="1">
                <a:solidFill>
                  <a:schemeClr val="tx1"/>
                </a:solidFill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34EE10FC-9DA3-93DA-C40F-EE6AAC1DA6AC}"/>
                </a:ext>
              </a:extLst>
            </p:cNvPr>
            <p:cNvSpPr txBox="1"/>
            <p:nvPr/>
          </p:nvSpPr>
          <p:spPr>
            <a:xfrm>
              <a:off x="-2003446" y="3412239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текста </a:t>
              </a:r>
            </a:p>
          </p:txBody>
        </p:sp>
        <p:sp>
          <p:nvSpPr>
            <p:cNvPr id="16" name="Прямоугольник: скругленные углы 15">
              <a:extLst>
                <a:ext uri="{FF2B5EF4-FFF2-40B4-BE49-F238E27FC236}">
                  <a16:creationId xmlns:a16="http://schemas.microsoft.com/office/drawing/2014/main" id="{580B6A99-E717-2740-36C4-A72DCF75745A}"/>
                </a:ext>
              </a:extLst>
            </p:cNvPr>
            <p:cNvSpPr/>
            <p:nvPr/>
          </p:nvSpPr>
          <p:spPr>
            <a:xfrm>
              <a:off x="-2004344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7" name="Прямоугольник: скругленные углы 16">
              <a:extLst>
                <a:ext uri="{FF2B5EF4-FFF2-40B4-BE49-F238E27FC236}">
                  <a16:creationId xmlns:a16="http://schemas.microsoft.com/office/drawing/2014/main" id="{8CC18F95-EA8B-20E0-9AED-F6279027B331}"/>
                </a:ext>
              </a:extLst>
            </p:cNvPr>
            <p:cNvSpPr/>
            <p:nvPr/>
          </p:nvSpPr>
          <p:spPr>
            <a:xfrm>
              <a:off x="-1738339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6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6D236EB0-0368-AF7A-C5FA-BA1C74876D58}"/>
                </a:ext>
              </a:extLst>
            </p:cNvPr>
            <p:cNvSpPr txBox="1"/>
            <p:nvPr/>
          </p:nvSpPr>
          <p:spPr>
            <a:xfrm>
              <a:off x="-1788338" y="5868204"/>
              <a:ext cx="1155882" cy="15109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l">
                <a:lnSpc>
                  <a:spcPct val="90000"/>
                </a:lnSpc>
              </a:pPr>
              <a:r>
                <a:rPr lang="ru-RU" sz="1000" b="1">
                  <a:solidFill>
                    <a:schemeClr val="accent1"/>
                  </a:solidFill>
                </a:rPr>
                <a:t>Шаблон </a:t>
              </a:r>
              <a:r>
                <a:rPr lang="en-US" sz="1000" b="1">
                  <a:solidFill>
                    <a:schemeClr val="accent1"/>
                  </a:solidFill>
                </a:rPr>
                <a:t>Ozon</a:t>
              </a:r>
              <a:endParaRPr lang="ru-RU" sz="1000" b="1">
                <a:solidFill>
                  <a:schemeClr val="accent1"/>
                </a:solidFill>
              </a:endParaRPr>
            </a:p>
          </p:txBody>
        </p:sp>
        <p:sp>
          <p:nvSpPr>
            <p:cNvPr id="45" name="Прямоугольник: скругленные углы 48">
              <a:extLst>
                <a:ext uri="{FF2B5EF4-FFF2-40B4-BE49-F238E27FC236}">
                  <a16:creationId xmlns:a16="http://schemas.microsoft.com/office/drawing/2014/main" id="{EB6594F7-A0D8-4F43-B230-20852203C3E3}"/>
                </a:ext>
              </a:extLst>
            </p:cNvPr>
            <p:cNvSpPr/>
            <p:nvPr userDrawn="1"/>
          </p:nvSpPr>
          <p:spPr>
            <a:xfrm>
              <a:off x="-1741352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1">
                <a:lumMod val="75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47" name="Нижний колонтитул 4">
            <a:extLst>
              <a:ext uri="{FF2B5EF4-FFF2-40B4-BE49-F238E27FC236}">
                <a16:creationId xmlns:a16="http://schemas.microsoft.com/office/drawing/2014/main" id="{1F4D90A4-5598-394F-84A2-9557098B6C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458800" y="6465600"/>
            <a:ext cx="7274114" cy="144500"/>
          </a:xfrm>
        </p:spPr>
        <p:txBody>
          <a:bodyPr anchor="b"/>
          <a:lstStyle>
            <a:lvl1pPr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endParaRPr lang="ru-RU" dirty="0"/>
          </a:p>
        </p:txBody>
      </p:sp>
      <p:pic>
        <p:nvPicPr>
          <p:cNvPr id="48" name="Рисунок 47">
            <a:extLst>
              <a:ext uri="{FF2B5EF4-FFF2-40B4-BE49-F238E27FC236}">
                <a16:creationId xmlns:a16="http://schemas.microsoft.com/office/drawing/2014/main" id="{B04A9133-D2FA-FF49-BA0E-2BDDFFCCEC3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l="9468" t="30431" r="9932" b="30861"/>
          <a:stretch/>
        </p:blipFill>
        <p:spPr>
          <a:xfrm>
            <a:off x="635000" y="6403975"/>
            <a:ext cx="1044575" cy="2508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61135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8">
          <p15:clr>
            <a:srgbClr val="F26B43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title_colo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9C6A208F-2A8F-8640-1889-7EF3989875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6547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33" imgH="233" progId="TCLayout.ActiveDocument.1">
                  <p:embed/>
                </p:oleObj>
              </mc:Choice>
              <mc:Fallback>
                <p:oleObj name="Слайд think-cell" r:id="rId3" imgW="233" imgH="233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9C6A208F-2A8F-8640-1889-7EF3989875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Объект 2">
            <a:extLst>
              <a:ext uri="{FF2B5EF4-FFF2-40B4-BE49-F238E27FC236}">
                <a16:creationId xmlns:a16="http://schemas.microsoft.com/office/drawing/2014/main" id="{00E81AAF-ABDB-4D08-7BE3-C7B407E68E1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763" y="1520824"/>
            <a:ext cx="10910887" cy="47418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5">
            <a:extLst>
              <a:ext uri="{FF2B5EF4-FFF2-40B4-BE49-F238E27FC236}">
                <a16:creationId xmlns:a16="http://schemas.microsoft.com/office/drawing/2014/main" id="{371F2FD1-0E8C-A36C-3CEF-FF20A77F36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57744" y="6430370"/>
            <a:ext cx="908050" cy="216000"/>
          </a:xfrm>
        </p:spPr>
        <p:txBody>
          <a:bodyPr/>
          <a:lstStyle>
            <a:lvl1pPr>
              <a:defRPr>
                <a:solidFill>
                  <a:schemeClr val="accent6">
                    <a:lumMod val="40000"/>
                    <a:lumOff val="60000"/>
                  </a:schemeClr>
                </a:solidFill>
              </a:defRPr>
            </a:lvl1pPr>
          </a:lstStyle>
          <a:p>
            <a:fld id="{EB5249F5-0093-48B0-B996-C4E44A87EAFB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35" name="Прямоугольник: скругленные углы 34">
            <a:extLst>
              <a:ext uri="{FF2B5EF4-FFF2-40B4-BE49-F238E27FC236}">
                <a16:creationId xmlns:a16="http://schemas.microsoft.com/office/drawing/2014/main" id="{C9800CF7-ABC5-B2F5-0454-607E6375863B}"/>
              </a:ext>
            </a:extLst>
          </p:cNvPr>
          <p:cNvSpPr/>
          <p:nvPr/>
        </p:nvSpPr>
        <p:spPr>
          <a:xfrm>
            <a:off x="-2138458" y="54865"/>
            <a:ext cx="1928241" cy="2826069"/>
          </a:xfrm>
          <a:prstGeom prst="roundRect">
            <a:avLst>
              <a:gd name="adj" fmla="val 5926"/>
            </a:avLst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" name="Прямоугольник: скругленные верхние углы 35">
            <a:extLst>
              <a:ext uri="{FF2B5EF4-FFF2-40B4-BE49-F238E27FC236}">
                <a16:creationId xmlns:a16="http://schemas.microsoft.com/office/drawing/2014/main" id="{C2940C45-7EC6-0986-B020-2D94E4C01F25}"/>
              </a:ext>
            </a:extLst>
          </p:cNvPr>
          <p:cNvSpPr/>
          <p:nvPr/>
        </p:nvSpPr>
        <p:spPr>
          <a:xfrm>
            <a:off x="-2136930" y="0"/>
            <a:ext cx="1926713" cy="2880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36000" rtlCol="0" anchor="ctr"/>
          <a:lstStyle/>
          <a:p>
            <a:pPr algn="ctr"/>
            <a:r>
              <a:rPr lang="ru-RU" sz="1100" b="1">
                <a:solidFill>
                  <a:schemeClr val="tx1"/>
                </a:solidFill>
              </a:rPr>
              <a:t>Размеры текста</a:t>
            </a:r>
          </a:p>
        </p:txBody>
      </p:sp>
      <p:graphicFrame>
        <p:nvGraphicFramePr>
          <p:cNvPr id="37" name="Таблица 46">
            <a:extLst>
              <a:ext uri="{FF2B5EF4-FFF2-40B4-BE49-F238E27FC236}">
                <a16:creationId xmlns:a16="http://schemas.microsoft.com/office/drawing/2014/main" id="{22E21D68-4F58-F199-36D3-C10450C366F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20574792"/>
              </p:ext>
            </p:extLst>
          </p:nvPr>
        </p:nvGraphicFramePr>
        <p:xfrm>
          <a:off x="-2046114" y="312643"/>
          <a:ext cx="1958731" cy="2142000"/>
        </p:xfrm>
        <a:graphic>
          <a:graphicData uri="http://schemas.openxmlformats.org/drawingml/2006/table">
            <a:tbl>
              <a:tblPr/>
              <a:tblGrid>
                <a:gridCol w="532517">
                  <a:extLst>
                    <a:ext uri="{9D8B030D-6E8A-4147-A177-3AD203B41FA5}">
                      <a16:colId xmlns:a16="http://schemas.microsoft.com/office/drawing/2014/main" val="2594385797"/>
                    </a:ext>
                  </a:extLst>
                </a:gridCol>
                <a:gridCol w="1426214">
                  <a:extLst>
                    <a:ext uri="{9D8B030D-6E8A-4147-A177-3AD203B41FA5}">
                      <a16:colId xmlns:a16="http://schemas.microsoft.com/office/drawing/2014/main" val="1017723076"/>
                    </a:ext>
                  </a:extLst>
                </a:gridCol>
              </a:tblGrid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44+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0" spc="-40" baseline="0"/>
                        <a:t>акцентные цифр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8329665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32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заголовки и самые </a:t>
                      </a:r>
                      <a:br>
                        <a:rPr lang="ru-RU" sz="1000" spc="-40" baseline="0"/>
                      </a:br>
                      <a:r>
                        <a:rPr lang="ru-RU" sz="1000" spc="-40" baseline="0"/>
                        <a:t>важные данные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17697917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24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8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подзаголовки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72780009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18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4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основной текст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0685745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4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2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торой уровень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текста (менее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ажная информация)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1997433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0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сноски, пояснения, </a:t>
                      </a:r>
                      <a:br>
                        <a:rPr lang="en-US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большие таблиц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76660845"/>
                  </a:ext>
                </a:extLst>
              </a:tr>
            </a:tbl>
          </a:graphicData>
        </a:graphic>
      </p:graphicFrame>
      <p:sp>
        <p:nvSpPr>
          <p:cNvPr id="38" name="Полилиния: фигура 37">
            <a:extLst>
              <a:ext uri="{FF2B5EF4-FFF2-40B4-BE49-F238E27FC236}">
                <a16:creationId xmlns:a16="http://schemas.microsoft.com/office/drawing/2014/main" id="{84FF97CD-0431-AB46-37C2-E699CA989913}"/>
              </a:ext>
            </a:extLst>
          </p:cNvPr>
          <p:cNvSpPr/>
          <p:nvPr/>
        </p:nvSpPr>
        <p:spPr>
          <a:xfrm>
            <a:off x="-2004344" y="2488864"/>
            <a:ext cx="216624" cy="228657"/>
          </a:xfrm>
          <a:custGeom>
            <a:avLst/>
            <a:gdLst>
              <a:gd name="connsiteX0" fmla="*/ 72536 w 171450"/>
              <a:gd name="connsiteY0" fmla="*/ 162210 h 180974"/>
              <a:gd name="connsiteX1" fmla="*/ 98923 w 171450"/>
              <a:gd name="connsiteY1" fmla="*/ 162210 h 180974"/>
              <a:gd name="connsiteX2" fmla="*/ 103600 w 171450"/>
              <a:gd name="connsiteY2" fmla="*/ 172160 h 180974"/>
              <a:gd name="connsiteX3" fmla="*/ 85726 w 171450"/>
              <a:gd name="connsiteY3" fmla="*/ 180974 h 180974"/>
              <a:gd name="connsiteX4" fmla="*/ 67852 w 171450"/>
              <a:gd name="connsiteY4" fmla="*/ 172160 h 180974"/>
              <a:gd name="connsiteX5" fmla="*/ 72536 w 171450"/>
              <a:gd name="connsiteY5" fmla="*/ 162210 h 180974"/>
              <a:gd name="connsiteX6" fmla="*/ 152400 w 171450"/>
              <a:gd name="connsiteY6" fmla="*/ 76200 h 180974"/>
              <a:gd name="connsiteX7" fmla="*/ 161925 w 171450"/>
              <a:gd name="connsiteY7" fmla="*/ 76200 h 180974"/>
              <a:gd name="connsiteX8" fmla="*/ 171450 w 171450"/>
              <a:gd name="connsiteY8" fmla="*/ 85725 h 180974"/>
              <a:gd name="connsiteX9" fmla="*/ 161925 w 171450"/>
              <a:gd name="connsiteY9" fmla="*/ 95250 h 180974"/>
              <a:gd name="connsiteX10" fmla="*/ 152400 w 171450"/>
              <a:gd name="connsiteY10" fmla="*/ 95250 h 180974"/>
              <a:gd name="connsiteX11" fmla="*/ 142875 w 171450"/>
              <a:gd name="connsiteY11" fmla="*/ 85725 h 180974"/>
              <a:gd name="connsiteX12" fmla="*/ 152400 w 171450"/>
              <a:gd name="connsiteY12" fmla="*/ 76200 h 180974"/>
              <a:gd name="connsiteX13" fmla="*/ 9525 w 171450"/>
              <a:gd name="connsiteY13" fmla="*/ 76200 h 180974"/>
              <a:gd name="connsiteX14" fmla="*/ 19050 w 171450"/>
              <a:gd name="connsiteY14" fmla="*/ 76200 h 180974"/>
              <a:gd name="connsiteX15" fmla="*/ 28575 w 171450"/>
              <a:gd name="connsiteY15" fmla="*/ 85725 h 180974"/>
              <a:gd name="connsiteX16" fmla="*/ 19050 w 171450"/>
              <a:gd name="connsiteY16" fmla="*/ 95250 h 180974"/>
              <a:gd name="connsiteX17" fmla="*/ 9525 w 171450"/>
              <a:gd name="connsiteY17" fmla="*/ 95250 h 180974"/>
              <a:gd name="connsiteX18" fmla="*/ 0 w 171450"/>
              <a:gd name="connsiteY18" fmla="*/ 85725 h 180974"/>
              <a:gd name="connsiteX19" fmla="*/ 9525 w 171450"/>
              <a:gd name="connsiteY19" fmla="*/ 76200 h 180974"/>
              <a:gd name="connsiteX20" fmla="*/ 85725 w 171450"/>
              <a:gd name="connsiteY20" fmla="*/ 38100 h 180974"/>
              <a:gd name="connsiteX21" fmla="*/ 133350 w 171450"/>
              <a:gd name="connsiteY21" fmla="*/ 85725 h 180974"/>
              <a:gd name="connsiteX22" fmla="*/ 123174 w 171450"/>
              <a:gd name="connsiteY22" fmla="*/ 114596 h 180974"/>
              <a:gd name="connsiteX23" fmla="*/ 114300 w 171450"/>
              <a:gd name="connsiteY23" fmla="*/ 138113 h 180974"/>
              <a:gd name="connsiteX24" fmla="*/ 85725 w 171450"/>
              <a:gd name="connsiteY24" fmla="*/ 152400 h 180974"/>
              <a:gd name="connsiteX25" fmla="*/ 57150 w 171450"/>
              <a:gd name="connsiteY25" fmla="*/ 138113 h 180974"/>
              <a:gd name="connsiteX26" fmla="*/ 48275 w 171450"/>
              <a:gd name="connsiteY26" fmla="*/ 114596 h 180974"/>
              <a:gd name="connsiteX27" fmla="*/ 38100 w 171450"/>
              <a:gd name="connsiteY27" fmla="*/ 85725 h 180974"/>
              <a:gd name="connsiteX28" fmla="*/ 85725 w 171450"/>
              <a:gd name="connsiteY28" fmla="*/ 38100 h 180974"/>
              <a:gd name="connsiteX29" fmla="*/ 136141 w 171450"/>
              <a:gd name="connsiteY29" fmla="*/ 21840 h 180974"/>
              <a:gd name="connsiteX30" fmla="*/ 149611 w 171450"/>
              <a:gd name="connsiteY30" fmla="*/ 21840 h 180974"/>
              <a:gd name="connsiteX31" fmla="*/ 149611 w 171450"/>
              <a:gd name="connsiteY31" fmla="*/ 35310 h 180974"/>
              <a:gd name="connsiteX32" fmla="*/ 140086 w 171450"/>
              <a:gd name="connsiteY32" fmla="*/ 44835 h 180974"/>
              <a:gd name="connsiteX33" fmla="*/ 126616 w 171450"/>
              <a:gd name="connsiteY33" fmla="*/ 44835 h 180974"/>
              <a:gd name="connsiteX34" fmla="*/ 126616 w 171450"/>
              <a:gd name="connsiteY34" fmla="*/ 31365 h 180974"/>
              <a:gd name="connsiteX35" fmla="*/ 21840 w 171450"/>
              <a:gd name="connsiteY35" fmla="*/ 21840 h 180974"/>
              <a:gd name="connsiteX36" fmla="*/ 35310 w 171450"/>
              <a:gd name="connsiteY36" fmla="*/ 21840 h 180974"/>
              <a:gd name="connsiteX37" fmla="*/ 44835 w 171450"/>
              <a:gd name="connsiteY37" fmla="*/ 31365 h 180974"/>
              <a:gd name="connsiteX38" fmla="*/ 44835 w 171450"/>
              <a:gd name="connsiteY38" fmla="*/ 44835 h 180974"/>
              <a:gd name="connsiteX39" fmla="*/ 31365 w 171450"/>
              <a:gd name="connsiteY39" fmla="*/ 44835 h 180974"/>
              <a:gd name="connsiteX40" fmla="*/ 21840 w 171450"/>
              <a:gd name="connsiteY40" fmla="*/ 35310 h 180974"/>
              <a:gd name="connsiteX41" fmla="*/ 21840 w 171450"/>
              <a:gd name="connsiteY41" fmla="*/ 21840 h 180974"/>
              <a:gd name="connsiteX42" fmla="*/ 85725 w 171450"/>
              <a:gd name="connsiteY42" fmla="*/ 0 h 180974"/>
              <a:gd name="connsiteX43" fmla="*/ 95250 w 171450"/>
              <a:gd name="connsiteY43" fmla="*/ 9525 h 180974"/>
              <a:gd name="connsiteX44" fmla="*/ 95250 w 171450"/>
              <a:gd name="connsiteY44" fmla="*/ 19050 h 180974"/>
              <a:gd name="connsiteX45" fmla="*/ 85725 w 171450"/>
              <a:gd name="connsiteY45" fmla="*/ 28575 h 180974"/>
              <a:gd name="connsiteX46" fmla="*/ 76200 w 171450"/>
              <a:gd name="connsiteY46" fmla="*/ 19050 h 180974"/>
              <a:gd name="connsiteX47" fmla="*/ 76200 w 171450"/>
              <a:gd name="connsiteY47" fmla="*/ 9525 h 180974"/>
              <a:gd name="connsiteX48" fmla="*/ 85725 w 171450"/>
              <a:gd name="connsiteY48" fmla="*/ 0 h 18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1450" h="180974">
                <a:moveTo>
                  <a:pt x="72536" y="162210"/>
                </a:moveTo>
                <a:cubicBezTo>
                  <a:pt x="80449" y="164140"/>
                  <a:pt x="90933" y="164211"/>
                  <a:pt x="98923" y="162210"/>
                </a:cubicBezTo>
                <a:cubicBezTo>
                  <a:pt x="105617" y="160534"/>
                  <a:pt x="105617" y="166533"/>
                  <a:pt x="103600" y="172160"/>
                </a:cubicBezTo>
                <a:cubicBezTo>
                  <a:pt x="100950" y="179549"/>
                  <a:pt x="95451" y="180974"/>
                  <a:pt x="85726" y="180974"/>
                </a:cubicBezTo>
                <a:cubicBezTo>
                  <a:pt x="76000" y="180974"/>
                  <a:pt x="70501" y="179549"/>
                  <a:pt x="67852" y="172160"/>
                </a:cubicBezTo>
                <a:cubicBezTo>
                  <a:pt x="65835" y="166534"/>
                  <a:pt x="65835" y="160576"/>
                  <a:pt x="72536" y="162210"/>
                </a:cubicBezTo>
                <a:close/>
                <a:moveTo>
                  <a:pt x="152400" y="76200"/>
                </a:moveTo>
                <a:lnTo>
                  <a:pt x="161925" y="76200"/>
                </a:lnTo>
                <a:cubicBezTo>
                  <a:pt x="167186" y="76200"/>
                  <a:pt x="171450" y="80464"/>
                  <a:pt x="171450" y="85725"/>
                </a:cubicBezTo>
                <a:cubicBezTo>
                  <a:pt x="171450" y="90986"/>
                  <a:pt x="167186" y="95250"/>
                  <a:pt x="161925" y="95250"/>
                </a:cubicBezTo>
                <a:lnTo>
                  <a:pt x="152400" y="95250"/>
                </a:lnTo>
                <a:cubicBezTo>
                  <a:pt x="147139" y="95250"/>
                  <a:pt x="142875" y="90986"/>
                  <a:pt x="142875" y="85725"/>
                </a:cubicBezTo>
                <a:cubicBezTo>
                  <a:pt x="142875" y="80464"/>
                  <a:pt x="147139" y="76200"/>
                  <a:pt x="152400" y="76200"/>
                </a:cubicBezTo>
                <a:close/>
                <a:moveTo>
                  <a:pt x="9525" y="76200"/>
                </a:moveTo>
                <a:lnTo>
                  <a:pt x="19050" y="76200"/>
                </a:lnTo>
                <a:cubicBezTo>
                  <a:pt x="24310" y="76200"/>
                  <a:pt x="28575" y="80464"/>
                  <a:pt x="28575" y="85725"/>
                </a:cubicBezTo>
                <a:cubicBezTo>
                  <a:pt x="28575" y="90986"/>
                  <a:pt x="24310" y="95250"/>
                  <a:pt x="19050" y="95250"/>
                </a:cubicBezTo>
                <a:lnTo>
                  <a:pt x="9525" y="95250"/>
                </a:lnTo>
                <a:cubicBezTo>
                  <a:pt x="4265" y="95250"/>
                  <a:pt x="0" y="90986"/>
                  <a:pt x="0" y="85725"/>
                </a:cubicBezTo>
                <a:cubicBezTo>
                  <a:pt x="0" y="80464"/>
                  <a:pt x="4265" y="76200"/>
                  <a:pt x="9525" y="76200"/>
                </a:cubicBezTo>
                <a:close/>
                <a:moveTo>
                  <a:pt x="85725" y="38100"/>
                </a:moveTo>
                <a:cubicBezTo>
                  <a:pt x="112027" y="38100"/>
                  <a:pt x="133350" y="58671"/>
                  <a:pt x="133350" y="85725"/>
                </a:cubicBezTo>
                <a:cubicBezTo>
                  <a:pt x="133350" y="100663"/>
                  <a:pt x="128144" y="107793"/>
                  <a:pt x="123174" y="114596"/>
                </a:cubicBezTo>
                <a:cubicBezTo>
                  <a:pt x="118639" y="120807"/>
                  <a:pt x="114300" y="126748"/>
                  <a:pt x="114300" y="138113"/>
                </a:cubicBezTo>
                <a:cubicBezTo>
                  <a:pt x="114300" y="147638"/>
                  <a:pt x="104775" y="152400"/>
                  <a:pt x="85725" y="152400"/>
                </a:cubicBezTo>
                <a:cubicBezTo>
                  <a:pt x="66675" y="152400"/>
                  <a:pt x="57150" y="147638"/>
                  <a:pt x="57150" y="138113"/>
                </a:cubicBezTo>
                <a:cubicBezTo>
                  <a:pt x="57150" y="126748"/>
                  <a:pt x="52811" y="120807"/>
                  <a:pt x="48275" y="114596"/>
                </a:cubicBezTo>
                <a:cubicBezTo>
                  <a:pt x="43306" y="107793"/>
                  <a:pt x="38100" y="100663"/>
                  <a:pt x="38100" y="85725"/>
                </a:cubicBezTo>
                <a:cubicBezTo>
                  <a:pt x="38100" y="57150"/>
                  <a:pt x="59422" y="38100"/>
                  <a:pt x="85725" y="38100"/>
                </a:cubicBezTo>
                <a:close/>
                <a:moveTo>
                  <a:pt x="136141" y="21840"/>
                </a:moveTo>
                <a:cubicBezTo>
                  <a:pt x="139860" y="18120"/>
                  <a:pt x="145891" y="18120"/>
                  <a:pt x="149611" y="21840"/>
                </a:cubicBezTo>
                <a:cubicBezTo>
                  <a:pt x="153330" y="25560"/>
                  <a:pt x="153330" y="31590"/>
                  <a:pt x="149611" y="35310"/>
                </a:cubicBezTo>
                <a:lnTo>
                  <a:pt x="140086" y="44835"/>
                </a:lnTo>
                <a:cubicBezTo>
                  <a:pt x="136366" y="48555"/>
                  <a:pt x="130335" y="48555"/>
                  <a:pt x="126616" y="44835"/>
                </a:cubicBezTo>
                <a:cubicBezTo>
                  <a:pt x="122896" y="41115"/>
                  <a:pt x="122896" y="35085"/>
                  <a:pt x="126616" y="31365"/>
                </a:cubicBezTo>
                <a:close/>
                <a:moveTo>
                  <a:pt x="21840" y="21840"/>
                </a:moveTo>
                <a:cubicBezTo>
                  <a:pt x="25560" y="18120"/>
                  <a:pt x="31590" y="18120"/>
                  <a:pt x="35310" y="21840"/>
                </a:cubicBezTo>
                <a:lnTo>
                  <a:pt x="44835" y="31365"/>
                </a:lnTo>
                <a:cubicBezTo>
                  <a:pt x="48555" y="35085"/>
                  <a:pt x="48555" y="41115"/>
                  <a:pt x="44835" y="44835"/>
                </a:cubicBezTo>
                <a:cubicBezTo>
                  <a:pt x="41115" y="48555"/>
                  <a:pt x="35085" y="48555"/>
                  <a:pt x="31365" y="44835"/>
                </a:cubicBezTo>
                <a:lnTo>
                  <a:pt x="21840" y="35310"/>
                </a:lnTo>
                <a:cubicBezTo>
                  <a:pt x="18120" y="31590"/>
                  <a:pt x="18120" y="25560"/>
                  <a:pt x="21840" y="21840"/>
                </a:cubicBezTo>
                <a:close/>
                <a:moveTo>
                  <a:pt x="85725" y="0"/>
                </a:moveTo>
                <a:cubicBezTo>
                  <a:pt x="90986" y="0"/>
                  <a:pt x="95250" y="4265"/>
                  <a:pt x="95250" y="9525"/>
                </a:cubicBezTo>
                <a:lnTo>
                  <a:pt x="95250" y="19050"/>
                </a:lnTo>
                <a:cubicBezTo>
                  <a:pt x="95250" y="24310"/>
                  <a:pt x="90986" y="28575"/>
                  <a:pt x="85725" y="28575"/>
                </a:cubicBezTo>
                <a:cubicBezTo>
                  <a:pt x="80464" y="28575"/>
                  <a:pt x="76200" y="24310"/>
                  <a:pt x="76200" y="19050"/>
                </a:cubicBezTo>
                <a:lnTo>
                  <a:pt x="76200" y="9525"/>
                </a:lnTo>
                <a:cubicBezTo>
                  <a:pt x="76200" y="4265"/>
                  <a:pt x="80464" y="0"/>
                  <a:pt x="85725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2" name="Полилиния: фигура 61">
            <a:extLst>
              <a:ext uri="{FF2B5EF4-FFF2-40B4-BE49-F238E27FC236}">
                <a16:creationId xmlns:a16="http://schemas.microsoft.com/office/drawing/2014/main" id="{A7B63E7B-62B1-B63D-8185-8BE47CB66443}"/>
              </a:ext>
            </a:extLst>
          </p:cNvPr>
          <p:cNvSpPr/>
          <p:nvPr/>
        </p:nvSpPr>
        <p:spPr>
          <a:xfrm>
            <a:off x="-2004344" y="2488864"/>
            <a:ext cx="216624" cy="228657"/>
          </a:xfrm>
          <a:custGeom>
            <a:avLst/>
            <a:gdLst>
              <a:gd name="connsiteX0" fmla="*/ 72536 w 171450"/>
              <a:gd name="connsiteY0" fmla="*/ 162210 h 180974"/>
              <a:gd name="connsiteX1" fmla="*/ 98923 w 171450"/>
              <a:gd name="connsiteY1" fmla="*/ 162210 h 180974"/>
              <a:gd name="connsiteX2" fmla="*/ 103600 w 171450"/>
              <a:gd name="connsiteY2" fmla="*/ 172160 h 180974"/>
              <a:gd name="connsiteX3" fmla="*/ 85726 w 171450"/>
              <a:gd name="connsiteY3" fmla="*/ 180974 h 180974"/>
              <a:gd name="connsiteX4" fmla="*/ 67852 w 171450"/>
              <a:gd name="connsiteY4" fmla="*/ 172160 h 180974"/>
              <a:gd name="connsiteX5" fmla="*/ 72536 w 171450"/>
              <a:gd name="connsiteY5" fmla="*/ 162210 h 180974"/>
              <a:gd name="connsiteX6" fmla="*/ 152400 w 171450"/>
              <a:gd name="connsiteY6" fmla="*/ 76200 h 180974"/>
              <a:gd name="connsiteX7" fmla="*/ 161925 w 171450"/>
              <a:gd name="connsiteY7" fmla="*/ 76200 h 180974"/>
              <a:gd name="connsiteX8" fmla="*/ 171450 w 171450"/>
              <a:gd name="connsiteY8" fmla="*/ 85725 h 180974"/>
              <a:gd name="connsiteX9" fmla="*/ 161925 w 171450"/>
              <a:gd name="connsiteY9" fmla="*/ 95250 h 180974"/>
              <a:gd name="connsiteX10" fmla="*/ 152400 w 171450"/>
              <a:gd name="connsiteY10" fmla="*/ 95250 h 180974"/>
              <a:gd name="connsiteX11" fmla="*/ 142875 w 171450"/>
              <a:gd name="connsiteY11" fmla="*/ 85725 h 180974"/>
              <a:gd name="connsiteX12" fmla="*/ 152400 w 171450"/>
              <a:gd name="connsiteY12" fmla="*/ 76200 h 180974"/>
              <a:gd name="connsiteX13" fmla="*/ 9525 w 171450"/>
              <a:gd name="connsiteY13" fmla="*/ 76200 h 180974"/>
              <a:gd name="connsiteX14" fmla="*/ 19050 w 171450"/>
              <a:gd name="connsiteY14" fmla="*/ 76200 h 180974"/>
              <a:gd name="connsiteX15" fmla="*/ 28575 w 171450"/>
              <a:gd name="connsiteY15" fmla="*/ 85725 h 180974"/>
              <a:gd name="connsiteX16" fmla="*/ 19050 w 171450"/>
              <a:gd name="connsiteY16" fmla="*/ 95250 h 180974"/>
              <a:gd name="connsiteX17" fmla="*/ 9525 w 171450"/>
              <a:gd name="connsiteY17" fmla="*/ 95250 h 180974"/>
              <a:gd name="connsiteX18" fmla="*/ 0 w 171450"/>
              <a:gd name="connsiteY18" fmla="*/ 85725 h 180974"/>
              <a:gd name="connsiteX19" fmla="*/ 9525 w 171450"/>
              <a:gd name="connsiteY19" fmla="*/ 76200 h 180974"/>
              <a:gd name="connsiteX20" fmla="*/ 85725 w 171450"/>
              <a:gd name="connsiteY20" fmla="*/ 38100 h 180974"/>
              <a:gd name="connsiteX21" fmla="*/ 133350 w 171450"/>
              <a:gd name="connsiteY21" fmla="*/ 85725 h 180974"/>
              <a:gd name="connsiteX22" fmla="*/ 123174 w 171450"/>
              <a:gd name="connsiteY22" fmla="*/ 114596 h 180974"/>
              <a:gd name="connsiteX23" fmla="*/ 114300 w 171450"/>
              <a:gd name="connsiteY23" fmla="*/ 138113 h 180974"/>
              <a:gd name="connsiteX24" fmla="*/ 85725 w 171450"/>
              <a:gd name="connsiteY24" fmla="*/ 152400 h 180974"/>
              <a:gd name="connsiteX25" fmla="*/ 57150 w 171450"/>
              <a:gd name="connsiteY25" fmla="*/ 138113 h 180974"/>
              <a:gd name="connsiteX26" fmla="*/ 48275 w 171450"/>
              <a:gd name="connsiteY26" fmla="*/ 114596 h 180974"/>
              <a:gd name="connsiteX27" fmla="*/ 38100 w 171450"/>
              <a:gd name="connsiteY27" fmla="*/ 85725 h 180974"/>
              <a:gd name="connsiteX28" fmla="*/ 85725 w 171450"/>
              <a:gd name="connsiteY28" fmla="*/ 38100 h 180974"/>
              <a:gd name="connsiteX29" fmla="*/ 136141 w 171450"/>
              <a:gd name="connsiteY29" fmla="*/ 21840 h 180974"/>
              <a:gd name="connsiteX30" fmla="*/ 149611 w 171450"/>
              <a:gd name="connsiteY30" fmla="*/ 21840 h 180974"/>
              <a:gd name="connsiteX31" fmla="*/ 149611 w 171450"/>
              <a:gd name="connsiteY31" fmla="*/ 35310 h 180974"/>
              <a:gd name="connsiteX32" fmla="*/ 140086 w 171450"/>
              <a:gd name="connsiteY32" fmla="*/ 44835 h 180974"/>
              <a:gd name="connsiteX33" fmla="*/ 126616 w 171450"/>
              <a:gd name="connsiteY33" fmla="*/ 44835 h 180974"/>
              <a:gd name="connsiteX34" fmla="*/ 126616 w 171450"/>
              <a:gd name="connsiteY34" fmla="*/ 31365 h 180974"/>
              <a:gd name="connsiteX35" fmla="*/ 21840 w 171450"/>
              <a:gd name="connsiteY35" fmla="*/ 21840 h 180974"/>
              <a:gd name="connsiteX36" fmla="*/ 35310 w 171450"/>
              <a:gd name="connsiteY36" fmla="*/ 21840 h 180974"/>
              <a:gd name="connsiteX37" fmla="*/ 44835 w 171450"/>
              <a:gd name="connsiteY37" fmla="*/ 31365 h 180974"/>
              <a:gd name="connsiteX38" fmla="*/ 44835 w 171450"/>
              <a:gd name="connsiteY38" fmla="*/ 44835 h 180974"/>
              <a:gd name="connsiteX39" fmla="*/ 31365 w 171450"/>
              <a:gd name="connsiteY39" fmla="*/ 44835 h 180974"/>
              <a:gd name="connsiteX40" fmla="*/ 21840 w 171450"/>
              <a:gd name="connsiteY40" fmla="*/ 35310 h 180974"/>
              <a:gd name="connsiteX41" fmla="*/ 21840 w 171450"/>
              <a:gd name="connsiteY41" fmla="*/ 21840 h 180974"/>
              <a:gd name="connsiteX42" fmla="*/ 85725 w 171450"/>
              <a:gd name="connsiteY42" fmla="*/ 0 h 180974"/>
              <a:gd name="connsiteX43" fmla="*/ 95250 w 171450"/>
              <a:gd name="connsiteY43" fmla="*/ 9525 h 180974"/>
              <a:gd name="connsiteX44" fmla="*/ 95250 w 171450"/>
              <a:gd name="connsiteY44" fmla="*/ 19050 h 180974"/>
              <a:gd name="connsiteX45" fmla="*/ 85725 w 171450"/>
              <a:gd name="connsiteY45" fmla="*/ 28575 h 180974"/>
              <a:gd name="connsiteX46" fmla="*/ 76200 w 171450"/>
              <a:gd name="connsiteY46" fmla="*/ 19050 h 180974"/>
              <a:gd name="connsiteX47" fmla="*/ 76200 w 171450"/>
              <a:gd name="connsiteY47" fmla="*/ 9525 h 180974"/>
              <a:gd name="connsiteX48" fmla="*/ 85725 w 171450"/>
              <a:gd name="connsiteY48" fmla="*/ 0 h 18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1450" h="180974">
                <a:moveTo>
                  <a:pt x="72536" y="162210"/>
                </a:moveTo>
                <a:cubicBezTo>
                  <a:pt x="80449" y="164140"/>
                  <a:pt x="90933" y="164211"/>
                  <a:pt x="98923" y="162210"/>
                </a:cubicBezTo>
                <a:cubicBezTo>
                  <a:pt x="105617" y="160534"/>
                  <a:pt x="105617" y="166533"/>
                  <a:pt x="103600" y="172160"/>
                </a:cubicBezTo>
                <a:cubicBezTo>
                  <a:pt x="100950" y="179549"/>
                  <a:pt x="95451" y="180974"/>
                  <a:pt x="85726" y="180974"/>
                </a:cubicBezTo>
                <a:cubicBezTo>
                  <a:pt x="76000" y="180974"/>
                  <a:pt x="70501" y="179549"/>
                  <a:pt x="67852" y="172160"/>
                </a:cubicBezTo>
                <a:cubicBezTo>
                  <a:pt x="65835" y="166534"/>
                  <a:pt x="65835" y="160576"/>
                  <a:pt x="72536" y="162210"/>
                </a:cubicBezTo>
                <a:close/>
                <a:moveTo>
                  <a:pt x="152400" y="76200"/>
                </a:moveTo>
                <a:lnTo>
                  <a:pt x="161925" y="76200"/>
                </a:lnTo>
                <a:cubicBezTo>
                  <a:pt x="167186" y="76200"/>
                  <a:pt x="171450" y="80464"/>
                  <a:pt x="171450" y="85725"/>
                </a:cubicBezTo>
                <a:cubicBezTo>
                  <a:pt x="171450" y="90986"/>
                  <a:pt x="167186" y="95250"/>
                  <a:pt x="161925" y="95250"/>
                </a:cubicBezTo>
                <a:lnTo>
                  <a:pt x="152400" y="95250"/>
                </a:lnTo>
                <a:cubicBezTo>
                  <a:pt x="147139" y="95250"/>
                  <a:pt x="142875" y="90986"/>
                  <a:pt x="142875" y="85725"/>
                </a:cubicBezTo>
                <a:cubicBezTo>
                  <a:pt x="142875" y="80464"/>
                  <a:pt x="147139" y="76200"/>
                  <a:pt x="152400" y="76200"/>
                </a:cubicBezTo>
                <a:close/>
                <a:moveTo>
                  <a:pt x="9525" y="76200"/>
                </a:moveTo>
                <a:lnTo>
                  <a:pt x="19050" y="76200"/>
                </a:lnTo>
                <a:cubicBezTo>
                  <a:pt x="24310" y="76200"/>
                  <a:pt x="28575" y="80464"/>
                  <a:pt x="28575" y="85725"/>
                </a:cubicBezTo>
                <a:cubicBezTo>
                  <a:pt x="28575" y="90986"/>
                  <a:pt x="24310" y="95250"/>
                  <a:pt x="19050" y="95250"/>
                </a:cubicBezTo>
                <a:lnTo>
                  <a:pt x="9525" y="95250"/>
                </a:lnTo>
                <a:cubicBezTo>
                  <a:pt x="4265" y="95250"/>
                  <a:pt x="0" y="90986"/>
                  <a:pt x="0" y="85725"/>
                </a:cubicBezTo>
                <a:cubicBezTo>
                  <a:pt x="0" y="80464"/>
                  <a:pt x="4265" y="76200"/>
                  <a:pt x="9525" y="76200"/>
                </a:cubicBezTo>
                <a:close/>
                <a:moveTo>
                  <a:pt x="85725" y="38100"/>
                </a:moveTo>
                <a:cubicBezTo>
                  <a:pt x="112027" y="38100"/>
                  <a:pt x="133350" y="58671"/>
                  <a:pt x="133350" y="85725"/>
                </a:cubicBezTo>
                <a:cubicBezTo>
                  <a:pt x="133350" y="100663"/>
                  <a:pt x="128144" y="107793"/>
                  <a:pt x="123174" y="114596"/>
                </a:cubicBezTo>
                <a:cubicBezTo>
                  <a:pt x="118639" y="120807"/>
                  <a:pt x="114300" y="126748"/>
                  <a:pt x="114300" y="138113"/>
                </a:cubicBezTo>
                <a:cubicBezTo>
                  <a:pt x="114300" y="147638"/>
                  <a:pt x="104775" y="152400"/>
                  <a:pt x="85725" y="152400"/>
                </a:cubicBezTo>
                <a:cubicBezTo>
                  <a:pt x="66675" y="152400"/>
                  <a:pt x="57150" y="147638"/>
                  <a:pt x="57150" y="138113"/>
                </a:cubicBezTo>
                <a:cubicBezTo>
                  <a:pt x="57150" y="126748"/>
                  <a:pt x="52811" y="120807"/>
                  <a:pt x="48275" y="114596"/>
                </a:cubicBezTo>
                <a:cubicBezTo>
                  <a:pt x="43306" y="107793"/>
                  <a:pt x="38100" y="100663"/>
                  <a:pt x="38100" y="85725"/>
                </a:cubicBezTo>
                <a:cubicBezTo>
                  <a:pt x="38100" y="57150"/>
                  <a:pt x="59422" y="38100"/>
                  <a:pt x="85725" y="38100"/>
                </a:cubicBezTo>
                <a:close/>
                <a:moveTo>
                  <a:pt x="136141" y="21840"/>
                </a:moveTo>
                <a:cubicBezTo>
                  <a:pt x="139860" y="18120"/>
                  <a:pt x="145891" y="18120"/>
                  <a:pt x="149611" y="21840"/>
                </a:cubicBezTo>
                <a:cubicBezTo>
                  <a:pt x="153330" y="25560"/>
                  <a:pt x="153330" y="31590"/>
                  <a:pt x="149611" y="35310"/>
                </a:cubicBezTo>
                <a:lnTo>
                  <a:pt x="140086" y="44835"/>
                </a:lnTo>
                <a:cubicBezTo>
                  <a:pt x="136366" y="48555"/>
                  <a:pt x="130335" y="48555"/>
                  <a:pt x="126616" y="44835"/>
                </a:cubicBezTo>
                <a:cubicBezTo>
                  <a:pt x="122896" y="41115"/>
                  <a:pt x="122896" y="35085"/>
                  <a:pt x="126616" y="31365"/>
                </a:cubicBezTo>
                <a:close/>
                <a:moveTo>
                  <a:pt x="21840" y="21840"/>
                </a:moveTo>
                <a:cubicBezTo>
                  <a:pt x="25560" y="18120"/>
                  <a:pt x="31590" y="18120"/>
                  <a:pt x="35310" y="21840"/>
                </a:cubicBezTo>
                <a:lnTo>
                  <a:pt x="44835" y="31365"/>
                </a:lnTo>
                <a:cubicBezTo>
                  <a:pt x="48555" y="35085"/>
                  <a:pt x="48555" y="41115"/>
                  <a:pt x="44835" y="44835"/>
                </a:cubicBezTo>
                <a:cubicBezTo>
                  <a:pt x="41115" y="48555"/>
                  <a:pt x="35085" y="48555"/>
                  <a:pt x="31365" y="44835"/>
                </a:cubicBezTo>
                <a:lnTo>
                  <a:pt x="21840" y="35310"/>
                </a:lnTo>
                <a:cubicBezTo>
                  <a:pt x="18120" y="31590"/>
                  <a:pt x="18120" y="25560"/>
                  <a:pt x="21840" y="21840"/>
                </a:cubicBezTo>
                <a:close/>
                <a:moveTo>
                  <a:pt x="85725" y="0"/>
                </a:moveTo>
                <a:cubicBezTo>
                  <a:pt x="90986" y="0"/>
                  <a:pt x="95250" y="4265"/>
                  <a:pt x="95250" y="9525"/>
                </a:cubicBezTo>
                <a:lnTo>
                  <a:pt x="95250" y="19050"/>
                </a:lnTo>
                <a:cubicBezTo>
                  <a:pt x="95250" y="24310"/>
                  <a:pt x="90986" y="28575"/>
                  <a:pt x="85725" y="28575"/>
                </a:cubicBezTo>
                <a:cubicBezTo>
                  <a:pt x="80464" y="28575"/>
                  <a:pt x="76200" y="24310"/>
                  <a:pt x="76200" y="19050"/>
                </a:cubicBezTo>
                <a:lnTo>
                  <a:pt x="76200" y="9525"/>
                </a:lnTo>
                <a:cubicBezTo>
                  <a:pt x="76200" y="4265"/>
                  <a:pt x="80464" y="0"/>
                  <a:pt x="85725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EC11CE47-F2DE-CA1C-5C0F-C21FAC0B5671}"/>
              </a:ext>
            </a:extLst>
          </p:cNvPr>
          <p:cNvSpPr txBox="1"/>
          <p:nvPr/>
        </p:nvSpPr>
        <p:spPr>
          <a:xfrm>
            <a:off x="-1691344" y="2506490"/>
            <a:ext cx="1373969" cy="2428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</a:pPr>
            <a:r>
              <a:rPr lang="ru-RU" sz="900" b="0">
                <a:solidFill>
                  <a:schemeClr val="accent1"/>
                </a:solidFill>
              </a:rPr>
              <a:t>Используй эти размеры </a:t>
            </a:r>
            <a:br>
              <a:rPr lang="ru-RU" sz="900" b="0">
                <a:solidFill>
                  <a:schemeClr val="accent1"/>
                </a:solidFill>
              </a:rPr>
            </a:br>
            <a:r>
              <a:rPr lang="ru-RU" sz="900" b="0">
                <a:solidFill>
                  <a:schemeClr val="accent1"/>
                </a:solidFill>
              </a:rPr>
              <a:t>по всей презентации</a:t>
            </a:r>
          </a:p>
        </p:txBody>
      </p:sp>
      <p:sp>
        <p:nvSpPr>
          <p:cNvPr id="6" name="Прямоугольник: скругленные верхние углы 5">
            <a:extLst>
              <a:ext uri="{FF2B5EF4-FFF2-40B4-BE49-F238E27FC236}">
                <a16:creationId xmlns:a16="http://schemas.microsoft.com/office/drawing/2014/main" id="{2A7065C9-92E3-6B9B-9ACA-AEB5C23862DE}"/>
              </a:ext>
            </a:extLst>
          </p:cNvPr>
          <p:cNvSpPr/>
          <p:nvPr/>
        </p:nvSpPr>
        <p:spPr>
          <a:xfrm>
            <a:off x="-2136930" y="0"/>
            <a:ext cx="1926713" cy="2880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36000" rtlCol="0" anchor="ctr"/>
          <a:lstStyle/>
          <a:p>
            <a:pPr algn="ctr"/>
            <a:r>
              <a:rPr lang="ru-RU" sz="1100" b="1">
                <a:solidFill>
                  <a:schemeClr val="tx1"/>
                </a:solidFill>
              </a:rPr>
              <a:t>Размеры текста</a:t>
            </a:r>
          </a:p>
        </p:txBody>
      </p:sp>
      <p:sp>
        <p:nvSpPr>
          <p:cNvPr id="9" name="Полилиния: фигура 8">
            <a:extLst>
              <a:ext uri="{FF2B5EF4-FFF2-40B4-BE49-F238E27FC236}">
                <a16:creationId xmlns:a16="http://schemas.microsoft.com/office/drawing/2014/main" id="{0832DE9F-07AB-D3EB-D833-C1DC910E0CE8}"/>
              </a:ext>
            </a:extLst>
          </p:cNvPr>
          <p:cNvSpPr/>
          <p:nvPr/>
        </p:nvSpPr>
        <p:spPr>
          <a:xfrm>
            <a:off x="-2004344" y="2488864"/>
            <a:ext cx="216624" cy="228657"/>
          </a:xfrm>
          <a:custGeom>
            <a:avLst/>
            <a:gdLst>
              <a:gd name="connsiteX0" fmla="*/ 72536 w 171450"/>
              <a:gd name="connsiteY0" fmla="*/ 162210 h 180974"/>
              <a:gd name="connsiteX1" fmla="*/ 98923 w 171450"/>
              <a:gd name="connsiteY1" fmla="*/ 162210 h 180974"/>
              <a:gd name="connsiteX2" fmla="*/ 103600 w 171450"/>
              <a:gd name="connsiteY2" fmla="*/ 172160 h 180974"/>
              <a:gd name="connsiteX3" fmla="*/ 85726 w 171450"/>
              <a:gd name="connsiteY3" fmla="*/ 180974 h 180974"/>
              <a:gd name="connsiteX4" fmla="*/ 67852 w 171450"/>
              <a:gd name="connsiteY4" fmla="*/ 172160 h 180974"/>
              <a:gd name="connsiteX5" fmla="*/ 72536 w 171450"/>
              <a:gd name="connsiteY5" fmla="*/ 162210 h 180974"/>
              <a:gd name="connsiteX6" fmla="*/ 152400 w 171450"/>
              <a:gd name="connsiteY6" fmla="*/ 76200 h 180974"/>
              <a:gd name="connsiteX7" fmla="*/ 161925 w 171450"/>
              <a:gd name="connsiteY7" fmla="*/ 76200 h 180974"/>
              <a:gd name="connsiteX8" fmla="*/ 171450 w 171450"/>
              <a:gd name="connsiteY8" fmla="*/ 85725 h 180974"/>
              <a:gd name="connsiteX9" fmla="*/ 161925 w 171450"/>
              <a:gd name="connsiteY9" fmla="*/ 95250 h 180974"/>
              <a:gd name="connsiteX10" fmla="*/ 152400 w 171450"/>
              <a:gd name="connsiteY10" fmla="*/ 95250 h 180974"/>
              <a:gd name="connsiteX11" fmla="*/ 142875 w 171450"/>
              <a:gd name="connsiteY11" fmla="*/ 85725 h 180974"/>
              <a:gd name="connsiteX12" fmla="*/ 152400 w 171450"/>
              <a:gd name="connsiteY12" fmla="*/ 76200 h 180974"/>
              <a:gd name="connsiteX13" fmla="*/ 9525 w 171450"/>
              <a:gd name="connsiteY13" fmla="*/ 76200 h 180974"/>
              <a:gd name="connsiteX14" fmla="*/ 19050 w 171450"/>
              <a:gd name="connsiteY14" fmla="*/ 76200 h 180974"/>
              <a:gd name="connsiteX15" fmla="*/ 28575 w 171450"/>
              <a:gd name="connsiteY15" fmla="*/ 85725 h 180974"/>
              <a:gd name="connsiteX16" fmla="*/ 19050 w 171450"/>
              <a:gd name="connsiteY16" fmla="*/ 95250 h 180974"/>
              <a:gd name="connsiteX17" fmla="*/ 9525 w 171450"/>
              <a:gd name="connsiteY17" fmla="*/ 95250 h 180974"/>
              <a:gd name="connsiteX18" fmla="*/ 0 w 171450"/>
              <a:gd name="connsiteY18" fmla="*/ 85725 h 180974"/>
              <a:gd name="connsiteX19" fmla="*/ 9525 w 171450"/>
              <a:gd name="connsiteY19" fmla="*/ 76200 h 180974"/>
              <a:gd name="connsiteX20" fmla="*/ 85725 w 171450"/>
              <a:gd name="connsiteY20" fmla="*/ 38100 h 180974"/>
              <a:gd name="connsiteX21" fmla="*/ 133350 w 171450"/>
              <a:gd name="connsiteY21" fmla="*/ 85725 h 180974"/>
              <a:gd name="connsiteX22" fmla="*/ 123174 w 171450"/>
              <a:gd name="connsiteY22" fmla="*/ 114596 h 180974"/>
              <a:gd name="connsiteX23" fmla="*/ 114300 w 171450"/>
              <a:gd name="connsiteY23" fmla="*/ 138113 h 180974"/>
              <a:gd name="connsiteX24" fmla="*/ 85725 w 171450"/>
              <a:gd name="connsiteY24" fmla="*/ 152400 h 180974"/>
              <a:gd name="connsiteX25" fmla="*/ 57150 w 171450"/>
              <a:gd name="connsiteY25" fmla="*/ 138113 h 180974"/>
              <a:gd name="connsiteX26" fmla="*/ 48275 w 171450"/>
              <a:gd name="connsiteY26" fmla="*/ 114596 h 180974"/>
              <a:gd name="connsiteX27" fmla="*/ 38100 w 171450"/>
              <a:gd name="connsiteY27" fmla="*/ 85725 h 180974"/>
              <a:gd name="connsiteX28" fmla="*/ 85725 w 171450"/>
              <a:gd name="connsiteY28" fmla="*/ 38100 h 180974"/>
              <a:gd name="connsiteX29" fmla="*/ 136141 w 171450"/>
              <a:gd name="connsiteY29" fmla="*/ 21840 h 180974"/>
              <a:gd name="connsiteX30" fmla="*/ 149611 w 171450"/>
              <a:gd name="connsiteY30" fmla="*/ 21840 h 180974"/>
              <a:gd name="connsiteX31" fmla="*/ 149611 w 171450"/>
              <a:gd name="connsiteY31" fmla="*/ 35310 h 180974"/>
              <a:gd name="connsiteX32" fmla="*/ 140086 w 171450"/>
              <a:gd name="connsiteY32" fmla="*/ 44835 h 180974"/>
              <a:gd name="connsiteX33" fmla="*/ 126616 w 171450"/>
              <a:gd name="connsiteY33" fmla="*/ 44835 h 180974"/>
              <a:gd name="connsiteX34" fmla="*/ 126616 w 171450"/>
              <a:gd name="connsiteY34" fmla="*/ 31365 h 180974"/>
              <a:gd name="connsiteX35" fmla="*/ 21840 w 171450"/>
              <a:gd name="connsiteY35" fmla="*/ 21840 h 180974"/>
              <a:gd name="connsiteX36" fmla="*/ 35310 w 171450"/>
              <a:gd name="connsiteY36" fmla="*/ 21840 h 180974"/>
              <a:gd name="connsiteX37" fmla="*/ 44835 w 171450"/>
              <a:gd name="connsiteY37" fmla="*/ 31365 h 180974"/>
              <a:gd name="connsiteX38" fmla="*/ 44835 w 171450"/>
              <a:gd name="connsiteY38" fmla="*/ 44835 h 180974"/>
              <a:gd name="connsiteX39" fmla="*/ 31365 w 171450"/>
              <a:gd name="connsiteY39" fmla="*/ 44835 h 180974"/>
              <a:gd name="connsiteX40" fmla="*/ 21840 w 171450"/>
              <a:gd name="connsiteY40" fmla="*/ 35310 h 180974"/>
              <a:gd name="connsiteX41" fmla="*/ 21840 w 171450"/>
              <a:gd name="connsiteY41" fmla="*/ 21840 h 180974"/>
              <a:gd name="connsiteX42" fmla="*/ 85725 w 171450"/>
              <a:gd name="connsiteY42" fmla="*/ 0 h 180974"/>
              <a:gd name="connsiteX43" fmla="*/ 95250 w 171450"/>
              <a:gd name="connsiteY43" fmla="*/ 9525 h 180974"/>
              <a:gd name="connsiteX44" fmla="*/ 95250 w 171450"/>
              <a:gd name="connsiteY44" fmla="*/ 19050 h 180974"/>
              <a:gd name="connsiteX45" fmla="*/ 85725 w 171450"/>
              <a:gd name="connsiteY45" fmla="*/ 28575 h 180974"/>
              <a:gd name="connsiteX46" fmla="*/ 76200 w 171450"/>
              <a:gd name="connsiteY46" fmla="*/ 19050 h 180974"/>
              <a:gd name="connsiteX47" fmla="*/ 76200 w 171450"/>
              <a:gd name="connsiteY47" fmla="*/ 9525 h 180974"/>
              <a:gd name="connsiteX48" fmla="*/ 85725 w 171450"/>
              <a:gd name="connsiteY48" fmla="*/ 0 h 18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1450" h="180974">
                <a:moveTo>
                  <a:pt x="72536" y="162210"/>
                </a:moveTo>
                <a:cubicBezTo>
                  <a:pt x="80449" y="164140"/>
                  <a:pt x="90933" y="164211"/>
                  <a:pt x="98923" y="162210"/>
                </a:cubicBezTo>
                <a:cubicBezTo>
                  <a:pt x="105617" y="160534"/>
                  <a:pt x="105617" y="166533"/>
                  <a:pt x="103600" y="172160"/>
                </a:cubicBezTo>
                <a:cubicBezTo>
                  <a:pt x="100950" y="179549"/>
                  <a:pt x="95451" y="180974"/>
                  <a:pt x="85726" y="180974"/>
                </a:cubicBezTo>
                <a:cubicBezTo>
                  <a:pt x="76000" y="180974"/>
                  <a:pt x="70501" y="179549"/>
                  <a:pt x="67852" y="172160"/>
                </a:cubicBezTo>
                <a:cubicBezTo>
                  <a:pt x="65835" y="166534"/>
                  <a:pt x="65835" y="160576"/>
                  <a:pt x="72536" y="162210"/>
                </a:cubicBezTo>
                <a:close/>
                <a:moveTo>
                  <a:pt x="152400" y="76200"/>
                </a:moveTo>
                <a:lnTo>
                  <a:pt x="161925" y="76200"/>
                </a:lnTo>
                <a:cubicBezTo>
                  <a:pt x="167186" y="76200"/>
                  <a:pt x="171450" y="80464"/>
                  <a:pt x="171450" y="85725"/>
                </a:cubicBezTo>
                <a:cubicBezTo>
                  <a:pt x="171450" y="90986"/>
                  <a:pt x="167186" y="95250"/>
                  <a:pt x="161925" y="95250"/>
                </a:cubicBezTo>
                <a:lnTo>
                  <a:pt x="152400" y="95250"/>
                </a:lnTo>
                <a:cubicBezTo>
                  <a:pt x="147139" y="95250"/>
                  <a:pt x="142875" y="90986"/>
                  <a:pt x="142875" y="85725"/>
                </a:cubicBezTo>
                <a:cubicBezTo>
                  <a:pt x="142875" y="80464"/>
                  <a:pt x="147139" y="76200"/>
                  <a:pt x="152400" y="76200"/>
                </a:cubicBezTo>
                <a:close/>
                <a:moveTo>
                  <a:pt x="9525" y="76200"/>
                </a:moveTo>
                <a:lnTo>
                  <a:pt x="19050" y="76200"/>
                </a:lnTo>
                <a:cubicBezTo>
                  <a:pt x="24310" y="76200"/>
                  <a:pt x="28575" y="80464"/>
                  <a:pt x="28575" y="85725"/>
                </a:cubicBezTo>
                <a:cubicBezTo>
                  <a:pt x="28575" y="90986"/>
                  <a:pt x="24310" y="95250"/>
                  <a:pt x="19050" y="95250"/>
                </a:cubicBezTo>
                <a:lnTo>
                  <a:pt x="9525" y="95250"/>
                </a:lnTo>
                <a:cubicBezTo>
                  <a:pt x="4265" y="95250"/>
                  <a:pt x="0" y="90986"/>
                  <a:pt x="0" y="85725"/>
                </a:cubicBezTo>
                <a:cubicBezTo>
                  <a:pt x="0" y="80464"/>
                  <a:pt x="4265" y="76200"/>
                  <a:pt x="9525" y="76200"/>
                </a:cubicBezTo>
                <a:close/>
                <a:moveTo>
                  <a:pt x="85725" y="38100"/>
                </a:moveTo>
                <a:cubicBezTo>
                  <a:pt x="112027" y="38100"/>
                  <a:pt x="133350" y="58671"/>
                  <a:pt x="133350" y="85725"/>
                </a:cubicBezTo>
                <a:cubicBezTo>
                  <a:pt x="133350" y="100663"/>
                  <a:pt x="128144" y="107793"/>
                  <a:pt x="123174" y="114596"/>
                </a:cubicBezTo>
                <a:cubicBezTo>
                  <a:pt x="118639" y="120807"/>
                  <a:pt x="114300" y="126748"/>
                  <a:pt x="114300" y="138113"/>
                </a:cubicBezTo>
                <a:cubicBezTo>
                  <a:pt x="114300" y="147638"/>
                  <a:pt x="104775" y="152400"/>
                  <a:pt x="85725" y="152400"/>
                </a:cubicBezTo>
                <a:cubicBezTo>
                  <a:pt x="66675" y="152400"/>
                  <a:pt x="57150" y="147638"/>
                  <a:pt x="57150" y="138113"/>
                </a:cubicBezTo>
                <a:cubicBezTo>
                  <a:pt x="57150" y="126748"/>
                  <a:pt x="52811" y="120807"/>
                  <a:pt x="48275" y="114596"/>
                </a:cubicBezTo>
                <a:cubicBezTo>
                  <a:pt x="43306" y="107793"/>
                  <a:pt x="38100" y="100663"/>
                  <a:pt x="38100" y="85725"/>
                </a:cubicBezTo>
                <a:cubicBezTo>
                  <a:pt x="38100" y="57150"/>
                  <a:pt x="59422" y="38100"/>
                  <a:pt x="85725" y="38100"/>
                </a:cubicBezTo>
                <a:close/>
                <a:moveTo>
                  <a:pt x="136141" y="21840"/>
                </a:moveTo>
                <a:cubicBezTo>
                  <a:pt x="139860" y="18120"/>
                  <a:pt x="145891" y="18120"/>
                  <a:pt x="149611" y="21840"/>
                </a:cubicBezTo>
                <a:cubicBezTo>
                  <a:pt x="153330" y="25560"/>
                  <a:pt x="153330" y="31590"/>
                  <a:pt x="149611" y="35310"/>
                </a:cubicBezTo>
                <a:lnTo>
                  <a:pt x="140086" y="44835"/>
                </a:lnTo>
                <a:cubicBezTo>
                  <a:pt x="136366" y="48555"/>
                  <a:pt x="130335" y="48555"/>
                  <a:pt x="126616" y="44835"/>
                </a:cubicBezTo>
                <a:cubicBezTo>
                  <a:pt x="122896" y="41115"/>
                  <a:pt x="122896" y="35085"/>
                  <a:pt x="126616" y="31365"/>
                </a:cubicBezTo>
                <a:close/>
                <a:moveTo>
                  <a:pt x="21840" y="21840"/>
                </a:moveTo>
                <a:cubicBezTo>
                  <a:pt x="25560" y="18120"/>
                  <a:pt x="31590" y="18120"/>
                  <a:pt x="35310" y="21840"/>
                </a:cubicBezTo>
                <a:lnTo>
                  <a:pt x="44835" y="31365"/>
                </a:lnTo>
                <a:cubicBezTo>
                  <a:pt x="48555" y="35085"/>
                  <a:pt x="48555" y="41115"/>
                  <a:pt x="44835" y="44835"/>
                </a:cubicBezTo>
                <a:cubicBezTo>
                  <a:pt x="41115" y="48555"/>
                  <a:pt x="35085" y="48555"/>
                  <a:pt x="31365" y="44835"/>
                </a:cubicBezTo>
                <a:lnTo>
                  <a:pt x="21840" y="35310"/>
                </a:lnTo>
                <a:cubicBezTo>
                  <a:pt x="18120" y="31590"/>
                  <a:pt x="18120" y="25560"/>
                  <a:pt x="21840" y="21840"/>
                </a:cubicBezTo>
                <a:close/>
                <a:moveTo>
                  <a:pt x="85725" y="0"/>
                </a:moveTo>
                <a:cubicBezTo>
                  <a:pt x="90986" y="0"/>
                  <a:pt x="95250" y="4265"/>
                  <a:pt x="95250" y="9525"/>
                </a:cubicBezTo>
                <a:lnTo>
                  <a:pt x="95250" y="19050"/>
                </a:lnTo>
                <a:cubicBezTo>
                  <a:pt x="95250" y="24310"/>
                  <a:pt x="90986" y="28575"/>
                  <a:pt x="85725" y="28575"/>
                </a:cubicBezTo>
                <a:cubicBezTo>
                  <a:pt x="80464" y="28575"/>
                  <a:pt x="76200" y="24310"/>
                  <a:pt x="76200" y="19050"/>
                </a:cubicBezTo>
                <a:lnTo>
                  <a:pt x="76200" y="9525"/>
                </a:lnTo>
                <a:cubicBezTo>
                  <a:pt x="76200" y="4265"/>
                  <a:pt x="80464" y="0"/>
                  <a:pt x="85725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EE69F2E9-9C91-47CB-104F-08223C29A8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9764" y="411164"/>
            <a:ext cx="10910888" cy="35885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5000"/>
              </a:lnSpc>
              <a:defRPr spc="-30" baseline="0">
                <a:solidFill>
                  <a:schemeClr val="bg1"/>
                </a:solidFill>
              </a:defRPr>
            </a:lvl1pPr>
          </a:lstStyle>
          <a:p>
            <a:r>
              <a:rPr lang="ru-RU"/>
              <a:t>Сформулируй заголовок слайда в 1 строку</a:t>
            </a:r>
          </a:p>
        </p:txBody>
      </p:sp>
      <p:sp>
        <p:nvSpPr>
          <p:cNvPr id="7" name="Текст 10">
            <a:extLst>
              <a:ext uri="{FF2B5EF4-FFF2-40B4-BE49-F238E27FC236}">
                <a16:creationId xmlns:a16="http://schemas.microsoft.com/office/drawing/2014/main" id="{E9EE4166-D061-8EE2-C4D5-FEB88C0F4E1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9763" y="833072"/>
            <a:ext cx="10926762" cy="358858"/>
          </a:xfrm>
        </p:spPr>
        <p:txBody>
          <a:bodyPr/>
          <a:lstStyle>
            <a:lvl1pPr>
              <a:lnSpc>
                <a:spcPct val="90000"/>
              </a:lnSpc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Сформулируй подзаголовок в 1–2 строки</a:t>
            </a:r>
          </a:p>
        </p:txBody>
      </p:sp>
      <p:pic>
        <p:nvPicPr>
          <p:cNvPr id="47" name="Рисунок 46">
            <a:extLst>
              <a:ext uri="{FF2B5EF4-FFF2-40B4-BE49-F238E27FC236}">
                <a16:creationId xmlns:a16="http://schemas.microsoft.com/office/drawing/2014/main" id="{75DC7CDE-D39A-A843-A825-0CA3AC516B7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l="9468" t="30431" r="9932" b="30861"/>
          <a:stretch/>
        </p:blipFill>
        <p:spPr>
          <a:xfrm>
            <a:off x="635000" y="6403975"/>
            <a:ext cx="1044575" cy="250826"/>
          </a:xfrm>
          <a:prstGeom prst="rect">
            <a:avLst/>
          </a:prstGeom>
        </p:spPr>
      </p:pic>
      <p:sp>
        <p:nvSpPr>
          <p:cNvPr id="48" name="Нижний колонтитул 4">
            <a:extLst>
              <a:ext uri="{FF2B5EF4-FFF2-40B4-BE49-F238E27FC236}">
                <a16:creationId xmlns:a16="http://schemas.microsoft.com/office/drawing/2014/main" id="{6C2D7C7E-8FA5-FD4A-BA0C-5BDD33B580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458800" y="6465600"/>
            <a:ext cx="7274114" cy="144500"/>
          </a:xfrm>
        </p:spPr>
        <p:txBody>
          <a:bodyPr anchor="b"/>
          <a:lstStyle>
            <a:lvl1pPr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endParaRPr lang="ru-RU" dirty="0"/>
          </a:p>
        </p:txBody>
      </p:sp>
      <p:grpSp>
        <p:nvGrpSpPr>
          <p:cNvPr id="45" name="Группа 44">
            <a:extLst>
              <a:ext uri="{FF2B5EF4-FFF2-40B4-BE49-F238E27FC236}">
                <a16:creationId xmlns:a16="http://schemas.microsoft.com/office/drawing/2014/main" id="{648F2E3E-6112-2C4C-8D1D-2D8CF74E7D90}"/>
              </a:ext>
            </a:extLst>
          </p:cNvPr>
          <p:cNvGrpSpPr/>
          <p:nvPr userDrawn="1"/>
        </p:nvGrpSpPr>
        <p:grpSpPr>
          <a:xfrm>
            <a:off x="-2138458" y="3070447"/>
            <a:ext cx="1935384" cy="3787553"/>
            <a:chOff x="-2138458" y="3070447"/>
            <a:chExt cx="1935384" cy="3787553"/>
          </a:xfrm>
        </p:grpSpPr>
        <p:sp>
          <p:nvSpPr>
            <p:cNvPr id="50" name="Прямоугольник: скругленные углы 38">
              <a:extLst>
                <a:ext uri="{FF2B5EF4-FFF2-40B4-BE49-F238E27FC236}">
                  <a16:creationId xmlns:a16="http://schemas.microsoft.com/office/drawing/2014/main" id="{0FEF8000-4C08-614A-9F86-BE0DD9109AE5}"/>
                </a:ext>
              </a:extLst>
            </p:cNvPr>
            <p:cNvSpPr/>
            <p:nvPr userDrawn="1"/>
          </p:nvSpPr>
          <p:spPr>
            <a:xfrm>
              <a:off x="-2138458" y="3125312"/>
              <a:ext cx="1928241" cy="2468818"/>
            </a:xfrm>
            <a:prstGeom prst="roundRect">
              <a:avLst>
                <a:gd name="adj" fmla="val 5926"/>
              </a:avLst>
            </a:prstGeom>
            <a:solidFill>
              <a:schemeClr val="bg1"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3" name="Прямоугольник: скругленные верхние углы 39">
              <a:extLst>
                <a:ext uri="{FF2B5EF4-FFF2-40B4-BE49-F238E27FC236}">
                  <a16:creationId xmlns:a16="http://schemas.microsoft.com/office/drawing/2014/main" id="{E622BFE9-AC85-8E4C-BEE2-2DD1DFB9D180}"/>
                </a:ext>
              </a:extLst>
            </p:cNvPr>
            <p:cNvSpPr/>
            <p:nvPr/>
          </p:nvSpPr>
          <p:spPr>
            <a:xfrm>
              <a:off x="-2136930" y="3070447"/>
              <a:ext cx="1926713" cy="28800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36000" rtlCol="0" anchor="ctr"/>
            <a:lstStyle/>
            <a:p>
              <a:pPr algn="ctr"/>
              <a:r>
                <a:rPr lang="ru-RU" sz="1100" b="1">
                  <a:solidFill>
                    <a:schemeClr val="tx1"/>
                  </a:solidFill>
                </a:rPr>
                <a:t>Цвета </a:t>
              </a:r>
              <a:r>
                <a:rPr lang="en-US" sz="1100" b="1">
                  <a:solidFill>
                    <a:schemeClr val="tx1"/>
                  </a:solidFill>
                </a:rPr>
                <a:t>Ozon</a:t>
              </a:r>
              <a:endParaRPr lang="ru-RU" sz="1100" b="1">
                <a:solidFill>
                  <a:schemeClr val="tx1"/>
                </a:solidFill>
              </a:endParaRPr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82C6DBC3-5381-A74B-8F11-DE335DDBBDB0}"/>
                </a:ext>
              </a:extLst>
            </p:cNvPr>
            <p:cNvSpPr txBox="1"/>
            <p:nvPr/>
          </p:nvSpPr>
          <p:spPr>
            <a:xfrm>
              <a:off x="-2003446" y="3412239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текста </a:t>
              </a:r>
            </a:p>
          </p:txBody>
        </p:sp>
        <p:sp>
          <p:nvSpPr>
            <p:cNvPr id="69" name="Прямоугольник: скругленные углы 41">
              <a:extLst>
                <a:ext uri="{FF2B5EF4-FFF2-40B4-BE49-F238E27FC236}">
                  <a16:creationId xmlns:a16="http://schemas.microsoft.com/office/drawing/2014/main" id="{AACE419B-BE59-4F43-981D-9DEFE65B0958}"/>
                </a:ext>
              </a:extLst>
            </p:cNvPr>
            <p:cNvSpPr/>
            <p:nvPr/>
          </p:nvSpPr>
          <p:spPr>
            <a:xfrm>
              <a:off x="-2004344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0" name="Прямоугольник: скругленные углы 42">
              <a:extLst>
                <a:ext uri="{FF2B5EF4-FFF2-40B4-BE49-F238E27FC236}">
                  <a16:creationId xmlns:a16="http://schemas.microsoft.com/office/drawing/2014/main" id="{D357E59A-4A88-184D-A40B-046F72FE9E74}"/>
                </a:ext>
              </a:extLst>
            </p:cNvPr>
            <p:cNvSpPr/>
            <p:nvPr/>
          </p:nvSpPr>
          <p:spPr>
            <a:xfrm>
              <a:off x="-1738339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6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FE983242-104D-8C42-A7FB-3001920446F7}"/>
                </a:ext>
              </a:extLst>
            </p:cNvPr>
            <p:cNvSpPr txBox="1"/>
            <p:nvPr/>
          </p:nvSpPr>
          <p:spPr>
            <a:xfrm>
              <a:off x="-2003446" y="3935644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больших плашек</a:t>
              </a:r>
            </a:p>
          </p:txBody>
        </p:sp>
        <p:sp>
          <p:nvSpPr>
            <p:cNvPr id="72" name="Прямоугольник: скругленные углы 48">
              <a:extLst>
                <a:ext uri="{FF2B5EF4-FFF2-40B4-BE49-F238E27FC236}">
                  <a16:creationId xmlns:a16="http://schemas.microsoft.com/office/drawing/2014/main" id="{B9D2BE53-46DE-6B4A-8097-E2AC77284DD5}"/>
                </a:ext>
              </a:extLst>
            </p:cNvPr>
            <p:cNvSpPr/>
            <p:nvPr userDrawn="1"/>
          </p:nvSpPr>
          <p:spPr>
            <a:xfrm>
              <a:off x="-2004963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3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C4B67CA3-C9D7-D546-A4B0-4CCF85BD625D}"/>
                </a:ext>
              </a:extLst>
            </p:cNvPr>
            <p:cNvSpPr txBox="1"/>
            <p:nvPr/>
          </p:nvSpPr>
          <p:spPr>
            <a:xfrm>
              <a:off x="-2003446" y="4451492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а маленьких плашек</a:t>
              </a:r>
            </a:p>
          </p:txBody>
        </p:sp>
        <p:sp>
          <p:nvSpPr>
            <p:cNvPr id="74" name="Прямоугольник: скругленные углы 52">
              <a:extLst>
                <a:ext uri="{FF2B5EF4-FFF2-40B4-BE49-F238E27FC236}">
                  <a16:creationId xmlns:a16="http://schemas.microsoft.com/office/drawing/2014/main" id="{FB1AAE82-4E11-C148-B7CF-35879FB6ABCD}"/>
                </a:ext>
              </a:extLst>
            </p:cNvPr>
            <p:cNvSpPr/>
            <p:nvPr/>
          </p:nvSpPr>
          <p:spPr>
            <a:xfrm>
              <a:off x="-1739900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B7EDC9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5" name="Прямоугольник: скругленные углы 53">
              <a:extLst>
                <a:ext uri="{FF2B5EF4-FFF2-40B4-BE49-F238E27FC236}">
                  <a16:creationId xmlns:a16="http://schemas.microsoft.com/office/drawing/2014/main" id="{E1AA3362-7DD3-8F47-9E89-D9C8BCE70749}"/>
                </a:ext>
              </a:extLst>
            </p:cNvPr>
            <p:cNvSpPr/>
            <p:nvPr/>
          </p:nvSpPr>
          <p:spPr>
            <a:xfrm>
              <a:off x="-1474837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FA800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6" name="Прямоугольник: скругленные углы 54">
              <a:extLst>
                <a:ext uri="{FF2B5EF4-FFF2-40B4-BE49-F238E27FC236}">
                  <a16:creationId xmlns:a16="http://schemas.microsoft.com/office/drawing/2014/main" id="{0626B1CE-E5AE-DE4C-A31E-7BF828AECEDA}"/>
                </a:ext>
              </a:extLst>
            </p:cNvPr>
            <p:cNvSpPr/>
            <p:nvPr/>
          </p:nvSpPr>
          <p:spPr>
            <a:xfrm>
              <a:off x="-2004963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10C44C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0BA97619-4997-DA47-9A36-26A2C52FD7CB}"/>
                </a:ext>
              </a:extLst>
            </p:cNvPr>
            <p:cNvSpPr txBox="1"/>
            <p:nvPr/>
          </p:nvSpPr>
          <p:spPr>
            <a:xfrm>
              <a:off x="-2003446" y="4973480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900"/>
                <a:t>Рост / падение показателей</a:t>
              </a:r>
            </a:p>
          </p:txBody>
        </p:sp>
        <p:sp>
          <p:nvSpPr>
            <p:cNvPr id="78" name="Прямоугольник: скругленные углы 43">
              <a:extLst>
                <a:ext uri="{FF2B5EF4-FFF2-40B4-BE49-F238E27FC236}">
                  <a16:creationId xmlns:a16="http://schemas.microsoft.com/office/drawing/2014/main" id="{43B6C6BE-5E18-0D4A-8BA2-EC9DD2CE2E3C}"/>
                </a:ext>
              </a:extLst>
            </p:cNvPr>
            <p:cNvSpPr/>
            <p:nvPr/>
          </p:nvSpPr>
          <p:spPr>
            <a:xfrm>
              <a:off x="-2004963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3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9" name="Прямоугольник: скругленные углы 51">
              <a:extLst>
                <a:ext uri="{FF2B5EF4-FFF2-40B4-BE49-F238E27FC236}">
                  <a16:creationId xmlns:a16="http://schemas.microsoft.com/office/drawing/2014/main" id="{ADFA8A15-FA8C-E141-9462-4F8AF478ADBB}"/>
                </a:ext>
              </a:extLst>
            </p:cNvPr>
            <p:cNvSpPr/>
            <p:nvPr/>
          </p:nvSpPr>
          <p:spPr>
            <a:xfrm>
              <a:off x="-1740264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2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0" name="Прямоугольник: скругленные углы 56">
              <a:extLst>
                <a:ext uri="{FF2B5EF4-FFF2-40B4-BE49-F238E27FC236}">
                  <a16:creationId xmlns:a16="http://schemas.microsoft.com/office/drawing/2014/main" id="{C467CE4A-4EA1-FA4E-A1D9-F6296092BD34}"/>
                </a:ext>
              </a:extLst>
            </p:cNvPr>
            <p:cNvSpPr/>
            <p:nvPr/>
          </p:nvSpPr>
          <p:spPr>
            <a:xfrm>
              <a:off x="-1474837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1" name="Прямоугольник: скругленные углы 57">
              <a:extLst>
                <a:ext uri="{FF2B5EF4-FFF2-40B4-BE49-F238E27FC236}">
                  <a16:creationId xmlns:a16="http://schemas.microsoft.com/office/drawing/2014/main" id="{1AEEB0A2-0198-2D49-A658-6982704DD4A5}"/>
                </a:ext>
              </a:extLst>
            </p:cNvPr>
            <p:cNvSpPr/>
            <p:nvPr/>
          </p:nvSpPr>
          <p:spPr>
            <a:xfrm>
              <a:off x="-2131314" y="5782119"/>
              <a:ext cx="1928240" cy="1075881"/>
            </a:xfrm>
            <a:prstGeom prst="roundRect">
              <a:avLst>
                <a:gd name="adj" fmla="val 12985"/>
              </a:avLst>
            </a:prstGeom>
            <a:solidFill>
              <a:schemeClr val="bg1"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6CE588C9-3546-B347-A4F8-CB4CBA85FC95}"/>
                </a:ext>
              </a:extLst>
            </p:cNvPr>
            <p:cNvSpPr txBox="1"/>
            <p:nvPr/>
          </p:nvSpPr>
          <p:spPr>
            <a:xfrm>
              <a:off x="-1788338" y="5868204"/>
              <a:ext cx="1155882" cy="15109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l">
                <a:lnSpc>
                  <a:spcPct val="90000"/>
                </a:lnSpc>
              </a:pPr>
              <a:r>
                <a:rPr lang="ru-RU" sz="1000" b="1">
                  <a:solidFill>
                    <a:schemeClr val="accent1"/>
                  </a:solidFill>
                </a:rPr>
                <a:t>Шаблон </a:t>
              </a:r>
              <a:r>
                <a:rPr lang="en-US" sz="1000" b="1">
                  <a:solidFill>
                    <a:schemeClr val="accent1"/>
                  </a:solidFill>
                </a:rPr>
                <a:t>Ozon</a:t>
              </a:r>
              <a:endParaRPr lang="ru-RU" sz="1000" b="1">
                <a:solidFill>
                  <a:schemeClr val="accent1"/>
                </a:solidFill>
              </a:endParaRPr>
            </a:p>
          </p:txBody>
        </p:sp>
        <p:sp>
          <p:nvSpPr>
            <p:cNvPr id="83" name="Рисунок 93">
              <a:extLst>
                <a:ext uri="{FF2B5EF4-FFF2-40B4-BE49-F238E27FC236}">
                  <a16:creationId xmlns:a16="http://schemas.microsoft.com/office/drawing/2014/main" id="{A74B1CAD-8989-D348-8465-FD0FBBCB07D6}"/>
                </a:ext>
              </a:extLst>
            </p:cNvPr>
            <p:cNvSpPr/>
            <p:nvPr/>
          </p:nvSpPr>
          <p:spPr>
            <a:xfrm>
              <a:off x="-2004963" y="5853908"/>
              <a:ext cx="161099" cy="161099"/>
            </a:xfrm>
            <a:custGeom>
              <a:avLst/>
              <a:gdLst>
                <a:gd name="connsiteX0" fmla="*/ 85725 w 171450"/>
                <a:gd name="connsiteY0" fmla="*/ 171450 h 171450"/>
                <a:gd name="connsiteX1" fmla="*/ 171450 w 171450"/>
                <a:gd name="connsiteY1" fmla="*/ 85725 h 171450"/>
                <a:gd name="connsiteX2" fmla="*/ 85725 w 171450"/>
                <a:gd name="connsiteY2" fmla="*/ 0 h 171450"/>
                <a:gd name="connsiteX3" fmla="*/ 0 w 171450"/>
                <a:gd name="connsiteY3" fmla="*/ 85725 h 171450"/>
                <a:gd name="connsiteX4" fmla="*/ 85725 w 171450"/>
                <a:gd name="connsiteY4" fmla="*/ 171450 h 171450"/>
                <a:gd name="connsiteX5" fmla="*/ 130560 w 171450"/>
                <a:gd name="connsiteY5" fmla="*/ 73410 h 171450"/>
                <a:gd name="connsiteX6" fmla="*/ 82935 w 171450"/>
                <a:gd name="connsiteY6" fmla="*/ 121035 h 171450"/>
                <a:gd name="connsiteX7" fmla="*/ 69465 w 171450"/>
                <a:gd name="connsiteY7" fmla="*/ 121035 h 171450"/>
                <a:gd name="connsiteX8" fmla="*/ 40890 w 171450"/>
                <a:gd name="connsiteY8" fmla="*/ 92460 h 171450"/>
                <a:gd name="connsiteX9" fmla="*/ 40890 w 171450"/>
                <a:gd name="connsiteY9" fmla="*/ 78990 h 171450"/>
                <a:gd name="connsiteX10" fmla="*/ 54360 w 171450"/>
                <a:gd name="connsiteY10" fmla="*/ 78990 h 171450"/>
                <a:gd name="connsiteX11" fmla="*/ 76200 w 171450"/>
                <a:gd name="connsiteY11" fmla="*/ 100830 h 171450"/>
                <a:gd name="connsiteX12" fmla="*/ 117090 w 171450"/>
                <a:gd name="connsiteY12" fmla="*/ 59940 h 171450"/>
                <a:gd name="connsiteX13" fmla="*/ 130560 w 171450"/>
                <a:gd name="connsiteY13" fmla="*/ 59940 h 171450"/>
                <a:gd name="connsiteX14" fmla="*/ 130560 w 171450"/>
                <a:gd name="connsiteY14" fmla="*/ 7341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71450" h="171450">
                  <a:moveTo>
                    <a:pt x="85725" y="171450"/>
                  </a:moveTo>
                  <a:cubicBezTo>
                    <a:pt x="138915" y="171450"/>
                    <a:pt x="171450" y="138915"/>
                    <a:pt x="171450" y="85725"/>
                  </a:cubicBezTo>
                  <a:cubicBezTo>
                    <a:pt x="171450" y="32535"/>
                    <a:pt x="138915" y="0"/>
                    <a:pt x="85725" y="0"/>
                  </a:cubicBezTo>
                  <a:cubicBezTo>
                    <a:pt x="32535" y="0"/>
                    <a:pt x="0" y="32535"/>
                    <a:pt x="0" y="85725"/>
                  </a:cubicBezTo>
                  <a:cubicBezTo>
                    <a:pt x="0" y="138915"/>
                    <a:pt x="32535" y="171450"/>
                    <a:pt x="85725" y="171450"/>
                  </a:cubicBezTo>
                  <a:close/>
                  <a:moveTo>
                    <a:pt x="130560" y="73410"/>
                  </a:moveTo>
                  <a:lnTo>
                    <a:pt x="82935" y="121035"/>
                  </a:lnTo>
                  <a:cubicBezTo>
                    <a:pt x="79216" y="124755"/>
                    <a:pt x="73184" y="124755"/>
                    <a:pt x="69465" y="121035"/>
                  </a:cubicBezTo>
                  <a:lnTo>
                    <a:pt x="40890" y="92460"/>
                  </a:lnTo>
                  <a:cubicBezTo>
                    <a:pt x="37170" y="88741"/>
                    <a:pt x="37170" y="82709"/>
                    <a:pt x="40890" y="78990"/>
                  </a:cubicBezTo>
                  <a:cubicBezTo>
                    <a:pt x="44610" y="75270"/>
                    <a:pt x="50640" y="75270"/>
                    <a:pt x="54360" y="78990"/>
                  </a:cubicBezTo>
                  <a:lnTo>
                    <a:pt x="76200" y="100830"/>
                  </a:lnTo>
                  <a:lnTo>
                    <a:pt x="117090" y="59940"/>
                  </a:lnTo>
                  <a:cubicBezTo>
                    <a:pt x="120809" y="56220"/>
                    <a:pt x="126841" y="56220"/>
                    <a:pt x="130560" y="59940"/>
                  </a:cubicBezTo>
                  <a:cubicBezTo>
                    <a:pt x="134280" y="63660"/>
                    <a:pt x="134280" y="69691"/>
                    <a:pt x="130560" y="7341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118B9B9F-6BB2-0B4E-8DF9-8FDFFA3067F3}"/>
                </a:ext>
              </a:extLst>
            </p:cNvPr>
            <p:cNvSpPr txBox="1"/>
            <p:nvPr userDrawn="1"/>
          </p:nvSpPr>
          <p:spPr>
            <a:xfrm>
              <a:off x="-2004962" y="6072106"/>
              <a:ext cx="1687587" cy="60024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>
                <a:lnSpc>
                  <a:spcPct val="110000"/>
                </a:lnSpc>
              </a:pPr>
              <a:r>
                <a:rPr lang="ru-RU" sz="900" spc="-30" baseline="0">
                  <a:solidFill>
                    <a:schemeClr val="tx2"/>
                  </a:solidFill>
                </a:rPr>
                <a:t>Если нужно больше материалов: </a:t>
              </a:r>
              <a:r>
                <a:rPr lang="ru-RU" sz="900" b="1" spc="-30" baseline="0">
                  <a:solidFill>
                    <a:schemeClr val="tx2"/>
                  </a:solidFill>
                </a:rPr>
                <a:t>правое меню </a:t>
              </a:r>
              <a:r>
                <a:rPr lang="en-US" sz="900" b="1" spc="-30" baseline="0">
                  <a:solidFill>
                    <a:schemeClr val="tx2"/>
                  </a:solidFill>
                </a:rPr>
                <a:t>Staff — Brand </a:t>
              </a:r>
              <a:r>
                <a:rPr lang="ru-RU" sz="900" b="1" spc="-30" baseline="0">
                  <a:solidFill>
                    <a:schemeClr val="tx2"/>
                  </a:solidFill>
                </a:rPr>
                <a:t>— Всё для презентаций. </a:t>
              </a:r>
              <a:r>
                <a:rPr lang="ru-RU" sz="900" b="0" spc="-30" baseline="0">
                  <a:solidFill>
                    <a:schemeClr val="tx2"/>
                  </a:solidFill>
                </a:rPr>
                <a:t>Или пиши нам на </a:t>
              </a:r>
              <a:r>
                <a:rPr lang="en-US" sz="900" b="0" spc="-30" baseline="0">
                  <a:solidFill>
                    <a:schemeClr val="tx2"/>
                  </a:solidFill>
                </a:rPr>
                <a:t>presentations@ozon.ru.</a:t>
              </a:r>
              <a:r>
                <a:rPr lang="ru-RU" sz="900" b="0" spc="-30" baseline="0">
                  <a:solidFill>
                    <a:schemeClr val="tx2"/>
                  </a:solidFill>
                </a:rPr>
                <a:t> </a:t>
              </a:r>
            </a:p>
          </p:txBody>
        </p:sp>
        <p:sp>
          <p:nvSpPr>
            <p:cNvPr id="85" name="Прямоугольник: скругленные углы 63">
              <a:extLst>
                <a:ext uri="{FF2B5EF4-FFF2-40B4-BE49-F238E27FC236}">
                  <a16:creationId xmlns:a16="http://schemas.microsoft.com/office/drawing/2014/main" id="{0F58099B-23C9-934D-BC79-ABBA253B3C9E}"/>
                </a:ext>
              </a:extLst>
            </p:cNvPr>
            <p:cNvSpPr/>
            <p:nvPr/>
          </p:nvSpPr>
          <p:spPr>
            <a:xfrm>
              <a:off x="-944711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53C14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6" name="Прямоугольник: скругленные углы 64">
              <a:extLst>
                <a:ext uri="{FF2B5EF4-FFF2-40B4-BE49-F238E27FC236}">
                  <a16:creationId xmlns:a16="http://schemas.microsoft.com/office/drawing/2014/main" id="{5C9A2D73-0741-D34D-AF49-40482534040F}"/>
                </a:ext>
              </a:extLst>
            </p:cNvPr>
            <p:cNvSpPr/>
            <p:nvPr/>
          </p:nvSpPr>
          <p:spPr>
            <a:xfrm>
              <a:off x="-679648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CC4B8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7" name="Прямоугольник: скругленные углы 65">
              <a:extLst>
                <a:ext uri="{FF2B5EF4-FFF2-40B4-BE49-F238E27FC236}">
                  <a16:creationId xmlns:a16="http://schemas.microsoft.com/office/drawing/2014/main" id="{722B8CD6-DAE6-A240-955C-CF87126D23D3}"/>
                </a:ext>
              </a:extLst>
            </p:cNvPr>
            <p:cNvSpPr/>
            <p:nvPr/>
          </p:nvSpPr>
          <p:spPr>
            <a:xfrm>
              <a:off x="-1209774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FE5B2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8" name="Прямоугольник: скругленные верхние углы 12">
              <a:extLst>
                <a:ext uri="{FF2B5EF4-FFF2-40B4-BE49-F238E27FC236}">
                  <a16:creationId xmlns:a16="http://schemas.microsoft.com/office/drawing/2014/main" id="{19850F91-A4C3-9D47-BB90-CD021C348092}"/>
                </a:ext>
              </a:extLst>
            </p:cNvPr>
            <p:cNvSpPr/>
            <p:nvPr/>
          </p:nvSpPr>
          <p:spPr>
            <a:xfrm>
              <a:off x="-2136930" y="3070447"/>
              <a:ext cx="1926713" cy="28800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36000" rtlCol="0" anchor="ctr"/>
            <a:lstStyle/>
            <a:p>
              <a:pPr algn="ctr"/>
              <a:r>
                <a:rPr lang="ru-RU" sz="1100" b="1">
                  <a:solidFill>
                    <a:schemeClr val="tx1"/>
                  </a:solidFill>
                </a:rPr>
                <a:t>Цвета </a:t>
              </a:r>
              <a:r>
                <a:rPr lang="en-US" sz="1100" b="1">
                  <a:solidFill>
                    <a:schemeClr val="tx1"/>
                  </a:solidFill>
                </a:rPr>
                <a:t>Ozon</a:t>
              </a:r>
              <a:endParaRPr lang="ru-RU" sz="1100" b="1">
                <a:solidFill>
                  <a:schemeClr val="tx1"/>
                </a:solidFill>
              </a:endParaRPr>
            </a:p>
          </p:txBody>
        </p:sp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51DBD2A3-0EF3-FA43-9D30-8827A57A2345}"/>
                </a:ext>
              </a:extLst>
            </p:cNvPr>
            <p:cNvSpPr txBox="1"/>
            <p:nvPr/>
          </p:nvSpPr>
          <p:spPr>
            <a:xfrm>
              <a:off x="-2003446" y="3412239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текста </a:t>
              </a:r>
            </a:p>
          </p:txBody>
        </p:sp>
        <p:sp>
          <p:nvSpPr>
            <p:cNvPr id="90" name="Прямоугольник: скругленные углы 15">
              <a:extLst>
                <a:ext uri="{FF2B5EF4-FFF2-40B4-BE49-F238E27FC236}">
                  <a16:creationId xmlns:a16="http://schemas.microsoft.com/office/drawing/2014/main" id="{CD27F48E-7A94-3D42-B1AF-3719469C57B0}"/>
                </a:ext>
              </a:extLst>
            </p:cNvPr>
            <p:cNvSpPr/>
            <p:nvPr/>
          </p:nvSpPr>
          <p:spPr>
            <a:xfrm>
              <a:off x="-2004344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1" name="Прямоугольник: скругленные углы 16">
              <a:extLst>
                <a:ext uri="{FF2B5EF4-FFF2-40B4-BE49-F238E27FC236}">
                  <a16:creationId xmlns:a16="http://schemas.microsoft.com/office/drawing/2014/main" id="{962AB29A-8572-4A48-A284-5AF381D7E091}"/>
                </a:ext>
              </a:extLst>
            </p:cNvPr>
            <p:cNvSpPr/>
            <p:nvPr/>
          </p:nvSpPr>
          <p:spPr>
            <a:xfrm>
              <a:off x="-1738339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6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EBDA067E-F313-334C-AEE3-BCFADD5879DB}"/>
                </a:ext>
              </a:extLst>
            </p:cNvPr>
            <p:cNvSpPr txBox="1"/>
            <p:nvPr/>
          </p:nvSpPr>
          <p:spPr>
            <a:xfrm>
              <a:off x="-1788338" y="5868204"/>
              <a:ext cx="1155882" cy="15109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l">
                <a:lnSpc>
                  <a:spcPct val="90000"/>
                </a:lnSpc>
              </a:pPr>
              <a:r>
                <a:rPr lang="ru-RU" sz="1000" b="1">
                  <a:solidFill>
                    <a:schemeClr val="accent1"/>
                  </a:solidFill>
                </a:rPr>
                <a:t>Шаблон </a:t>
              </a:r>
              <a:r>
                <a:rPr lang="en-US" sz="1000" b="1">
                  <a:solidFill>
                    <a:schemeClr val="accent1"/>
                  </a:solidFill>
                </a:rPr>
                <a:t>Ozon</a:t>
              </a:r>
              <a:endParaRPr lang="ru-RU" sz="1000" b="1">
                <a:solidFill>
                  <a:schemeClr val="accent1"/>
                </a:solidFill>
              </a:endParaRPr>
            </a:p>
          </p:txBody>
        </p:sp>
        <p:sp>
          <p:nvSpPr>
            <p:cNvPr id="93" name="Прямоугольник: скругленные углы 48">
              <a:extLst>
                <a:ext uri="{FF2B5EF4-FFF2-40B4-BE49-F238E27FC236}">
                  <a16:creationId xmlns:a16="http://schemas.microsoft.com/office/drawing/2014/main" id="{E8E225C0-12BD-E141-966E-1E51223BFEF6}"/>
                </a:ext>
              </a:extLst>
            </p:cNvPr>
            <p:cNvSpPr/>
            <p:nvPr userDrawn="1"/>
          </p:nvSpPr>
          <p:spPr>
            <a:xfrm>
              <a:off x="-1741352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1">
                <a:lumMod val="75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3580334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8">
          <p15:clr>
            <a:srgbClr val="F26B43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_title_colo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9C6A208F-2A8F-8640-1889-7EF3989875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6547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33" imgH="233" progId="TCLayout.ActiveDocument.1">
                  <p:embed/>
                </p:oleObj>
              </mc:Choice>
              <mc:Fallback>
                <p:oleObj name="Слайд think-cell" r:id="rId3" imgW="233" imgH="233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9C6A208F-2A8F-8640-1889-7EF3989875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5">
            <a:extLst>
              <a:ext uri="{FF2B5EF4-FFF2-40B4-BE49-F238E27FC236}">
                <a16:creationId xmlns:a16="http://schemas.microsoft.com/office/drawing/2014/main" id="{371F2FD1-0E8C-A36C-3CEF-FF20A77F36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57744" y="6430370"/>
            <a:ext cx="908050" cy="216000"/>
          </a:xfrm>
        </p:spPr>
        <p:txBody>
          <a:bodyPr/>
          <a:lstStyle>
            <a:lvl1pPr>
              <a:defRPr>
                <a:solidFill>
                  <a:schemeClr val="accent6">
                    <a:lumMod val="40000"/>
                    <a:lumOff val="60000"/>
                  </a:schemeClr>
                </a:solidFill>
              </a:defRPr>
            </a:lvl1pPr>
          </a:lstStyle>
          <a:p>
            <a:fld id="{EB5249F5-0093-48B0-B996-C4E44A87EAFB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35" name="Прямоугольник: скругленные углы 34">
            <a:extLst>
              <a:ext uri="{FF2B5EF4-FFF2-40B4-BE49-F238E27FC236}">
                <a16:creationId xmlns:a16="http://schemas.microsoft.com/office/drawing/2014/main" id="{C9800CF7-ABC5-B2F5-0454-607E6375863B}"/>
              </a:ext>
            </a:extLst>
          </p:cNvPr>
          <p:cNvSpPr/>
          <p:nvPr/>
        </p:nvSpPr>
        <p:spPr>
          <a:xfrm>
            <a:off x="-2138458" y="54865"/>
            <a:ext cx="1928241" cy="2826069"/>
          </a:xfrm>
          <a:prstGeom prst="roundRect">
            <a:avLst>
              <a:gd name="adj" fmla="val 5926"/>
            </a:avLst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" name="Прямоугольник: скругленные верхние углы 35">
            <a:extLst>
              <a:ext uri="{FF2B5EF4-FFF2-40B4-BE49-F238E27FC236}">
                <a16:creationId xmlns:a16="http://schemas.microsoft.com/office/drawing/2014/main" id="{C2940C45-7EC6-0986-B020-2D94E4C01F25}"/>
              </a:ext>
            </a:extLst>
          </p:cNvPr>
          <p:cNvSpPr/>
          <p:nvPr/>
        </p:nvSpPr>
        <p:spPr>
          <a:xfrm>
            <a:off x="-2136930" y="0"/>
            <a:ext cx="1926713" cy="2880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36000" rtlCol="0" anchor="ctr"/>
          <a:lstStyle/>
          <a:p>
            <a:pPr algn="ctr"/>
            <a:r>
              <a:rPr lang="ru-RU" sz="1100" b="1">
                <a:solidFill>
                  <a:schemeClr val="tx1"/>
                </a:solidFill>
              </a:rPr>
              <a:t>Размеры текста</a:t>
            </a:r>
          </a:p>
        </p:txBody>
      </p:sp>
      <p:graphicFrame>
        <p:nvGraphicFramePr>
          <p:cNvPr id="37" name="Таблица 46">
            <a:extLst>
              <a:ext uri="{FF2B5EF4-FFF2-40B4-BE49-F238E27FC236}">
                <a16:creationId xmlns:a16="http://schemas.microsoft.com/office/drawing/2014/main" id="{22E21D68-4F58-F199-36D3-C10450C366F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20574792"/>
              </p:ext>
            </p:extLst>
          </p:nvPr>
        </p:nvGraphicFramePr>
        <p:xfrm>
          <a:off x="-2046114" y="312643"/>
          <a:ext cx="1958731" cy="2142000"/>
        </p:xfrm>
        <a:graphic>
          <a:graphicData uri="http://schemas.openxmlformats.org/drawingml/2006/table">
            <a:tbl>
              <a:tblPr/>
              <a:tblGrid>
                <a:gridCol w="532517">
                  <a:extLst>
                    <a:ext uri="{9D8B030D-6E8A-4147-A177-3AD203B41FA5}">
                      <a16:colId xmlns:a16="http://schemas.microsoft.com/office/drawing/2014/main" val="2594385797"/>
                    </a:ext>
                  </a:extLst>
                </a:gridCol>
                <a:gridCol w="1426214">
                  <a:extLst>
                    <a:ext uri="{9D8B030D-6E8A-4147-A177-3AD203B41FA5}">
                      <a16:colId xmlns:a16="http://schemas.microsoft.com/office/drawing/2014/main" val="1017723076"/>
                    </a:ext>
                  </a:extLst>
                </a:gridCol>
              </a:tblGrid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44+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0" spc="-40" baseline="0"/>
                        <a:t>акцентные цифр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8329665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32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заголовки и самые </a:t>
                      </a:r>
                      <a:br>
                        <a:rPr lang="ru-RU" sz="1000" spc="-40" baseline="0"/>
                      </a:br>
                      <a:r>
                        <a:rPr lang="ru-RU" sz="1000" spc="-40" baseline="0"/>
                        <a:t>важные данные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17697917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24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8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подзаголовки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72780009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18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4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основной текст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0685745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4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2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торой уровень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текста (менее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ажная информация)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1997433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0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сноски, пояснения, </a:t>
                      </a:r>
                      <a:br>
                        <a:rPr lang="en-US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большие таблиц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76660845"/>
                  </a:ext>
                </a:extLst>
              </a:tr>
            </a:tbl>
          </a:graphicData>
        </a:graphic>
      </p:graphicFrame>
      <p:sp>
        <p:nvSpPr>
          <p:cNvPr id="38" name="Полилиния: фигура 37">
            <a:extLst>
              <a:ext uri="{FF2B5EF4-FFF2-40B4-BE49-F238E27FC236}">
                <a16:creationId xmlns:a16="http://schemas.microsoft.com/office/drawing/2014/main" id="{84FF97CD-0431-AB46-37C2-E699CA989913}"/>
              </a:ext>
            </a:extLst>
          </p:cNvPr>
          <p:cNvSpPr/>
          <p:nvPr/>
        </p:nvSpPr>
        <p:spPr>
          <a:xfrm>
            <a:off x="-2004344" y="2488864"/>
            <a:ext cx="216624" cy="228657"/>
          </a:xfrm>
          <a:custGeom>
            <a:avLst/>
            <a:gdLst>
              <a:gd name="connsiteX0" fmla="*/ 72536 w 171450"/>
              <a:gd name="connsiteY0" fmla="*/ 162210 h 180974"/>
              <a:gd name="connsiteX1" fmla="*/ 98923 w 171450"/>
              <a:gd name="connsiteY1" fmla="*/ 162210 h 180974"/>
              <a:gd name="connsiteX2" fmla="*/ 103600 w 171450"/>
              <a:gd name="connsiteY2" fmla="*/ 172160 h 180974"/>
              <a:gd name="connsiteX3" fmla="*/ 85726 w 171450"/>
              <a:gd name="connsiteY3" fmla="*/ 180974 h 180974"/>
              <a:gd name="connsiteX4" fmla="*/ 67852 w 171450"/>
              <a:gd name="connsiteY4" fmla="*/ 172160 h 180974"/>
              <a:gd name="connsiteX5" fmla="*/ 72536 w 171450"/>
              <a:gd name="connsiteY5" fmla="*/ 162210 h 180974"/>
              <a:gd name="connsiteX6" fmla="*/ 152400 w 171450"/>
              <a:gd name="connsiteY6" fmla="*/ 76200 h 180974"/>
              <a:gd name="connsiteX7" fmla="*/ 161925 w 171450"/>
              <a:gd name="connsiteY7" fmla="*/ 76200 h 180974"/>
              <a:gd name="connsiteX8" fmla="*/ 171450 w 171450"/>
              <a:gd name="connsiteY8" fmla="*/ 85725 h 180974"/>
              <a:gd name="connsiteX9" fmla="*/ 161925 w 171450"/>
              <a:gd name="connsiteY9" fmla="*/ 95250 h 180974"/>
              <a:gd name="connsiteX10" fmla="*/ 152400 w 171450"/>
              <a:gd name="connsiteY10" fmla="*/ 95250 h 180974"/>
              <a:gd name="connsiteX11" fmla="*/ 142875 w 171450"/>
              <a:gd name="connsiteY11" fmla="*/ 85725 h 180974"/>
              <a:gd name="connsiteX12" fmla="*/ 152400 w 171450"/>
              <a:gd name="connsiteY12" fmla="*/ 76200 h 180974"/>
              <a:gd name="connsiteX13" fmla="*/ 9525 w 171450"/>
              <a:gd name="connsiteY13" fmla="*/ 76200 h 180974"/>
              <a:gd name="connsiteX14" fmla="*/ 19050 w 171450"/>
              <a:gd name="connsiteY14" fmla="*/ 76200 h 180974"/>
              <a:gd name="connsiteX15" fmla="*/ 28575 w 171450"/>
              <a:gd name="connsiteY15" fmla="*/ 85725 h 180974"/>
              <a:gd name="connsiteX16" fmla="*/ 19050 w 171450"/>
              <a:gd name="connsiteY16" fmla="*/ 95250 h 180974"/>
              <a:gd name="connsiteX17" fmla="*/ 9525 w 171450"/>
              <a:gd name="connsiteY17" fmla="*/ 95250 h 180974"/>
              <a:gd name="connsiteX18" fmla="*/ 0 w 171450"/>
              <a:gd name="connsiteY18" fmla="*/ 85725 h 180974"/>
              <a:gd name="connsiteX19" fmla="*/ 9525 w 171450"/>
              <a:gd name="connsiteY19" fmla="*/ 76200 h 180974"/>
              <a:gd name="connsiteX20" fmla="*/ 85725 w 171450"/>
              <a:gd name="connsiteY20" fmla="*/ 38100 h 180974"/>
              <a:gd name="connsiteX21" fmla="*/ 133350 w 171450"/>
              <a:gd name="connsiteY21" fmla="*/ 85725 h 180974"/>
              <a:gd name="connsiteX22" fmla="*/ 123174 w 171450"/>
              <a:gd name="connsiteY22" fmla="*/ 114596 h 180974"/>
              <a:gd name="connsiteX23" fmla="*/ 114300 w 171450"/>
              <a:gd name="connsiteY23" fmla="*/ 138113 h 180974"/>
              <a:gd name="connsiteX24" fmla="*/ 85725 w 171450"/>
              <a:gd name="connsiteY24" fmla="*/ 152400 h 180974"/>
              <a:gd name="connsiteX25" fmla="*/ 57150 w 171450"/>
              <a:gd name="connsiteY25" fmla="*/ 138113 h 180974"/>
              <a:gd name="connsiteX26" fmla="*/ 48275 w 171450"/>
              <a:gd name="connsiteY26" fmla="*/ 114596 h 180974"/>
              <a:gd name="connsiteX27" fmla="*/ 38100 w 171450"/>
              <a:gd name="connsiteY27" fmla="*/ 85725 h 180974"/>
              <a:gd name="connsiteX28" fmla="*/ 85725 w 171450"/>
              <a:gd name="connsiteY28" fmla="*/ 38100 h 180974"/>
              <a:gd name="connsiteX29" fmla="*/ 136141 w 171450"/>
              <a:gd name="connsiteY29" fmla="*/ 21840 h 180974"/>
              <a:gd name="connsiteX30" fmla="*/ 149611 w 171450"/>
              <a:gd name="connsiteY30" fmla="*/ 21840 h 180974"/>
              <a:gd name="connsiteX31" fmla="*/ 149611 w 171450"/>
              <a:gd name="connsiteY31" fmla="*/ 35310 h 180974"/>
              <a:gd name="connsiteX32" fmla="*/ 140086 w 171450"/>
              <a:gd name="connsiteY32" fmla="*/ 44835 h 180974"/>
              <a:gd name="connsiteX33" fmla="*/ 126616 w 171450"/>
              <a:gd name="connsiteY33" fmla="*/ 44835 h 180974"/>
              <a:gd name="connsiteX34" fmla="*/ 126616 w 171450"/>
              <a:gd name="connsiteY34" fmla="*/ 31365 h 180974"/>
              <a:gd name="connsiteX35" fmla="*/ 21840 w 171450"/>
              <a:gd name="connsiteY35" fmla="*/ 21840 h 180974"/>
              <a:gd name="connsiteX36" fmla="*/ 35310 w 171450"/>
              <a:gd name="connsiteY36" fmla="*/ 21840 h 180974"/>
              <a:gd name="connsiteX37" fmla="*/ 44835 w 171450"/>
              <a:gd name="connsiteY37" fmla="*/ 31365 h 180974"/>
              <a:gd name="connsiteX38" fmla="*/ 44835 w 171450"/>
              <a:gd name="connsiteY38" fmla="*/ 44835 h 180974"/>
              <a:gd name="connsiteX39" fmla="*/ 31365 w 171450"/>
              <a:gd name="connsiteY39" fmla="*/ 44835 h 180974"/>
              <a:gd name="connsiteX40" fmla="*/ 21840 w 171450"/>
              <a:gd name="connsiteY40" fmla="*/ 35310 h 180974"/>
              <a:gd name="connsiteX41" fmla="*/ 21840 w 171450"/>
              <a:gd name="connsiteY41" fmla="*/ 21840 h 180974"/>
              <a:gd name="connsiteX42" fmla="*/ 85725 w 171450"/>
              <a:gd name="connsiteY42" fmla="*/ 0 h 180974"/>
              <a:gd name="connsiteX43" fmla="*/ 95250 w 171450"/>
              <a:gd name="connsiteY43" fmla="*/ 9525 h 180974"/>
              <a:gd name="connsiteX44" fmla="*/ 95250 w 171450"/>
              <a:gd name="connsiteY44" fmla="*/ 19050 h 180974"/>
              <a:gd name="connsiteX45" fmla="*/ 85725 w 171450"/>
              <a:gd name="connsiteY45" fmla="*/ 28575 h 180974"/>
              <a:gd name="connsiteX46" fmla="*/ 76200 w 171450"/>
              <a:gd name="connsiteY46" fmla="*/ 19050 h 180974"/>
              <a:gd name="connsiteX47" fmla="*/ 76200 w 171450"/>
              <a:gd name="connsiteY47" fmla="*/ 9525 h 180974"/>
              <a:gd name="connsiteX48" fmla="*/ 85725 w 171450"/>
              <a:gd name="connsiteY48" fmla="*/ 0 h 18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1450" h="180974">
                <a:moveTo>
                  <a:pt x="72536" y="162210"/>
                </a:moveTo>
                <a:cubicBezTo>
                  <a:pt x="80449" y="164140"/>
                  <a:pt x="90933" y="164211"/>
                  <a:pt x="98923" y="162210"/>
                </a:cubicBezTo>
                <a:cubicBezTo>
                  <a:pt x="105617" y="160534"/>
                  <a:pt x="105617" y="166533"/>
                  <a:pt x="103600" y="172160"/>
                </a:cubicBezTo>
                <a:cubicBezTo>
                  <a:pt x="100950" y="179549"/>
                  <a:pt x="95451" y="180974"/>
                  <a:pt x="85726" y="180974"/>
                </a:cubicBezTo>
                <a:cubicBezTo>
                  <a:pt x="76000" y="180974"/>
                  <a:pt x="70501" y="179549"/>
                  <a:pt x="67852" y="172160"/>
                </a:cubicBezTo>
                <a:cubicBezTo>
                  <a:pt x="65835" y="166534"/>
                  <a:pt x="65835" y="160576"/>
                  <a:pt x="72536" y="162210"/>
                </a:cubicBezTo>
                <a:close/>
                <a:moveTo>
                  <a:pt x="152400" y="76200"/>
                </a:moveTo>
                <a:lnTo>
                  <a:pt x="161925" y="76200"/>
                </a:lnTo>
                <a:cubicBezTo>
                  <a:pt x="167186" y="76200"/>
                  <a:pt x="171450" y="80464"/>
                  <a:pt x="171450" y="85725"/>
                </a:cubicBezTo>
                <a:cubicBezTo>
                  <a:pt x="171450" y="90986"/>
                  <a:pt x="167186" y="95250"/>
                  <a:pt x="161925" y="95250"/>
                </a:cubicBezTo>
                <a:lnTo>
                  <a:pt x="152400" y="95250"/>
                </a:lnTo>
                <a:cubicBezTo>
                  <a:pt x="147139" y="95250"/>
                  <a:pt x="142875" y="90986"/>
                  <a:pt x="142875" y="85725"/>
                </a:cubicBezTo>
                <a:cubicBezTo>
                  <a:pt x="142875" y="80464"/>
                  <a:pt x="147139" y="76200"/>
                  <a:pt x="152400" y="76200"/>
                </a:cubicBezTo>
                <a:close/>
                <a:moveTo>
                  <a:pt x="9525" y="76200"/>
                </a:moveTo>
                <a:lnTo>
                  <a:pt x="19050" y="76200"/>
                </a:lnTo>
                <a:cubicBezTo>
                  <a:pt x="24310" y="76200"/>
                  <a:pt x="28575" y="80464"/>
                  <a:pt x="28575" y="85725"/>
                </a:cubicBezTo>
                <a:cubicBezTo>
                  <a:pt x="28575" y="90986"/>
                  <a:pt x="24310" y="95250"/>
                  <a:pt x="19050" y="95250"/>
                </a:cubicBezTo>
                <a:lnTo>
                  <a:pt x="9525" y="95250"/>
                </a:lnTo>
                <a:cubicBezTo>
                  <a:pt x="4265" y="95250"/>
                  <a:pt x="0" y="90986"/>
                  <a:pt x="0" y="85725"/>
                </a:cubicBezTo>
                <a:cubicBezTo>
                  <a:pt x="0" y="80464"/>
                  <a:pt x="4265" y="76200"/>
                  <a:pt x="9525" y="76200"/>
                </a:cubicBezTo>
                <a:close/>
                <a:moveTo>
                  <a:pt x="85725" y="38100"/>
                </a:moveTo>
                <a:cubicBezTo>
                  <a:pt x="112027" y="38100"/>
                  <a:pt x="133350" y="58671"/>
                  <a:pt x="133350" y="85725"/>
                </a:cubicBezTo>
                <a:cubicBezTo>
                  <a:pt x="133350" y="100663"/>
                  <a:pt x="128144" y="107793"/>
                  <a:pt x="123174" y="114596"/>
                </a:cubicBezTo>
                <a:cubicBezTo>
                  <a:pt x="118639" y="120807"/>
                  <a:pt x="114300" y="126748"/>
                  <a:pt x="114300" y="138113"/>
                </a:cubicBezTo>
                <a:cubicBezTo>
                  <a:pt x="114300" y="147638"/>
                  <a:pt x="104775" y="152400"/>
                  <a:pt x="85725" y="152400"/>
                </a:cubicBezTo>
                <a:cubicBezTo>
                  <a:pt x="66675" y="152400"/>
                  <a:pt x="57150" y="147638"/>
                  <a:pt x="57150" y="138113"/>
                </a:cubicBezTo>
                <a:cubicBezTo>
                  <a:pt x="57150" y="126748"/>
                  <a:pt x="52811" y="120807"/>
                  <a:pt x="48275" y="114596"/>
                </a:cubicBezTo>
                <a:cubicBezTo>
                  <a:pt x="43306" y="107793"/>
                  <a:pt x="38100" y="100663"/>
                  <a:pt x="38100" y="85725"/>
                </a:cubicBezTo>
                <a:cubicBezTo>
                  <a:pt x="38100" y="57150"/>
                  <a:pt x="59422" y="38100"/>
                  <a:pt x="85725" y="38100"/>
                </a:cubicBezTo>
                <a:close/>
                <a:moveTo>
                  <a:pt x="136141" y="21840"/>
                </a:moveTo>
                <a:cubicBezTo>
                  <a:pt x="139860" y="18120"/>
                  <a:pt x="145891" y="18120"/>
                  <a:pt x="149611" y="21840"/>
                </a:cubicBezTo>
                <a:cubicBezTo>
                  <a:pt x="153330" y="25560"/>
                  <a:pt x="153330" y="31590"/>
                  <a:pt x="149611" y="35310"/>
                </a:cubicBezTo>
                <a:lnTo>
                  <a:pt x="140086" y="44835"/>
                </a:lnTo>
                <a:cubicBezTo>
                  <a:pt x="136366" y="48555"/>
                  <a:pt x="130335" y="48555"/>
                  <a:pt x="126616" y="44835"/>
                </a:cubicBezTo>
                <a:cubicBezTo>
                  <a:pt x="122896" y="41115"/>
                  <a:pt x="122896" y="35085"/>
                  <a:pt x="126616" y="31365"/>
                </a:cubicBezTo>
                <a:close/>
                <a:moveTo>
                  <a:pt x="21840" y="21840"/>
                </a:moveTo>
                <a:cubicBezTo>
                  <a:pt x="25560" y="18120"/>
                  <a:pt x="31590" y="18120"/>
                  <a:pt x="35310" y="21840"/>
                </a:cubicBezTo>
                <a:lnTo>
                  <a:pt x="44835" y="31365"/>
                </a:lnTo>
                <a:cubicBezTo>
                  <a:pt x="48555" y="35085"/>
                  <a:pt x="48555" y="41115"/>
                  <a:pt x="44835" y="44835"/>
                </a:cubicBezTo>
                <a:cubicBezTo>
                  <a:pt x="41115" y="48555"/>
                  <a:pt x="35085" y="48555"/>
                  <a:pt x="31365" y="44835"/>
                </a:cubicBezTo>
                <a:lnTo>
                  <a:pt x="21840" y="35310"/>
                </a:lnTo>
                <a:cubicBezTo>
                  <a:pt x="18120" y="31590"/>
                  <a:pt x="18120" y="25560"/>
                  <a:pt x="21840" y="21840"/>
                </a:cubicBezTo>
                <a:close/>
                <a:moveTo>
                  <a:pt x="85725" y="0"/>
                </a:moveTo>
                <a:cubicBezTo>
                  <a:pt x="90986" y="0"/>
                  <a:pt x="95250" y="4265"/>
                  <a:pt x="95250" y="9525"/>
                </a:cubicBezTo>
                <a:lnTo>
                  <a:pt x="95250" y="19050"/>
                </a:lnTo>
                <a:cubicBezTo>
                  <a:pt x="95250" y="24310"/>
                  <a:pt x="90986" y="28575"/>
                  <a:pt x="85725" y="28575"/>
                </a:cubicBezTo>
                <a:cubicBezTo>
                  <a:pt x="80464" y="28575"/>
                  <a:pt x="76200" y="24310"/>
                  <a:pt x="76200" y="19050"/>
                </a:cubicBezTo>
                <a:lnTo>
                  <a:pt x="76200" y="9525"/>
                </a:lnTo>
                <a:cubicBezTo>
                  <a:pt x="76200" y="4265"/>
                  <a:pt x="80464" y="0"/>
                  <a:pt x="85725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2" name="Полилиния: фигура 61">
            <a:extLst>
              <a:ext uri="{FF2B5EF4-FFF2-40B4-BE49-F238E27FC236}">
                <a16:creationId xmlns:a16="http://schemas.microsoft.com/office/drawing/2014/main" id="{A7B63E7B-62B1-B63D-8185-8BE47CB66443}"/>
              </a:ext>
            </a:extLst>
          </p:cNvPr>
          <p:cNvSpPr/>
          <p:nvPr/>
        </p:nvSpPr>
        <p:spPr>
          <a:xfrm>
            <a:off x="-2004344" y="2488864"/>
            <a:ext cx="216624" cy="228657"/>
          </a:xfrm>
          <a:custGeom>
            <a:avLst/>
            <a:gdLst>
              <a:gd name="connsiteX0" fmla="*/ 72536 w 171450"/>
              <a:gd name="connsiteY0" fmla="*/ 162210 h 180974"/>
              <a:gd name="connsiteX1" fmla="*/ 98923 w 171450"/>
              <a:gd name="connsiteY1" fmla="*/ 162210 h 180974"/>
              <a:gd name="connsiteX2" fmla="*/ 103600 w 171450"/>
              <a:gd name="connsiteY2" fmla="*/ 172160 h 180974"/>
              <a:gd name="connsiteX3" fmla="*/ 85726 w 171450"/>
              <a:gd name="connsiteY3" fmla="*/ 180974 h 180974"/>
              <a:gd name="connsiteX4" fmla="*/ 67852 w 171450"/>
              <a:gd name="connsiteY4" fmla="*/ 172160 h 180974"/>
              <a:gd name="connsiteX5" fmla="*/ 72536 w 171450"/>
              <a:gd name="connsiteY5" fmla="*/ 162210 h 180974"/>
              <a:gd name="connsiteX6" fmla="*/ 152400 w 171450"/>
              <a:gd name="connsiteY6" fmla="*/ 76200 h 180974"/>
              <a:gd name="connsiteX7" fmla="*/ 161925 w 171450"/>
              <a:gd name="connsiteY7" fmla="*/ 76200 h 180974"/>
              <a:gd name="connsiteX8" fmla="*/ 171450 w 171450"/>
              <a:gd name="connsiteY8" fmla="*/ 85725 h 180974"/>
              <a:gd name="connsiteX9" fmla="*/ 161925 w 171450"/>
              <a:gd name="connsiteY9" fmla="*/ 95250 h 180974"/>
              <a:gd name="connsiteX10" fmla="*/ 152400 w 171450"/>
              <a:gd name="connsiteY10" fmla="*/ 95250 h 180974"/>
              <a:gd name="connsiteX11" fmla="*/ 142875 w 171450"/>
              <a:gd name="connsiteY11" fmla="*/ 85725 h 180974"/>
              <a:gd name="connsiteX12" fmla="*/ 152400 w 171450"/>
              <a:gd name="connsiteY12" fmla="*/ 76200 h 180974"/>
              <a:gd name="connsiteX13" fmla="*/ 9525 w 171450"/>
              <a:gd name="connsiteY13" fmla="*/ 76200 h 180974"/>
              <a:gd name="connsiteX14" fmla="*/ 19050 w 171450"/>
              <a:gd name="connsiteY14" fmla="*/ 76200 h 180974"/>
              <a:gd name="connsiteX15" fmla="*/ 28575 w 171450"/>
              <a:gd name="connsiteY15" fmla="*/ 85725 h 180974"/>
              <a:gd name="connsiteX16" fmla="*/ 19050 w 171450"/>
              <a:gd name="connsiteY16" fmla="*/ 95250 h 180974"/>
              <a:gd name="connsiteX17" fmla="*/ 9525 w 171450"/>
              <a:gd name="connsiteY17" fmla="*/ 95250 h 180974"/>
              <a:gd name="connsiteX18" fmla="*/ 0 w 171450"/>
              <a:gd name="connsiteY18" fmla="*/ 85725 h 180974"/>
              <a:gd name="connsiteX19" fmla="*/ 9525 w 171450"/>
              <a:gd name="connsiteY19" fmla="*/ 76200 h 180974"/>
              <a:gd name="connsiteX20" fmla="*/ 85725 w 171450"/>
              <a:gd name="connsiteY20" fmla="*/ 38100 h 180974"/>
              <a:gd name="connsiteX21" fmla="*/ 133350 w 171450"/>
              <a:gd name="connsiteY21" fmla="*/ 85725 h 180974"/>
              <a:gd name="connsiteX22" fmla="*/ 123174 w 171450"/>
              <a:gd name="connsiteY22" fmla="*/ 114596 h 180974"/>
              <a:gd name="connsiteX23" fmla="*/ 114300 w 171450"/>
              <a:gd name="connsiteY23" fmla="*/ 138113 h 180974"/>
              <a:gd name="connsiteX24" fmla="*/ 85725 w 171450"/>
              <a:gd name="connsiteY24" fmla="*/ 152400 h 180974"/>
              <a:gd name="connsiteX25" fmla="*/ 57150 w 171450"/>
              <a:gd name="connsiteY25" fmla="*/ 138113 h 180974"/>
              <a:gd name="connsiteX26" fmla="*/ 48275 w 171450"/>
              <a:gd name="connsiteY26" fmla="*/ 114596 h 180974"/>
              <a:gd name="connsiteX27" fmla="*/ 38100 w 171450"/>
              <a:gd name="connsiteY27" fmla="*/ 85725 h 180974"/>
              <a:gd name="connsiteX28" fmla="*/ 85725 w 171450"/>
              <a:gd name="connsiteY28" fmla="*/ 38100 h 180974"/>
              <a:gd name="connsiteX29" fmla="*/ 136141 w 171450"/>
              <a:gd name="connsiteY29" fmla="*/ 21840 h 180974"/>
              <a:gd name="connsiteX30" fmla="*/ 149611 w 171450"/>
              <a:gd name="connsiteY30" fmla="*/ 21840 h 180974"/>
              <a:gd name="connsiteX31" fmla="*/ 149611 w 171450"/>
              <a:gd name="connsiteY31" fmla="*/ 35310 h 180974"/>
              <a:gd name="connsiteX32" fmla="*/ 140086 w 171450"/>
              <a:gd name="connsiteY32" fmla="*/ 44835 h 180974"/>
              <a:gd name="connsiteX33" fmla="*/ 126616 w 171450"/>
              <a:gd name="connsiteY33" fmla="*/ 44835 h 180974"/>
              <a:gd name="connsiteX34" fmla="*/ 126616 w 171450"/>
              <a:gd name="connsiteY34" fmla="*/ 31365 h 180974"/>
              <a:gd name="connsiteX35" fmla="*/ 21840 w 171450"/>
              <a:gd name="connsiteY35" fmla="*/ 21840 h 180974"/>
              <a:gd name="connsiteX36" fmla="*/ 35310 w 171450"/>
              <a:gd name="connsiteY36" fmla="*/ 21840 h 180974"/>
              <a:gd name="connsiteX37" fmla="*/ 44835 w 171450"/>
              <a:gd name="connsiteY37" fmla="*/ 31365 h 180974"/>
              <a:gd name="connsiteX38" fmla="*/ 44835 w 171450"/>
              <a:gd name="connsiteY38" fmla="*/ 44835 h 180974"/>
              <a:gd name="connsiteX39" fmla="*/ 31365 w 171450"/>
              <a:gd name="connsiteY39" fmla="*/ 44835 h 180974"/>
              <a:gd name="connsiteX40" fmla="*/ 21840 w 171450"/>
              <a:gd name="connsiteY40" fmla="*/ 35310 h 180974"/>
              <a:gd name="connsiteX41" fmla="*/ 21840 w 171450"/>
              <a:gd name="connsiteY41" fmla="*/ 21840 h 180974"/>
              <a:gd name="connsiteX42" fmla="*/ 85725 w 171450"/>
              <a:gd name="connsiteY42" fmla="*/ 0 h 180974"/>
              <a:gd name="connsiteX43" fmla="*/ 95250 w 171450"/>
              <a:gd name="connsiteY43" fmla="*/ 9525 h 180974"/>
              <a:gd name="connsiteX44" fmla="*/ 95250 w 171450"/>
              <a:gd name="connsiteY44" fmla="*/ 19050 h 180974"/>
              <a:gd name="connsiteX45" fmla="*/ 85725 w 171450"/>
              <a:gd name="connsiteY45" fmla="*/ 28575 h 180974"/>
              <a:gd name="connsiteX46" fmla="*/ 76200 w 171450"/>
              <a:gd name="connsiteY46" fmla="*/ 19050 h 180974"/>
              <a:gd name="connsiteX47" fmla="*/ 76200 w 171450"/>
              <a:gd name="connsiteY47" fmla="*/ 9525 h 180974"/>
              <a:gd name="connsiteX48" fmla="*/ 85725 w 171450"/>
              <a:gd name="connsiteY48" fmla="*/ 0 h 18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1450" h="180974">
                <a:moveTo>
                  <a:pt x="72536" y="162210"/>
                </a:moveTo>
                <a:cubicBezTo>
                  <a:pt x="80449" y="164140"/>
                  <a:pt x="90933" y="164211"/>
                  <a:pt x="98923" y="162210"/>
                </a:cubicBezTo>
                <a:cubicBezTo>
                  <a:pt x="105617" y="160534"/>
                  <a:pt x="105617" y="166533"/>
                  <a:pt x="103600" y="172160"/>
                </a:cubicBezTo>
                <a:cubicBezTo>
                  <a:pt x="100950" y="179549"/>
                  <a:pt x="95451" y="180974"/>
                  <a:pt x="85726" y="180974"/>
                </a:cubicBezTo>
                <a:cubicBezTo>
                  <a:pt x="76000" y="180974"/>
                  <a:pt x="70501" y="179549"/>
                  <a:pt x="67852" y="172160"/>
                </a:cubicBezTo>
                <a:cubicBezTo>
                  <a:pt x="65835" y="166534"/>
                  <a:pt x="65835" y="160576"/>
                  <a:pt x="72536" y="162210"/>
                </a:cubicBezTo>
                <a:close/>
                <a:moveTo>
                  <a:pt x="152400" y="76200"/>
                </a:moveTo>
                <a:lnTo>
                  <a:pt x="161925" y="76200"/>
                </a:lnTo>
                <a:cubicBezTo>
                  <a:pt x="167186" y="76200"/>
                  <a:pt x="171450" y="80464"/>
                  <a:pt x="171450" y="85725"/>
                </a:cubicBezTo>
                <a:cubicBezTo>
                  <a:pt x="171450" y="90986"/>
                  <a:pt x="167186" y="95250"/>
                  <a:pt x="161925" y="95250"/>
                </a:cubicBezTo>
                <a:lnTo>
                  <a:pt x="152400" y="95250"/>
                </a:lnTo>
                <a:cubicBezTo>
                  <a:pt x="147139" y="95250"/>
                  <a:pt x="142875" y="90986"/>
                  <a:pt x="142875" y="85725"/>
                </a:cubicBezTo>
                <a:cubicBezTo>
                  <a:pt x="142875" y="80464"/>
                  <a:pt x="147139" y="76200"/>
                  <a:pt x="152400" y="76200"/>
                </a:cubicBezTo>
                <a:close/>
                <a:moveTo>
                  <a:pt x="9525" y="76200"/>
                </a:moveTo>
                <a:lnTo>
                  <a:pt x="19050" y="76200"/>
                </a:lnTo>
                <a:cubicBezTo>
                  <a:pt x="24310" y="76200"/>
                  <a:pt x="28575" y="80464"/>
                  <a:pt x="28575" y="85725"/>
                </a:cubicBezTo>
                <a:cubicBezTo>
                  <a:pt x="28575" y="90986"/>
                  <a:pt x="24310" y="95250"/>
                  <a:pt x="19050" y="95250"/>
                </a:cubicBezTo>
                <a:lnTo>
                  <a:pt x="9525" y="95250"/>
                </a:lnTo>
                <a:cubicBezTo>
                  <a:pt x="4265" y="95250"/>
                  <a:pt x="0" y="90986"/>
                  <a:pt x="0" y="85725"/>
                </a:cubicBezTo>
                <a:cubicBezTo>
                  <a:pt x="0" y="80464"/>
                  <a:pt x="4265" y="76200"/>
                  <a:pt x="9525" y="76200"/>
                </a:cubicBezTo>
                <a:close/>
                <a:moveTo>
                  <a:pt x="85725" y="38100"/>
                </a:moveTo>
                <a:cubicBezTo>
                  <a:pt x="112027" y="38100"/>
                  <a:pt x="133350" y="58671"/>
                  <a:pt x="133350" y="85725"/>
                </a:cubicBezTo>
                <a:cubicBezTo>
                  <a:pt x="133350" y="100663"/>
                  <a:pt x="128144" y="107793"/>
                  <a:pt x="123174" y="114596"/>
                </a:cubicBezTo>
                <a:cubicBezTo>
                  <a:pt x="118639" y="120807"/>
                  <a:pt x="114300" y="126748"/>
                  <a:pt x="114300" y="138113"/>
                </a:cubicBezTo>
                <a:cubicBezTo>
                  <a:pt x="114300" y="147638"/>
                  <a:pt x="104775" y="152400"/>
                  <a:pt x="85725" y="152400"/>
                </a:cubicBezTo>
                <a:cubicBezTo>
                  <a:pt x="66675" y="152400"/>
                  <a:pt x="57150" y="147638"/>
                  <a:pt x="57150" y="138113"/>
                </a:cubicBezTo>
                <a:cubicBezTo>
                  <a:pt x="57150" y="126748"/>
                  <a:pt x="52811" y="120807"/>
                  <a:pt x="48275" y="114596"/>
                </a:cubicBezTo>
                <a:cubicBezTo>
                  <a:pt x="43306" y="107793"/>
                  <a:pt x="38100" y="100663"/>
                  <a:pt x="38100" y="85725"/>
                </a:cubicBezTo>
                <a:cubicBezTo>
                  <a:pt x="38100" y="57150"/>
                  <a:pt x="59422" y="38100"/>
                  <a:pt x="85725" y="38100"/>
                </a:cubicBezTo>
                <a:close/>
                <a:moveTo>
                  <a:pt x="136141" y="21840"/>
                </a:moveTo>
                <a:cubicBezTo>
                  <a:pt x="139860" y="18120"/>
                  <a:pt x="145891" y="18120"/>
                  <a:pt x="149611" y="21840"/>
                </a:cubicBezTo>
                <a:cubicBezTo>
                  <a:pt x="153330" y="25560"/>
                  <a:pt x="153330" y="31590"/>
                  <a:pt x="149611" y="35310"/>
                </a:cubicBezTo>
                <a:lnTo>
                  <a:pt x="140086" y="44835"/>
                </a:lnTo>
                <a:cubicBezTo>
                  <a:pt x="136366" y="48555"/>
                  <a:pt x="130335" y="48555"/>
                  <a:pt x="126616" y="44835"/>
                </a:cubicBezTo>
                <a:cubicBezTo>
                  <a:pt x="122896" y="41115"/>
                  <a:pt x="122896" y="35085"/>
                  <a:pt x="126616" y="31365"/>
                </a:cubicBezTo>
                <a:close/>
                <a:moveTo>
                  <a:pt x="21840" y="21840"/>
                </a:moveTo>
                <a:cubicBezTo>
                  <a:pt x="25560" y="18120"/>
                  <a:pt x="31590" y="18120"/>
                  <a:pt x="35310" y="21840"/>
                </a:cubicBezTo>
                <a:lnTo>
                  <a:pt x="44835" y="31365"/>
                </a:lnTo>
                <a:cubicBezTo>
                  <a:pt x="48555" y="35085"/>
                  <a:pt x="48555" y="41115"/>
                  <a:pt x="44835" y="44835"/>
                </a:cubicBezTo>
                <a:cubicBezTo>
                  <a:pt x="41115" y="48555"/>
                  <a:pt x="35085" y="48555"/>
                  <a:pt x="31365" y="44835"/>
                </a:cubicBezTo>
                <a:lnTo>
                  <a:pt x="21840" y="35310"/>
                </a:lnTo>
                <a:cubicBezTo>
                  <a:pt x="18120" y="31590"/>
                  <a:pt x="18120" y="25560"/>
                  <a:pt x="21840" y="21840"/>
                </a:cubicBezTo>
                <a:close/>
                <a:moveTo>
                  <a:pt x="85725" y="0"/>
                </a:moveTo>
                <a:cubicBezTo>
                  <a:pt x="90986" y="0"/>
                  <a:pt x="95250" y="4265"/>
                  <a:pt x="95250" y="9525"/>
                </a:cubicBezTo>
                <a:lnTo>
                  <a:pt x="95250" y="19050"/>
                </a:lnTo>
                <a:cubicBezTo>
                  <a:pt x="95250" y="24310"/>
                  <a:pt x="90986" y="28575"/>
                  <a:pt x="85725" y="28575"/>
                </a:cubicBezTo>
                <a:cubicBezTo>
                  <a:pt x="80464" y="28575"/>
                  <a:pt x="76200" y="24310"/>
                  <a:pt x="76200" y="19050"/>
                </a:cubicBezTo>
                <a:lnTo>
                  <a:pt x="76200" y="9525"/>
                </a:lnTo>
                <a:cubicBezTo>
                  <a:pt x="76200" y="4265"/>
                  <a:pt x="80464" y="0"/>
                  <a:pt x="85725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EC11CE47-F2DE-CA1C-5C0F-C21FAC0B5671}"/>
              </a:ext>
            </a:extLst>
          </p:cNvPr>
          <p:cNvSpPr txBox="1"/>
          <p:nvPr/>
        </p:nvSpPr>
        <p:spPr>
          <a:xfrm>
            <a:off x="-1691344" y="2506490"/>
            <a:ext cx="1373969" cy="2428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</a:pPr>
            <a:r>
              <a:rPr lang="ru-RU" sz="900" b="0">
                <a:solidFill>
                  <a:schemeClr val="accent1"/>
                </a:solidFill>
              </a:rPr>
              <a:t>Используй эти размеры </a:t>
            </a:r>
            <a:br>
              <a:rPr lang="ru-RU" sz="900" b="0">
                <a:solidFill>
                  <a:schemeClr val="accent1"/>
                </a:solidFill>
              </a:rPr>
            </a:br>
            <a:r>
              <a:rPr lang="ru-RU" sz="900" b="0">
                <a:solidFill>
                  <a:schemeClr val="accent1"/>
                </a:solidFill>
              </a:rPr>
              <a:t>по всей презентации</a:t>
            </a:r>
          </a:p>
        </p:txBody>
      </p:sp>
      <p:sp>
        <p:nvSpPr>
          <p:cNvPr id="6" name="Прямоугольник: скругленные верхние углы 5">
            <a:extLst>
              <a:ext uri="{FF2B5EF4-FFF2-40B4-BE49-F238E27FC236}">
                <a16:creationId xmlns:a16="http://schemas.microsoft.com/office/drawing/2014/main" id="{2A7065C9-92E3-6B9B-9ACA-AEB5C23862DE}"/>
              </a:ext>
            </a:extLst>
          </p:cNvPr>
          <p:cNvSpPr/>
          <p:nvPr/>
        </p:nvSpPr>
        <p:spPr>
          <a:xfrm>
            <a:off x="-2136930" y="0"/>
            <a:ext cx="1926713" cy="2880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36000" rtlCol="0" anchor="ctr"/>
          <a:lstStyle/>
          <a:p>
            <a:pPr algn="ctr"/>
            <a:r>
              <a:rPr lang="ru-RU" sz="1100" b="1">
                <a:solidFill>
                  <a:schemeClr val="tx1"/>
                </a:solidFill>
              </a:rPr>
              <a:t>Размеры текста</a:t>
            </a:r>
          </a:p>
        </p:txBody>
      </p:sp>
      <p:sp>
        <p:nvSpPr>
          <p:cNvPr id="9" name="Полилиния: фигура 8">
            <a:extLst>
              <a:ext uri="{FF2B5EF4-FFF2-40B4-BE49-F238E27FC236}">
                <a16:creationId xmlns:a16="http://schemas.microsoft.com/office/drawing/2014/main" id="{0832DE9F-07AB-D3EB-D833-C1DC910E0CE8}"/>
              </a:ext>
            </a:extLst>
          </p:cNvPr>
          <p:cNvSpPr/>
          <p:nvPr/>
        </p:nvSpPr>
        <p:spPr>
          <a:xfrm>
            <a:off x="-2004344" y="2488864"/>
            <a:ext cx="216624" cy="228657"/>
          </a:xfrm>
          <a:custGeom>
            <a:avLst/>
            <a:gdLst>
              <a:gd name="connsiteX0" fmla="*/ 72536 w 171450"/>
              <a:gd name="connsiteY0" fmla="*/ 162210 h 180974"/>
              <a:gd name="connsiteX1" fmla="*/ 98923 w 171450"/>
              <a:gd name="connsiteY1" fmla="*/ 162210 h 180974"/>
              <a:gd name="connsiteX2" fmla="*/ 103600 w 171450"/>
              <a:gd name="connsiteY2" fmla="*/ 172160 h 180974"/>
              <a:gd name="connsiteX3" fmla="*/ 85726 w 171450"/>
              <a:gd name="connsiteY3" fmla="*/ 180974 h 180974"/>
              <a:gd name="connsiteX4" fmla="*/ 67852 w 171450"/>
              <a:gd name="connsiteY4" fmla="*/ 172160 h 180974"/>
              <a:gd name="connsiteX5" fmla="*/ 72536 w 171450"/>
              <a:gd name="connsiteY5" fmla="*/ 162210 h 180974"/>
              <a:gd name="connsiteX6" fmla="*/ 152400 w 171450"/>
              <a:gd name="connsiteY6" fmla="*/ 76200 h 180974"/>
              <a:gd name="connsiteX7" fmla="*/ 161925 w 171450"/>
              <a:gd name="connsiteY7" fmla="*/ 76200 h 180974"/>
              <a:gd name="connsiteX8" fmla="*/ 171450 w 171450"/>
              <a:gd name="connsiteY8" fmla="*/ 85725 h 180974"/>
              <a:gd name="connsiteX9" fmla="*/ 161925 w 171450"/>
              <a:gd name="connsiteY9" fmla="*/ 95250 h 180974"/>
              <a:gd name="connsiteX10" fmla="*/ 152400 w 171450"/>
              <a:gd name="connsiteY10" fmla="*/ 95250 h 180974"/>
              <a:gd name="connsiteX11" fmla="*/ 142875 w 171450"/>
              <a:gd name="connsiteY11" fmla="*/ 85725 h 180974"/>
              <a:gd name="connsiteX12" fmla="*/ 152400 w 171450"/>
              <a:gd name="connsiteY12" fmla="*/ 76200 h 180974"/>
              <a:gd name="connsiteX13" fmla="*/ 9525 w 171450"/>
              <a:gd name="connsiteY13" fmla="*/ 76200 h 180974"/>
              <a:gd name="connsiteX14" fmla="*/ 19050 w 171450"/>
              <a:gd name="connsiteY14" fmla="*/ 76200 h 180974"/>
              <a:gd name="connsiteX15" fmla="*/ 28575 w 171450"/>
              <a:gd name="connsiteY15" fmla="*/ 85725 h 180974"/>
              <a:gd name="connsiteX16" fmla="*/ 19050 w 171450"/>
              <a:gd name="connsiteY16" fmla="*/ 95250 h 180974"/>
              <a:gd name="connsiteX17" fmla="*/ 9525 w 171450"/>
              <a:gd name="connsiteY17" fmla="*/ 95250 h 180974"/>
              <a:gd name="connsiteX18" fmla="*/ 0 w 171450"/>
              <a:gd name="connsiteY18" fmla="*/ 85725 h 180974"/>
              <a:gd name="connsiteX19" fmla="*/ 9525 w 171450"/>
              <a:gd name="connsiteY19" fmla="*/ 76200 h 180974"/>
              <a:gd name="connsiteX20" fmla="*/ 85725 w 171450"/>
              <a:gd name="connsiteY20" fmla="*/ 38100 h 180974"/>
              <a:gd name="connsiteX21" fmla="*/ 133350 w 171450"/>
              <a:gd name="connsiteY21" fmla="*/ 85725 h 180974"/>
              <a:gd name="connsiteX22" fmla="*/ 123174 w 171450"/>
              <a:gd name="connsiteY22" fmla="*/ 114596 h 180974"/>
              <a:gd name="connsiteX23" fmla="*/ 114300 w 171450"/>
              <a:gd name="connsiteY23" fmla="*/ 138113 h 180974"/>
              <a:gd name="connsiteX24" fmla="*/ 85725 w 171450"/>
              <a:gd name="connsiteY24" fmla="*/ 152400 h 180974"/>
              <a:gd name="connsiteX25" fmla="*/ 57150 w 171450"/>
              <a:gd name="connsiteY25" fmla="*/ 138113 h 180974"/>
              <a:gd name="connsiteX26" fmla="*/ 48275 w 171450"/>
              <a:gd name="connsiteY26" fmla="*/ 114596 h 180974"/>
              <a:gd name="connsiteX27" fmla="*/ 38100 w 171450"/>
              <a:gd name="connsiteY27" fmla="*/ 85725 h 180974"/>
              <a:gd name="connsiteX28" fmla="*/ 85725 w 171450"/>
              <a:gd name="connsiteY28" fmla="*/ 38100 h 180974"/>
              <a:gd name="connsiteX29" fmla="*/ 136141 w 171450"/>
              <a:gd name="connsiteY29" fmla="*/ 21840 h 180974"/>
              <a:gd name="connsiteX30" fmla="*/ 149611 w 171450"/>
              <a:gd name="connsiteY30" fmla="*/ 21840 h 180974"/>
              <a:gd name="connsiteX31" fmla="*/ 149611 w 171450"/>
              <a:gd name="connsiteY31" fmla="*/ 35310 h 180974"/>
              <a:gd name="connsiteX32" fmla="*/ 140086 w 171450"/>
              <a:gd name="connsiteY32" fmla="*/ 44835 h 180974"/>
              <a:gd name="connsiteX33" fmla="*/ 126616 w 171450"/>
              <a:gd name="connsiteY33" fmla="*/ 44835 h 180974"/>
              <a:gd name="connsiteX34" fmla="*/ 126616 w 171450"/>
              <a:gd name="connsiteY34" fmla="*/ 31365 h 180974"/>
              <a:gd name="connsiteX35" fmla="*/ 21840 w 171450"/>
              <a:gd name="connsiteY35" fmla="*/ 21840 h 180974"/>
              <a:gd name="connsiteX36" fmla="*/ 35310 w 171450"/>
              <a:gd name="connsiteY36" fmla="*/ 21840 h 180974"/>
              <a:gd name="connsiteX37" fmla="*/ 44835 w 171450"/>
              <a:gd name="connsiteY37" fmla="*/ 31365 h 180974"/>
              <a:gd name="connsiteX38" fmla="*/ 44835 w 171450"/>
              <a:gd name="connsiteY38" fmla="*/ 44835 h 180974"/>
              <a:gd name="connsiteX39" fmla="*/ 31365 w 171450"/>
              <a:gd name="connsiteY39" fmla="*/ 44835 h 180974"/>
              <a:gd name="connsiteX40" fmla="*/ 21840 w 171450"/>
              <a:gd name="connsiteY40" fmla="*/ 35310 h 180974"/>
              <a:gd name="connsiteX41" fmla="*/ 21840 w 171450"/>
              <a:gd name="connsiteY41" fmla="*/ 21840 h 180974"/>
              <a:gd name="connsiteX42" fmla="*/ 85725 w 171450"/>
              <a:gd name="connsiteY42" fmla="*/ 0 h 180974"/>
              <a:gd name="connsiteX43" fmla="*/ 95250 w 171450"/>
              <a:gd name="connsiteY43" fmla="*/ 9525 h 180974"/>
              <a:gd name="connsiteX44" fmla="*/ 95250 w 171450"/>
              <a:gd name="connsiteY44" fmla="*/ 19050 h 180974"/>
              <a:gd name="connsiteX45" fmla="*/ 85725 w 171450"/>
              <a:gd name="connsiteY45" fmla="*/ 28575 h 180974"/>
              <a:gd name="connsiteX46" fmla="*/ 76200 w 171450"/>
              <a:gd name="connsiteY46" fmla="*/ 19050 h 180974"/>
              <a:gd name="connsiteX47" fmla="*/ 76200 w 171450"/>
              <a:gd name="connsiteY47" fmla="*/ 9525 h 180974"/>
              <a:gd name="connsiteX48" fmla="*/ 85725 w 171450"/>
              <a:gd name="connsiteY48" fmla="*/ 0 h 18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1450" h="180974">
                <a:moveTo>
                  <a:pt x="72536" y="162210"/>
                </a:moveTo>
                <a:cubicBezTo>
                  <a:pt x="80449" y="164140"/>
                  <a:pt x="90933" y="164211"/>
                  <a:pt x="98923" y="162210"/>
                </a:cubicBezTo>
                <a:cubicBezTo>
                  <a:pt x="105617" y="160534"/>
                  <a:pt x="105617" y="166533"/>
                  <a:pt x="103600" y="172160"/>
                </a:cubicBezTo>
                <a:cubicBezTo>
                  <a:pt x="100950" y="179549"/>
                  <a:pt x="95451" y="180974"/>
                  <a:pt x="85726" y="180974"/>
                </a:cubicBezTo>
                <a:cubicBezTo>
                  <a:pt x="76000" y="180974"/>
                  <a:pt x="70501" y="179549"/>
                  <a:pt x="67852" y="172160"/>
                </a:cubicBezTo>
                <a:cubicBezTo>
                  <a:pt x="65835" y="166534"/>
                  <a:pt x="65835" y="160576"/>
                  <a:pt x="72536" y="162210"/>
                </a:cubicBezTo>
                <a:close/>
                <a:moveTo>
                  <a:pt x="152400" y="76200"/>
                </a:moveTo>
                <a:lnTo>
                  <a:pt x="161925" y="76200"/>
                </a:lnTo>
                <a:cubicBezTo>
                  <a:pt x="167186" y="76200"/>
                  <a:pt x="171450" y="80464"/>
                  <a:pt x="171450" y="85725"/>
                </a:cubicBezTo>
                <a:cubicBezTo>
                  <a:pt x="171450" y="90986"/>
                  <a:pt x="167186" y="95250"/>
                  <a:pt x="161925" y="95250"/>
                </a:cubicBezTo>
                <a:lnTo>
                  <a:pt x="152400" y="95250"/>
                </a:lnTo>
                <a:cubicBezTo>
                  <a:pt x="147139" y="95250"/>
                  <a:pt x="142875" y="90986"/>
                  <a:pt x="142875" y="85725"/>
                </a:cubicBezTo>
                <a:cubicBezTo>
                  <a:pt x="142875" y="80464"/>
                  <a:pt x="147139" y="76200"/>
                  <a:pt x="152400" y="76200"/>
                </a:cubicBezTo>
                <a:close/>
                <a:moveTo>
                  <a:pt x="9525" y="76200"/>
                </a:moveTo>
                <a:lnTo>
                  <a:pt x="19050" y="76200"/>
                </a:lnTo>
                <a:cubicBezTo>
                  <a:pt x="24310" y="76200"/>
                  <a:pt x="28575" y="80464"/>
                  <a:pt x="28575" y="85725"/>
                </a:cubicBezTo>
                <a:cubicBezTo>
                  <a:pt x="28575" y="90986"/>
                  <a:pt x="24310" y="95250"/>
                  <a:pt x="19050" y="95250"/>
                </a:cubicBezTo>
                <a:lnTo>
                  <a:pt x="9525" y="95250"/>
                </a:lnTo>
                <a:cubicBezTo>
                  <a:pt x="4265" y="95250"/>
                  <a:pt x="0" y="90986"/>
                  <a:pt x="0" y="85725"/>
                </a:cubicBezTo>
                <a:cubicBezTo>
                  <a:pt x="0" y="80464"/>
                  <a:pt x="4265" y="76200"/>
                  <a:pt x="9525" y="76200"/>
                </a:cubicBezTo>
                <a:close/>
                <a:moveTo>
                  <a:pt x="85725" y="38100"/>
                </a:moveTo>
                <a:cubicBezTo>
                  <a:pt x="112027" y="38100"/>
                  <a:pt x="133350" y="58671"/>
                  <a:pt x="133350" y="85725"/>
                </a:cubicBezTo>
                <a:cubicBezTo>
                  <a:pt x="133350" y="100663"/>
                  <a:pt x="128144" y="107793"/>
                  <a:pt x="123174" y="114596"/>
                </a:cubicBezTo>
                <a:cubicBezTo>
                  <a:pt x="118639" y="120807"/>
                  <a:pt x="114300" y="126748"/>
                  <a:pt x="114300" y="138113"/>
                </a:cubicBezTo>
                <a:cubicBezTo>
                  <a:pt x="114300" y="147638"/>
                  <a:pt x="104775" y="152400"/>
                  <a:pt x="85725" y="152400"/>
                </a:cubicBezTo>
                <a:cubicBezTo>
                  <a:pt x="66675" y="152400"/>
                  <a:pt x="57150" y="147638"/>
                  <a:pt x="57150" y="138113"/>
                </a:cubicBezTo>
                <a:cubicBezTo>
                  <a:pt x="57150" y="126748"/>
                  <a:pt x="52811" y="120807"/>
                  <a:pt x="48275" y="114596"/>
                </a:cubicBezTo>
                <a:cubicBezTo>
                  <a:pt x="43306" y="107793"/>
                  <a:pt x="38100" y="100663"/>
                  <a:pt x="38100" y="85725"/>
                </a:cubicBezTo>
                <a:cubicBezTo>
                  <a:pt x="38100" y="57150"/>
                  <a:pt x="59422" y="38100"/>
                  <a:pt x="85725" y="38100"/>
                </a:cubicBezTo>
                <a:close/>
                <a:moveTo>
                  <a:pt x="136141" y="21840"/>
                </a:moveTo>
                <a:cubicBezTo>
                  <a:pt x="139860" y="18120"/>
                  <a:pt x="145891" y="18120"/>
                  <a:pt x="149611" y="21840"/>
                </a:cubicBezTo>
                <a:cubicBezTo>
                  <a:pt x="153330" y="25560"/>
                  <a:pt x="153330" y="31590"/>
                  <a:pt x="149611" y="35310"/>
                </a:cubicBezTo>
                <a:lnTo>
                  <a:pt x="140086" y="44835"/>
                </a:lnTo>
                <a:cubicBezTo>
                  <a:pt x="136366" y="48555"/>
                  <a:pt x="130335" y="48555"/>
                  <a:pt x="126616" y="44835"/>
                </a:cubicBezTo>
                <a:cubicBezTo>
                  <a:pt x="122896" y="41115"/>
                  <a:pt x="122896" y="35085"/>
                  <a:pt x="126616" y="31365"/>
                </a:cubicBezTo>
                <a:close/>
                <a:moveTo>
                  <a:pt x="21840" y="21840"/>
                </a:moveTo>
                <a:cubicBezTo>
                  <a:pt x="25560" y="18120"/>
                  <a:pt x="31590" y="18120"/>
                  <a:pt x="35310" y="21840"/>
                </a:cubicBezTo>
                <a:lnTo>
                  <a:pt x="44835" y="31365"/>
                </a:lnTo>
                <a:cubicBezTo>
                  <a:pt x="48555" y="35085"/>
                  <a:pt x="48555" y="41115"/>
                  <a:pt x="44835" y="44835"/>
                </a:cubicBezTo>
                <a:cubicBezTo>
                  <a:pt x="41115" y="48555"/>
                  <a:pt x="35085" y="48555"/>
                  <a:pt x="31365" y="44835"/>
                </a:cubicBezTo>
                <a:lnTo>
                  <a:pt x="21840" y="35310"/>
                </a:lnTo>
                <a:cubicBezTo>
                  <a:pt x="18120" y="31590"/>
                  <a:pt x="18120" y="25560"/>
                  <a:pt x="21840" y="21840"/>
                </a:cubicBezTo>
                <a:close/>
                <a:moveTo>
                  <a:pt x="85725" y="0"/>
                </a:moveTo>
                <a:cubicBezTo>
                  <a:pt x="90986" y="0"/>
                  <a:pt x="95250" y="4265"/>
                  <a:pt x="95250" y="9525"/>
                </a:cubicBezTo>
                <a:lnTo>
                  <a:pt x="95250" y="19050"/>
                </a:lnTo>
                <a:cubicBezTo>
                  <a:pt x="95250" y="24310"/>
                  <a:pt x="90986" y="28575"/>
                  <a:pt x="85725" y="28575"/>
                </a:cubicBezTo>
                <a:cubicBezTo>
                  <a:pt x="80464" y="28575"/>
                  <a:pt x="76200" y="24310"/>
                  <a:pt x="76200" y="19050"/>
                </a:cubicBezTo>
                <a:lnTo>
                  <a:pt x="76200" y="9525"/>
                </a:lnTo>
                <a:cubicBezTo>
                  <a:pt x="76200" y="4265"/>
                  <a:pt x="80464" y="0"/>
                  <a:pt x="85725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" name="Объект 2">
            <a:extLst>
              <a:ext uri="{FF2B5EF4-FFF2-40B4-BE49-F238E27FC236}">
                <a16:creationId xmlns:a16="http://schemas.microsoft.com/office/drawing/2014/main" id="{9273FEED-185C-3EDE-5702-91BFF3386CA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763" y="1520824"/>
            <a:ext cx="10910887" cy="4741864"/>
          </a:xfrm>
        </p:spPr>
        <p:txBody>
          <a:bodyPr/>
          <a:lstStyle>
            <a:lvl1pPr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2"/>
                </a:solidFill>
              </a:defRPr>
            </a:lvl1pPr>
            <a:lvl2pPr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2"/>
                </a:solidFill>
              </a:defRPr>
            </a:lvl2pPr>
            <a:lvl3pPr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2"/>
                </a:solidFill>
              </a:defRPr>
            </a:lvl3pPr>
            <a:lvl4pPr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2"/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A9C77C2E-E1B8-8A5D-636C-B20627EF04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5099" y="420493"/>
            <a:ext cx="10910888" cy="78315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2000"/>
              </a:lnSpc>
              <a:defRPr sz="4400" spc="-30" baseline="0">
                <a:solidFill>
                  <a:schemeClr val="bg2"/>
                </a:solidFill>
              </a:defRPr>
            </a:lvl1pPr>
          </a:lstStyle>
          <a:p>
            <a:r>
              <a:rPr lang="ru-RU"/>
              <a:t>Заголовок слайда в 1 строку</a:t>
            </a:r>
          </a:p>
        </p:txBody>
      </p:sp>
      <p:sp>
        <p:nvSpPr>
          <p:cNvPr id="47" name="Нижний колонтитул 4">
            <a:extLst>
              <a:ext uri="{FF2B5EF4-FFF2-40B4-BE49-F238E27FC236}">
                <a16:creationId xmlns:a16="http://schemas.microsoft.com/office/drawing/2014/main" id="{7C646F59-D044-7D48-9BC3-41161001CF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458800" y="6465600"/>
            <a:ext cx="7274114" cy="144500"/>
          </a:xfrm>
        </p:spPr>
        <p:txBody>
          <a:bodyPr anchor="b"/>
          <a:lstStyle>
            <a:lvl1pPr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endParaRPr lang="ru-RU" dirty="0"/>
          </a:p>
        </p:txBody>
      </p:sp>
      <p:pic>
        <p:nvPicPr>
          <p:cNvPr id="48" name="Рисунок 47">
            <a:extLst>
              <a:ext uri="{FF2B5EF4-FFF2-40B4-BE49-F238E27FC236}">
                <a16:creationId xmlns:a16="http://schemas.microsoft.com/office/drawing/2014/main" id="{B1606FB3-EAE8-C340-A573-F7D0830BCE4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l="9468" t="30431" r="9932" b="30861"/>
          <a:stretch/>
        </p:blipFill>
        <p:spPr>
          <a:xfrm>
            <a:off x="635000" y="6403975"/>
            <a:ext cx="1044575" cy="250826"/>
          </a:xfrm>
          <a:prstGeom prst="rect">
            <a:avLst/>
          </a:prstGeom>
        </p:spPr>
      </p:pic>
      <p:grpSp>
        <p:nvGrpSpPr>
          <p:cNvPr id="45" name="Группа 44">
            <a:extLst>
              <a:ext uri="{FF2B5EF4-FFF2-40B4-BE49-F238E27FC236}">
                <a16:creationId xmlns:a16="http://schemas.microsoft.com/office/drawing/2014/main" id="{BE3AE89F-F7D2-C24B-8D53-47F4EDA71137}"/>
              </a:ext>
            </a:extLst>
          </p:cNvPr>
          <p:cNvGrpSpPr/>
          <p:nvPr userDrawn="1"/>
        </p:nvGrpSpPr>
        <p:grpSpPr>
          <a:xfrm>
            <a:off x="-2138458" y="3070447"/>
            <a:ext cx="1935384" cy="3787553"/>
            <a:chOff x="-2138458" y="3070447"/>
            <a:chExt cx="1935384" cy="3787553"/>
          </a:xfrm>
        </p:grpSpPr>
        <p:sp>
          <p:nvSpPr>
            <p:cNvPr id="50" name="Прямоугольник: скругленные углы 38">
              <a:extLst>
                <a:ext uri="{FF2B5EF4-FFF2-40B4-BE49-F238E27FC236}">
                  <a16:creationId xmlns:a16="http://schemas.microsoft.com/office/drawing/2014/main" id="{4257A3B2-653D-6A42-88F3-40F94BEB74F7}"/>
                </a:ext>
              </a:extLst>
            </p:cNvPr>
            <p:cNvSpPr/>
            <p:nvPr userDrawn="1"/>
          </p:nvSpPr>
          <p:spPr>
            <a:xfrm>
              <a:off x="-2138458" y="3125312"/>
              <a:ext cx="1928241" cy="2468818"/>
            </a:xfrm>
            <a:prstGeom prst="roundRect">
              <a:avLst>
                <a:gd name="adj" fmla="val 5926"/>
              </a:avLst>
            </a:prstGeom>
            <a:solidFill>
              <a:schemeClr val="bg1"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3" name="Прямоугольник: скругленные верхние углы 39">
              <a:extLst>
                <a:ext uri="{FF2B5EF4-FFF2-40B4-BE49-F238E27FC236}">
                  <a16:creationId xmlns:a16="http://schemas.microsoft.com/office/drawing/2014/main" id="{2DD0E750-5A81-5148-A122-DA8B993B4B36}"/>
                </a:ext>
              </a:extLst>
            </p:cNvPr>
            <p:cNvSpPr/>
            <p:nvPr/>
          </p:nvSpPr>
          <p:spPr>
            <a:xfrm>
              <a:off x="-2136930" y="3070447"/>
              <a:ext cx="1926713" cy="28800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36000" rtlCol="0" anchor="ctr"/>
            <a:lstStyle/>
            <a:p>
              <a:pPr algn="ctr"/>
              <a:r>
                <a:rPr lang="ru-RU" sz="1100" b="1">
                  <a:solidFill>
                    <a:schemeClr val="tx1"/>
                  </a:solidFill>
                </a:rPr>
                <a:t>Цвета </a:t>
              </a:r>
              <a:r>
                <a:rPr lang="en-US" sz="1100" b="1">
                  <a:solidFill>
                    <a:schemeClr val="tx1"/>
                  </a:solidFill>
                </a:rPr>
                <a:t>Ozon</a:t>
              </a:r>
              <a:endParaRPr lang="ru-RU" sz="1100" b="1">
                <a:solidFill>
                  <a:schemeClr val="tx1"/>
                </a:solidFill>
              </a:endParaRPr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7F082253-DD74-384E-B741-50C9CCCD68A6}"/>
                </a:ext>
              </a:extLst>
            </p:cNvPr>
            <p:cNvSpPr txBox="1"/>
            <p:nvPr/>
          </p:nvSpPr>
          <p:spPr>
            <a:xfrm>
              <a:off x="-2003446" y="3412239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текста </a:t>
              </a:r>
            </a:p>
          </p:txBody>
        </p:sp>
        <p:sp>
          <p:nvSpPr>
            <p:cNvPr id="69" name="Прямоугольник: скругленные углы 41">
              <a:extLst>
                <a:ext uri="{FF2B5EF4-FFF2-40B4-BE49-F238E27FC236}">
                  <a16:creationId xmlns:a16="http://schemas.microsoft.com/office/drawing/2014/main" id="{86C5C00D-FAE2-B84D-BEC2-20471F019D10}"/>
                </a:ext>
              </a:extLst>
            </p:cNvPr>
            <p:cNvSpPr/>
            <p:nvPr/>
          </p:nvSpPr>
          <p:spPr>
            <a:xfrm>
              <a:off x="-2004344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0" name="Прямоугольник: скругленные углы 42">
              <a:extLst>
                <a:ext uri="{FF2B5EF4-FFF2-40B4-BE49-F238E27FC236}">
                  <a16:creationId xmlns:a16="http://schemas.microsoft.com/office/drawing/2014/main" id="{A7D2A123-904D-4D4E-B29F-2F4E37E9A21F}"/>
                </a:ext>
              </a:extLst>
            </p:cNvPr>
            <p:cNvSpPr/>
            <p:nvPr/>
          </p:nvSpPr>
          <p:spPr>
            <a:xfrm>
              <a:off x="-1738339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6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FBDB792B-A1F4-FF4F-9980-667849588703}"/>
                </a:ext>
              </a:extLst>
            </p:cNvPr>
            <p:cNvSpPr txBox="1"/>
            <p:nvPr/>
          </p:nvSpPr>
          <p:spPr>
            <a:xfrm>
              <a:off x="-2003446" y="3935644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больших плашек</a:t>
              </a:r>
            </a:p>
          </p:txBody>
        </p:sp>
        <p:sp>
          <p:nvSpPr>
            <p:cNvPr id="72" name="Прямоугольник: скругленные углы 48">
              <a:extLst>
                <a:ext uri="{FF2B5EF4-FFF2-40B4-BE49-F238E27FC236}">
                  <a16:creationId xmlns:a16="http://schemas.microsoft.com/office/drawing/2014/main" id="{3D169822-92BD-554A-8B63-3899F9638B69}"/>
                </a:ext>
              </a:extLst>
            </p:cNvPr>
            <p:cNvSpPr/>
            <p:nvPr userDrawn="1"/>
          </p:nvSpPr>
          <p:spPr>
            <a:xfrm>
              <a:off x="-2004963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3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686F239C-1BC3-8844-A33B-2456CED6C5EB}"/>
                </a:ext>
              </a:extLst>
            </p:cNvPr>
            <p:cNvSpPr txBox="1"/>
            <p:nvPr/>
          </p:nvSpPr>
          <p:spPr>
            <a:xfrm>
              <a:off x="-2003446" y="4451492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а маленьких плашек</a:t>
              </a:r>
            </a:p>
          </p:txBody>
        </p:sp>
        <p:sp>
          <p:nvSpPr>
            <p:cNvPr id="74" name="Прямоугольник: скругленные углы 52">
              <a:extLst>
                <a:ext uri="{FF2B5EF4-FFF2-40B4-BE49-F238E27FC236}">
                  <a16:creationId xmlns:a16="http://schemas.microsoft.com/office/drawing/2014/main" id="{459A6E71-3826-9647-9553-B6920FBC8438}"/>
                </a:ext>
              </a:extLst>
            </p:cNvPr>
            <p:cNvSpPr/>
            <p:nvPr/>
          </p:nvSpPr>
          <p:spPr>
            <a:xfrm>
              <a:off x="-1739900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B7EDC9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5" name="Прямоугольник: скругленные углы 53">
              <a:extLst>
                <a:ext uri="{FF2B5EF4-FFF2-40B4-BE49-F238E27FC236}">
                  <a16:creationId xmlns:a16="http://schemas.microsoft.com/office/drawing/2014/main" id="{93A5957A-BE91-8749-A437-CFFAE3C333C1}"/>
                </a:ext>
              </a:extLst>
            </p:cNvPr>
            <p:cNvSpPr/>
            <p:nvPr/>
          </p:nvSpPr>
          <p:spPr>
            <a:xfrm>
              <a:off x="-1474837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FA800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6" name="Прямоугольник: скругленные углы 54">
              <a:extLst>
                <a:ext uri="{FF2B5EF4-FFF2-40B4-BE49-F238E27FC236}">
                  <a16:creationId xmlns:a16="http://schemas.microsoft.com/office/drawing/2014/main" id="{867EB637-2AF1-7945-AA94-6473997CD7E8}"/>
                </a:ext>
              </a:extLst>
            </p:cNvPr>
            <p:cNvSpPr/>
            <p:nvPr/>
          </p:nvSpPr>
          <p:spPr>
            <a:xfrm>
              <a:off x="-2004963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10C44C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F93B3DAD-57D1-BF4C-A33E-EA5180B7D7D6}"/>
                </a:ext>
              </a:extLst>
            </p:cNvPr>
            <p:cNvSpPr txBox="1"/>
            <p:nvPr/>
          </p:nvSpPr>
          <p:spPr>
            <a:xfrm>
              <a:off x="-2003446" y="4973480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900"/>
                <a:t>Рост / падение показателей</a:t>
              </a:r>
            </a:p>
          </p:txBody>
        </p:sp>
        <p:sp>
          <p:nvSpPr>
            <p:cNvPr id="78" name="Прямоугольник: скругленные углы 43">
              <a:extLst>
                <a:ext uri="{FF2B5EF4-FFF2-40B4-BE49-F238E27FC236}">
                  <a16:creationId xmlns:a16="http://schemas.microsoft.com/office/drawing/2014/main" id="{321A7AFF-70D2-594B-91F6-08D74F6DC47F}"/>
                </a:ext>
              </a:extLst>
            </p:cNvPr>
            <p:cNvSpPr/>
            <p:nvPr/>
          </p:nvSpPr>
          <p:spPr>
            <a:xfrm>
              <a:off x="-2004963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3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9" name="Прямоугольник: скругленные углы 51">
              <a:extLst>
                <a:ext uri="{FF2B5EF4-FFF2-40B4-BE49-F238E27FC236}">
                  <a16:creationId xmlns:a16="http://schemas.microsoft.com/office/drawing/2014/main" id="{B2C22744-12B2-1944-A4FF-9A6D719826DE}"/>
                </a:ext>
              </a:extLst>
            </p:cNvPr>
            <p:cNvSpPr/>
            <p:nvPr/>
          </p:nvSpPr>
          <p:spPr>
            <a:xfrm>
              <a:off x="-1740264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2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0" name="Прямоугольник: скругленные углы 56">
              <a:extLst>
                <a:ext uri="{FF2B5EF4-FFF2-40B4-BE49-F238E27FC236}">
                  <a16:creationId xmlns:a16="http://schemas.microsoft.com/office/drawing/2014/main" id="{B238B270-9CB6-4F44-9A08-1EB6BE9731ED}"/>
                </a:ext>
              </a:extLst>
            </p:cNvPr>
            <p:cNvSpPr/>
            <p:nvPr/>
          </p:nvSpPr>
          <p:spPr>
            <a:xfrm>
              <a:off x="-1474837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1" name="Прямоугольник: скругленные углы 57">
              <a:extLst>
                <a:ext uri="{FF2B5EF4-FFF2-40B4-BE49-F238E27FC236}">
                  <a16:creationId xmlns:a16="http://schemas.microsoft.com/office/drawing/2014/main" id="{C2E07BB3-BD75-2A4B-8AD3-E4EBA018F961}"/>
                </a:ext>
              </a:extLst>
            </p:cNvPr>
            <p:cNvSpPr/>
            <p:nvPr/>
          </p:nvSpPr>
          <p:spPr>
            <a:xfrm>
              <a:off x="-2131314" y="5782119"/>
              <a:ext cx="1928240" cy="1075881"/>
            </a:xfrm>
            <a:prstGeom prst="roundRect">
              <a:avLst>
                <a:gd name="adj" fmla="val 12985"/>
              </a:avLst>
            </a:prstGeom>
            <a:solidFill>
              <a:schemeClr val="bg1"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4340FA73-EFE0-7347-B844-E62AF189709E}"/>
                </a:ext>
              </a:extLst>
            </p:cNvPr>
            <p:cNvSpPr txBox="1"/>
            <p:nvPr/>
          </p:nvSpPr>
          <p:spPr>
            <a:xfrm>
              <a:off x="-1788338" y="5868204"/>
              <a:ext cx="1155882" cy="15109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l">
                <a:lnSpc>
                  <a:spcPct val="90000"/>
                </a:lnSpc>
              </a:pPr>
              <a:r>
                <a:rPr lang="ru-RU" sz="1000" b="1">
                  <a:solidFill>
                    <a:schemeClr val="accent1"/>
                  </a:solidFill>
                </a:rPr>
                <a:t>Шаблон </a:t>
              </a:r>
              <a:r>
                <a:rPr lang="en-US" sz="1000" b="1">
                  <a:solidFill>
                    <a:schemeClr val="accent1"/>
                  </a:solidFill>
                </a:rPr>
                <a:t>Ozon</a:t>
              </a:r>
              <a:endParaRPr lang="ru-RU" sz="1000" b="1">
                <a:solidFill>
                  <a:schemeClr val="accent1"/>
                </a:solidFill>
              </a:endParaRPr>
            </a:p>
          </p:txBody>
        </p:sp>
        <p:sp>
          <p:nvSpPr>
            <p:cNvPr id="83" name="Рисунок 93">
              <a:extLst>
                <a:ext uri="{FF2B5EF4-FFF2-40B4-BE49-F238E27FC236}">
                  <a16:creationId xmlns:a16="http://schemas.microsoft.com/office/drawing/2014/main" id="{35D7E50E-0B9E-164C-834F-88BC113D34FA}"/>
                </a:ext>
              </a:extLst>
            </p:cNvPr>
            <p:cNvSpPr/>
            <p:nvPr/>
          </p:nvSpPr>
          <p:spPr>
            <a:xfrm>
              <a:off x="-2004963" y="5853908"/>
              <a:ext cx="161099" cy="161099"/>
            </a:xfrm>
            <a:custGeom>
              <a:avLst/>
              <a:gdLst>
                <a:gd name="connsiteX0" fmla="*/ 85725 w 171450"/>
                <a:gd name="connsiteY0" fmla="*/ 171450 h 171450"/>
                <a:gd name="connsiteX1" fmla="*/ 171450 w 171450"/>
                <a:gd name="connsiteY1" fmla="*/ 85725 h 171450"/>
                <a:gd name="connsiteX2" fmla="*/ 85725 w 171450"/>
                <a:gd name="connsiteY2" fmla="*/ 0 h 171450"/>
                <a:gd name="connsiteX3" fmla="*/ 0 w 171450"/>
                <a:gd name="connsiteY3" fmla="*/ 85725 h 171450"/>
                <a:gd name="connsiteX4" fmla="*/ 85725 w 171450"/>
                <a:gd name="connsiteY4" fmla="*/ 171450 h 171450"/>
                <a:gd name="connsiteX5" fmla="*/ 130560 w 171450"/>
                <a:gd name="connsiteY5" fmla="*/ 73410 h 171450"/>
                <a:gd name="connsiteX6" fmla="*/ 82935 w 171450"/>
                <a:gd name="connsiteY6" fmla="*/ 121035 h 171450"/>
                <a:gd name="connsiteX7" fmla="*/ 69465 w 171450"/>
                <a:gd name="connsiteY7" fmla="*/ 121035 h 171450"/>
                <a:gd name="connsiteX8" fmla="*/ 40890 w 171450"/>
                <a:gd name="connsiteY8" fmla="*/ 92460 h 171450"/>
                <a:gd name="connsiteX9" fmla="*/ 40890 w 171450"/>
                <a:gd name="connsiteY9" fmla="*/ 78990 h 171450"/>
                <a:gd name="connsiteX10" fmla="*/ 54360 w 171450"/>
                <a:gd name="connsiteY10" fmla="*/ 78990 h 171450"/>
                <a:gd name="connsiteX11" fmla="*/ 76200 w 171450"/>
                <a:gd name="connsiteY11" fmla="*/ 100830 h 171450"/>
                <a:gd name="connsiteX12" fmla="*/ 117090 w 171450"/>
                <a:gd name="connsiteY12" fmla="*/ 59940 h 171450"/>
                <a:gd name="connsiteX13" fmla="*/ 130560 w 171450"/>
                <a:gd name="connsiteY13" fmla="*/ 59940 h 171450"/>
                <a:gd name="connsiteX14" fmla="*/ 130560 w 171450"/>
                <a:gd name="connsiteY14" fmla="*/ 7341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71450" h="171450">
                  <a:moveTo>
                    <a:pt x="85725" y="171450"/>
                  </a:moveTo>
                  <a:cubicBezTo>
                    <a:pt x="138915" y="171450"/>
                    <a:pt x="171450" y="138915"/>
                    <a:pt x="171450" y="85725"/>
                  </a:cubicBezTo>
                  <a:cubicBezTo>
                    <a:pt x="171450" y="32535"/>
                    <a:pt x="138915" y="0"/>
                    <a:pt x="85725" y="0"/>
                  </a:cubicBezTo>
                  <a:cubicBezTo>
                    <a:pt x="32535" y="0"/>
                    <a:pt x="0" y="32535"/>
                    <a:pt x="0" y="85725"/>
                  </a:cubicBezTo>
                  <a:cubicBezTo>
                    <a:pt x="0" y="138915"/>
                    <a:pt x="32535" y="171450"/>
                    <a:pt x="85725" y="171450"/>
                  </a:cubicBezTo>
                  <a:close/>
                  <a:moveTo>
                    <a:pt x="130560" y="73410"/>
                  </a:moveTo>
                  <a:lnTo>
                    <a:pt x="82935" y="121035"/>
                  </a:lnTo>
                  <a:cubicBezTo>
                    <a:pt x="79216" y="124755"/>
                    <a:pt x="73184" y="124755"/>
                    <a:pt x="69465" y="121035"/>
                  </a:cubicBezTo>
                  <a:lnTo>
                    <a:pt x="40890" y="92460"/>
                  </a:lnTo>
                  <a:cubicBezTo>
                    <a:pt x="37170" y="88741"/>
                    <a:pt x="37170" y="82709"/>
                    <a:pt x="40890" y="78990"/>
                  </a:cubicBezTo>
                  <a:cubicBezTo>
                    <a:pt x="44610" y="75270"/>
                    <a:pt x="50640" y="75270"/>
                    <a:pt x="54360" y="78990"/>
                  </a:cubicBezTo>
                  <a:lnTo>
                    <a:pt x="76200" y="100830"/>
                  </a:lnTo>
                  <a:lnTo>
                    <a:pt x="117090" y="59940"/>
                  </a:lnTo>
                  <a:cubicBezTo>
                    <a:pt x="120809" y="56220"/>
                    <a:pt x="126841" y="56220"/>
                    <a:pt x="130560" y="59940"/>
                  </a:cubicBezTo>
                  <a:cubicBezTo>
                    <a:pt x="134280" y="63660"/>
                    <a:pt x="134280" y="69691"/>
                    <a:pt x="130560" y="7341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BC3A8A21-9B73-F24F-9D85-C8297CC039D7}"/>
                </a:ext>
              </a:extLst>
            </p:cNvPr>
            <p:cNvSpPr txBox="1"/>
            <p:nvPr userDrawn="1"/>
          </p:nvSpPr>
          <p:spPr>
            <a:xfrm>
              <a:off x="-2004962" y="6072106"/>
              <a:ext cx="1687587" cy="60024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>
                <a:lnSpc>
                  <a:spcPct val="110000"/>
                </a:lnSpc>
              </a:pPr>
              <a:r>
                <a:rPr lang="ru-RU" sz="900" spc="-30" baseline="0">
                  <a:solidFill>
                    <a:schemeClr val="tx2"/>
                  </a:solidFill>
                </a:rPr>
                <a:t>Если нужно больше материалов: </a:t>
              </a:r>
              <a:r>
                <a:rPr lang="ru-RU" sz="900" b="1" spc="-30" baseline="0">
                  <a:solidFill>
                    <a:schemeClr val="tx2"/>
                  </a:solidFill>
                </a:rPr>
                <a:t>правое меню </a:t>
              </a:r>
              <a:r>
                <a:rPr lang="en-US" sz="900" b="1" spc="-30" baseline="0">
                  <a:solidFill>
                    <a:schemeClr val="tx2"/>
                  </a:solidFill>
                </a:rPr>
                <a:t>Staff — Brand </a:t>
              </a:r>
              <a:r>
                <a:rPr lang="ru-RU" sz="900" b="1" spc="-30" baseline="0">
                  <a:solidFill>
                    <a:schemeClr val="tx2"/>
                  </a:solidFill>
                </a:rPr>
                <a:t>— Всё для презентаций. </a:t>
              </a:r>
              <a:r>
                <a:rPr lang="ru-RU" sz="900" b="0" spc="-30" baseline="0">
                  <a:solidFill>
                    <a:schemeClr val="tx2"/>
                  </a:solidFill>
                </a:rPr>
                <a:t>Или пиши нам на </a:t>
              </a:r>
              <a:r>
                <a:rPr lang="en-US" sz="900" b="0" spc="-30" baseline="0">
                  <a:solidFill>
                    <a:schemeClr val="tx2"/>
                  </a:solidFill>
                </a:rPr>
                <a:t>presentations@ozon.ru.</a:t>
              </a:r>
              <a:r>
                <a:rPr lang="ru-RU" sz="900" b="0" spc="-30" baseline="0">
                  <a:solidFill>
                    <a:schemeClr val="tx2"/>
                  </a:solidFill>
                </a:rPr>
                <a:t> </a:t>
              </a:r>
            </a:p>
          </p:txBody>
        </p:sp>
        <p:sp>
          <p:nvSpPr>
            <p:cNvPr id="85" name="Прямоугольник: скругленные углы 63">
              <a:extLst>
                <a:ext uri="{FF2B5EF4-FFF2-40B4-BE49-F238E27FC236}">
                  <a16:creationId xmlns:a16="http://schemas.microsoft.com/office/drawing/2014/main" id="{568B5506-CB45-3644-9AC6-65068B50C5CD}"/>
                </a:ext>
              </a:extLst>
            </p:cNvPr>
            <p:cNvSpPr/>
            <p:nvPr/>
          </p:nvSpPr>
          <p:spPr>
            <a:xfrm>
              <a:off x="-944711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53C14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6" name="Прямоугольник: скругленные углы 64">
              <a:extLst>
                <a:ext uri="{FF2B5EF4-FFF2-40B4-BE49-F238E27FC236}">
                  <a16:creationId xmlns:a16="http://schemas.microsoft.com/office/drawing/2014/main" id="{704507D1-6554-3445-A893-C3E99FF77EBF}"/>
                </a:ext>
              </a:extLst>
            </p:cNvPr>
            <p:cNvSpPr/>
            <p:nvPr/>
          </p:nvSpPr>
          <p:spPr>
            <a:xfrm>
              <a:off x="-679648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CC4B8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7" name="Прямоугольник: скругленные углы 65">
              <a:extLst>
                <a:ext uri="{FF2B5EF4-FFF2-40B4-BE49-F238E27FC236}">
                  <a16:creationId xmlns:a16="http://schemas.microsoft.com/office/drawing/2014/main" id="{769BFD11-DA86-5845-8F9D-7108626C4F54}"/>
                </a:ext>
              </a:extLst>
            </p:cNvPr>
            <p:cNvSpPr/>
            <p:nvPr/>
          </p:nvSpPr>
          <p:spPr>
            <a:xfrm>
              <a:off x="-1209774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FE5B2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8" name="Прямоугольник: скругленные верхние углы 12">
              <a:extLst>
                <a:ext uri="{FF2B5EF4-FFF2-40B4-BE49-F238E27FC236}">
                  <a16:creationId xmlns:a16="http://schemas.microsoft.com/office/drawing/2014/main" id="{B3E4EDD5-2D06-8441-BA59-C8B7EAD926AB}"/>
                </a:ext>
              </a:extLst>
            </p:cNvPr>
            <p:cNvSpPr/>
            <p:nvPr/>
          </p:nvSpPr>
          <p:spPr>
            <a:xfrm>
              <a:off x="-2136930" y="3070447"/>
              <a:ext cx="1926713" cy="28800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36000" rtlCol="0" anchor="ctr"/>
            <a:lstStyle/>
            <a:p>
              <a:pPr algn="ctr"/>
              <a:r>
                <a:rPr lang="ru-RU" sz="1100" b="1">
                  <a:solidFill>
                    <a:schemeClr val="tx1"/>
                  </a:solidFill>
                </a:rPr>
                <a:t>Цвета </a:t>
              </a:r>
              <a:r>
                <a:rPr lang="en-US" sz="1100" b="1">
                  <a:solidFill>
                    <a:schemeClr val="tx1"/>
                  </a:solidFill>
                </a:rPr>
                <a:t>Ozon</a:t>
              </a:r>
              <a:endParaRPr lang="ru-RU" sz="1100" b="1">
                <a:solidFill>
                  <a:schemeClr val="tx1"/>
                </a:solidFill>
              </a:endParaRPr>
            </a:p>
          </p:txBody>
        </p:sp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70AFF32F-F5B7-EE42-A83B-8ECFA5DBBDB3}"/>
                </a:ext>
              </a:extLst>
            </p:cNvPr>
            <p:cNvSpPr txBox="1"/>
            <p:nvPr/>
          </p:nvSpPr>
          <p:spPr>
            <a:xfrm>
              <a:off x="-2003446" y="3412239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текста </a:t>
              </a:r>
            </a:p>
          </p:txBody>
        </p:sp>
        <p:sp>
          <p:nvSpPr>
            <p:cNvPr id="90" name="Прямоугольник: скругленные углы 15">
              <a:extLst>
                <a:ext uri="{FF2B5EF4-FFF2-40B4-BE49-F238E27FC236}">
                  <a16:creationId xmlns:a16="http://schemas.microsoft.com/office/drawing/2014/main" id="{78AFFE3A-93F9-BD49-B40C-12E9F0FB5826}"/>
                </a:ext>
              </a:extLst>
            </p:cNvPr>
            <p:cNvSpPr/>
            <p:nvPr/>
          </p:nvSpPr>
          <p:spPr>
            <a:xfrm>
              <a:off x="-2004344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1" name="Прямоугольник: скругленные углы 16">
              <a:extLst>
                <a:ext uri="{FF2B5EF4-FFF2-40B4-BE49-F238E27FC236}">
                  <a16:creationId xmlns:a16="http://schemas.microsoft.com/office/drawing/2014/main" id="{0959F5F7-C932-4944-A9D9-004C4AAAF6BB}"/>
                </a:ext>
              </a:extLst>
            </p:cNvPr>
            <p:cNvSpPr/>
            <p:nvPr/>
          </p:nvSpPr>
          <p:spPr>
            <a:xfrm>
              <a:off x="-1738339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6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D16CF2AD-724B-F44C-AE2A-443441C35A28}"/>
                </a:ext>
              </a:extLst>
            </p:cNvPr>
            <p:cNvSpPr txBox="1"/>
            <p:nvPr/>
          </p:nvSpPr>
          <p:spPr>
            <a:xfrm>
              <a:off x="-1788338" y="5868204"/>
              <a:ext cx="1155882" cy="15109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l">
                <a:lnSpc>
                  <a:spcPct val="90000"/>
                </a:lnSpc>
              </a:pPr>
              <a:r>
                <a:rPr lang="ru-RU" sz="1000" b="1">
                  <a:solidFill>
                    <a:schemeClr val="accent1"/>
                  </a:solidFill>
                </a:rPr>
                <a:t>Шаблон </a:t>
              </a:r>
              <a:r>
                <a:rPr lang="en-US" sz="1000" b="1">
                  <a:solidFill>
                    <a:schemeClr val="accent1"/>
                  </a:solidFill>
                </a:rPr>
                <a:t>Ozon</a:t>
              </a:r>
              <a:endParaRPr lang="ru-RU" sz="1000" b="1">
                <a:solidFill>
                  <a:schemeClr val="accent1"/>
                </a:solidFill>
              </a:endParaRPr>
            </a:p>
          </p:txBody>
        </p:sp>
        <p:sp>
          <p:nvSpPr>
            <p:cNvPr id="93" name="Прямоугольник: скругленные углы 48">
              <a:extLst>
                <a:ext uri="{FF2B5EF4-FFF2-40B4-BE49-F238E27FC236}">
                  <a16:creationId xmlns:a16="http://schemas.microsoft.com/office/drawing/2014/main" id="{48AAFC6C-AA70-CD4F-926F-CCD16ED7FBA4}"/>
                </a:ext>
              </a:extLst>
            </p:cNvPr>
            <p:cNvSpPr/>
            <p:nvPr userDrawn="1"/>
          </p:nvSpPr>
          <p:spPr>
            <a:xfrm>
              <a:off x="-1741352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1">
                <a:lumMod val="75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19556273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8">
          <p15:clr>
            <a:srgbClr val="F26B43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_colo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9C6A208F-2A8F-8640-1889-7EF3989875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6547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33" imgH="233" progId="TCLayout.ActiveDocument.1">
                  <p:embed/>
                </p:oleObj>
              </mc:Choice>
              <mc:Fallback>
                <p:oleObj name="Слайд think-cell" r:id="rId3" imgW="233" imgH="233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9C6A208F-2A8F-8640-1889-7EF3989875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Прямоугольник: скругленные углы 34">
            <a:extLst>
              <a:ext uri="{FF2B5EF4-FFF2-40B4-BE49-F238E27FC236}">
                <a16:creationId xmlns:a16="http://schemas.microsoft.com/office/drawing/2014/main" id="{C9800CF7-ABC5-B2F5-0454-607E6375863B}"/>
              </a:ext>
            </a:extLst>
          </p:cNvPr>
          <p:cNvSpPr/>
          <p:nvPr/>
        </p:nvSpPr>
        <p:spPr>
          <a:xfrm>
            <a:off x="-2138458" y="54865"/>
            <a:ext cx="1928241" cy="2826069"/>
          </a:xfrm>
          <a:prstGeom prst="roundRect">
            <a:avLst>
              <a:gd name="adj" fmla="val 5926"/>
            </a:avLst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" name="Прямоугольник: скругленные верхние углы 35">
            <a:extLst>
              <a:ext uri="{FF2B5EF4-FFF2-40B4-BE49-F238E27FC236}">
                <a16:creationId xmlns:a16="http://schemas.microsoft.com/office/drawing/2014/main" id="{C2940C45-7EC6-0986-B020-2D94E4C01F25}"/>
              </a:ext>
            </a:extLst>
          </p:cNvPr>
          <p:cNvSpPr/>
          <p:nvPr/>
        </p:nvSpPr>
        <p:spPr>
          <a:xfrm>
            <a:off x="-2136930" y="0"/>
            <a:ext cx="1926713" cy="2880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36000" rtlCol="0" anchor="ctr"/>
          <a:lstStyle/>
          <a:p>
            <a:pPr algn="ctr"/>
            <a:r>
              <a:rPr lang="ru-RU" sz="1100" b="1">
                <a:solidFill>
                  <a:schemeClr val="tx1"/>
                </a:solidFill>
              </a:rPr>
              <a:t>Размеры текста</a:t>
            </a:r>
          </a:p>
        </p:txBody>
      </p:sp>
      <p:graphicFrame>
        <p:nvGraphicFramePr>
          <p:cNvPr id="37" name="Таблица 46">
            <a:extLst>
              <a:ext uri="{FF2B5EF4-FFF2-40B4-BE49-F238E27FC236}">
                <a16:creationId xmlns:a16="http://schemas.microsoft.com/office/drawing/2014/main" id="{22E21D68-4F58-F199-36D3-C10450C366F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20574792"/>
              </p:ext>
            </p:extLst>
          </p:nvPr>
        </p:nvGraphicFramePr>
        <p:xfrm>
          <a:off x="-2046114" y="312643"/>
          <a:ext cx="1958731" cy="2142000"/>
        </p:xfrm>
        <a:graphic>
          <a:graphicData uri="http://schemas.openxmlformats.org/drawingml/2006/table">
            <a:tbl>
              <a:tblPr/>
              <a:tblGrid>
                <a:gridCol w="532517">
                  <a:extLst>
                    <a:ext uri="{9D8B030D-6E8A-4147-A177-3AD203B41FA5}">
                      <a16:colId xmlns:a16="http://schemas.microsoft.com/office/drawing/2014/main" val="2594385797"/>
                    </a:ext>
                  </a:extLst>
                </a:gridCol>
                <a:gridCol w="1426214">
                  <a:extLst>
                    <a:ext uri="{9D8B030D-6E8A-4147-A177-3AD203B41FA5}">
                      <a16:colId xmlns:a16="http://schemas.microsoft.com/office/drawing/2014/main" val="1017723076"/>
                    </a:ext>
                  </a:extLst>
                </a:gridCol>
              </a:tblGrid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44+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0" spc="-40" baseline="0"/>
                        <a:t>акцентные цифр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8329665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32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заголовки и самые </a:t>
                      </a:r>
                      <a:br>
                        <a:rPr lang="ru-RU" sz="1000" spc="-40" baseline="0"/>
                      </a:br>
                      <a:r>
                        <a:rPr lang="ru-RU" sz="1000" spc="-40" baseline="0"/>
                        <a:t>важные данные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17697917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24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8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подзаголовки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72780009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18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4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основной текст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0685745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4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2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торой уровень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текста (менее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ажная информация)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1997433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0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сноски, пояснения, </a:t>
                      </a:r>
                      <a:br>
                        <a:rPr lang="en-US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большие таблиц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76660845"/>
                  </a:ext>
                </a:extLst>
              </a:tr>
            </a:tbl>
          </a:graphicData>
        </a:graphic>
      </p:graphicFrame>
      <p:sp>
        <p:nvSpPr>
          <p:cNvPr id="38" name="Полилиния: фигура 37">
            <a:extLst>
              <a:ext uri="{FF2B5EF4-FFF2-40B4-BE49-F238E27FC236}">
                <a16:creationId xmlns:a16="http://schemas.microsoft.com/office/drawing/2014/main" id="{84FF97CD-0431-AB46-37C2-E699CA989913}"/>
              </a:ext>
            </a:extLst>
          </p:cNvPr>
          <p:cNvSpPr/>
          <p:nvPr/>
        </p:nvSpPr>
        <p:spPr>
          <a:xfrm>
            <a:off x="-2004344" y="2488864"/>
            <a:ext cx="216624" cy="228657"/>
          </a:xfrm>
          <a:custGeom>
            <a:avLst/>
            <a:gdLst>
              <a:gd name="connsiteX0" fmla="*/ 72536 w 171450"/>
              <a:gd name="connsiteY0" fmla="*/ 162210 h 180974"/>
              <a:gd name="connsiteX1" fmla="*/ 98923 w 171450"/>
              <a:gd name="connsiteY1" fmla="*/ 162210 h 180974"/>
              <a:gd name="connsiteX2" fmla="*/ 103600 w 171450"/>
              <a:gd name="connsiteY2" fmla="*/ 172160 h 180974"/>
              <a:gd name="connsiteX3" fmla="*/ 85726 w 171450"/>
              <a:gd name="connsiteY3" fmla="*/ 180974 h 180974"/>
              <a:gd name="connsiteX4" fmla="*/ 67852 w 171450"/>
              <a:gd name="connsiteY4" fmla="*/ 172160 h 180974"/>
              <a:gd name="connsiteX5" fmla="*/ 72536 w 171450"/>
              <a:gd name="connsiteY5" fmla="*/ 162210 h 180974"/>
              <a:gd name="connsiteX6" fmla="*/ 152400 w 171450"/>
              <a:gd name="connsiteY6" fmla="*/ 76200 h 180974"/>
              <a:gd name="connsiteX7" fmla="*/ 161925 w 171450"/>
              <a:gd name="connsiteY7" fmla="*/ 76200 h 180974"/>
              <a:gd name="connsiteX8" fmla="*/ 171450 w 171450"/>
              <a:gd name="connsiteY8" fmla="*/ 85725 h 180974"/>
              <a:gd name="connsiteX9" fmla="*/ 161925 w 171450"/>
              <a:gd name="connsiteY9" fmla="*/ 95250 h 180974"/>
              <a:gd name="connsiteX10" fmla="*/ 152400 w 171450"/>
              <a:gd name="connsiteY10" fmla="*/ 95250 h 180974"/>
              <a:gd name="connsiteX11" fmla="*/ 142875 w 171450"/>
              <a:gd name="connsiteY11" fmla="*/ 85725 h 180974"/>
              <a:gd name="connsiteX12" fmla="*/ 152400 w 171450"/>
              <a:gd name="connsiteY12" fmla="*/ 76200 h 180974"/>
              <a:gd name="connsiteX13" fmla="*/ 9525 w 171450"/>
              <a:gd name="connsiteY13" fmla="*/ 76200 h 180974"/>
              <a:gd name="connsiteX14" fmla="*/ 19050 w 171450"/>
              <a:gd name="connsiteY14" fmla="*/ 76200 h 180974"/>
              <a:gd name="connsiteX15" fmla="*/ 28575 w 171450"/>
              <a:gd name="connsiteY15" fmla="*/ 85725 h 180974"/>
              <a:gd name="connsiteX16" fmla="*/ 19050 w 171450"/>
              <a:gd name="connsiteY16" fmla="*/ 95250 h 180974"/>
              <a:gd name="connsiteX17" fmla="*/ 9525 w 171450"/>
              <a:gd name="connsiteY17" fmla="*/ 95250 h 180974"/>
              <a:gd name="connsiteX18" fmla="*/ 0 w 171450"/>
              <a:gd name="connsiteY18" fmla="*/ 85725 h 180974"/>
              <a:gd name="connsiteX19" fmla="*/ 9525 w 171450"/>
              <a:gd name="connsiteY19" fmla="*/ 76200 h 180974"/>
              <a:gd name="connsiteX20" fmla="*/ 85725 w 171450"/>
              <a:gd name="connsiteY20" fmla="*/ 38100 h 180974"/>
              <a:gd name="connsiteX21" fmla="*/ 133350 w 171450"/>
              <a:gd name="connsiteY21" fmla="*/ 85725 h 180974"/>
              <a:gd name="connsiteX22" fmla="*/ 123174 w 171450"/>
              <a:gd name="connsiteY22" fmla="*/ 114596 h 180974"/>
              <a:gd name="connsiteX23" fmla="*/ 114300 w 171450"/>
              <a:gd name="connsiteY23" fmla="*/ 138113 h 180974"/>
              <a:gd name="connsiteX24" fmla="*/ 85725 w 171450"/>
              <a:gd name="connsiteY24" fmla="*/ 152400 h 180974"/>
              <a:gd name="connsiteX25" fmla="*/ 57150 w 171450"/>
              <a:gd name="connsiteY25" fmla="*/ 138113 h 180974"/>
              <a:gd name="connsiteX26" fmla="*/ 48275 w 171450"/>
              <a:gd name="connsiteY26" fmla="*/ 114596 h 180974"/>
              <a:gd name="connsiteX27" fmla="*/ 38100 w 171450"/>
              <a:gd name="connsiteY27" fmla="*/ 85725 h 180974"/>
              <a:gd name="connsiteX28" fmla="*/ 85725 w 171450"/>
              <a:gd name="connsiteY28" fmla="*/ 38100 h 180974"/>
              <a:gd name="connsiteX29" fmla="*/ 136141 w 171450"/>
              <a:gd name="connsiteY29" fmla="*/ 21840 h 180974"/>
              <a:gd name="connsiteX30" fmla="*/ 149611 w 171450"/>
              <a:gd name="connsiteY30" fmla="*/ 21840 h 180974"/>
              <a:gd name="connsiteX31" fmla="*/ 149611 w 171450"/>
              <a:gd name="connsiteY31" fmla="*/ 35310 h 180974"/>
              <a:gd name="connsiteX32" fmla="*/ 140086 w 171450"/>
              <a:gd name="connsiteY32" fmla="*/ 44835 h 180974"/>
              <a:gd name="connsiteX33" fmla="*/ 126616 w 171450"/>
              <a:gd name="connsiteY33" fmla="*/ 44835 h 180974"/>
              <a:gd name="connsiteX34" fmla="*/ 126616 w 171450"/>
              <a:gd name="connsiteY34" fmla="*/ 31365 h 180974"/>
              <a:gd name="connsiteX35" fmla="*/ 21840 w 171450"/>
              <a:gd name="connsiteY35" fmla="*/ 21840 h 180974"/>
              <a:gd name="connsiteX36" fmla="*/ 35310 w 171450"/>
              <a:gd name="connsiteY36" fmla="*/ 21840 h 180974"/>
              <a:gd name="connsiteX37" fmla="*/ 44835 w 171450"/>
              <a:gd name="connsiteY37" fmla="*/ 31365 h 180974"/>
              <a:gd name="connsiteX38" fmla="*/ 44835 w 171450"/>
              <a:gd name="connsiteY38" fmla="*/ 44835 h 180974"/>
              <a:gd name="connsiteX39" fmla="*/ 31365 w 171450"/>
              <a:gd name="connsiteY39" fmla="*/ 44835 h 180974"/>
              <a:gd name="connsiteX40" fmla="*/ 21840 w 171450"/>
              <a:gd name="connsiteY40" fmla="*/ 35310 h 180974"/>
              <a:gd name="connsiteX41" fmla="*/ 21840 w 171450"/>
              <a:gd name="connsiteY41" fmla="*/ 21840 h 180974"/>
              <a:gd name="connsiteX42" fmla="*/ 85725 w 171450"/>
              <a:gd name="connsiteY42" fmla="*/ 0 h 180974"/>
              <a:gd name="connsiteX43" fmla="*/ 95250 w 171450"/>
              <a:gd name="connsiteY43" fmla="*/ 9525 h 180974"/>
              <a:gd name="connsiteX44" fmla="*/ 95250 w 171450"/>
              <a:gd name="connsiteY44" fmla="*/ 19050 h 180974"/>
              <a:gd name="connsiteX45" fmla="*/ 85725 w 171450"/>
              <a:gd name="connsiteY45" fmla="*/ 28575 h 180974"/>
              <a:gd name="connsiteX46" fmla="*/ 76200 w 171450"/>
              <a:gd name="connsiteY46" fmla="*/ 19050 h 180974"/>
              <a:gd name="connsiteX47" fmla="*/ 76200 w 171450"/>
              <a:gd name="connsiteY47" fmla="*/ 9525 h 180974"/>
              <a:gd name="connsiteX48" fmla="*/ 85725 w 171450"/>
              <a:gd name="connsiteY48" fmla="*/ 0 h 18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1450" h="180974">
                <a:moveTo>
                  <a:pt x="72536" y="162210"/>
                </a:moveTo>
                <a:cubicBezTo>
                  <a:pt x="80449" y="164140"/>
                  <a:pt x="90933" y="164211"/>
                  <a:pt x="98923" y="162210"/>
                </a:cubicBezTo>
                <a:cubicBezTo>
                  <a:pt x="105617" y="160534"/>
                  <a:pt x="105617" y="166533"/>
                  <a:pt x="103600" y="172160"/>
                </a:cubicBezTo>
                <a:cubicBezTo>
                  <a:pt x="100950" y="179549"/>
                  <a:pt x="95451" y="180974"/>
                  <a:pt x="85726" y="180974"/>
                </a:cubicBezTo>
                <a:cubicBezTo>
                  <a:pt x="76000" y="180974"/>
                  <a:pt x="70501" y="179549"/>
                  <a:pt x="67852" y="172160"/>
                </a:cubicBezTo>
                <a:cubicBezTo>
                  <a:pt x="65835" y="166534"/>
                  <a:pt x="65835" y="160576"/>
                  <a:pt x="72536" y="162210"/>
                </a:cubicBezTo>
                <a:close/>
                <a:moveTo>
                  <a:pt x="152400" y="76200"/>
                </a:moveTo>
                <a:lnTo>
                  <a:pt x="161925" y="76200"/>
                </a:lnTo>
                <a:cubicBezTo>
                  <a:pt x="167186" y="76200"/>
                  <a:pt x="171450" y="80464"/>
                  <a:pt x="171450" y="85725"/>
                </a:cubicBezTo>
                <a:cubicBezTo>
                  <a:pt x="171450" y="90986"/>
                  <a:pt x="167186" y="95250"/>
                  <a:pt x="161925" y="95250"/>
                </a:cubicBezTo>
                <a:lnTo>
                  <a:pt x="152400" y="95250"/>
                </a:lnTo>
                <a:cubicBezTo>
                  <a:pt x="147139" y="95250"/>
                  <a:pt x="142875" y="90986"/>
                  <a:pt x="142875" y="85725"/>
                </a:cubicBezTo>
                <a:cubicBezTo>
                  <a:pt x="142875" y="80464"/>
                  <a:pt x="147139" y="76200"/>
                  <a:pt x="152400" y="76200"/>
                </a:cubicBezTo>
                <a:close/>
                <a:moveTo>
                  <a:pt x="9525" y="76200"/>
                </a:moveTo>
                <a:lnTo>
                  <a:pt x="19050" y="76200"/>
                </a:lnTo>
                <a:cubicBezTo>
                  <a:pt x="24310" y="76200"/>
                  <a:pt x="28575" y="80464"/>
                  <a:pt x="28575" y="85725"/>
                </a:cubicBezTo>
                <a:cubicBezTo>
                  <a:pt x="28575" y="90986"/>
                  <a:pt x="24310" y="95250"/>
                  <a:pt x="19050" y="95250"/>
                </a:cubicBezTo>
                <a:lnTo>
                  <a:pt x="9525" y="95250"/>
                </a:lnTo>
                <a:cubicBezTo>
                  <a:pt x="4265" y="95250"/>
                  <a:pt x="0" y="90986"/>
                  <a:pt x="0" y="85725"/>
                </a:cubicBezTo>
                <a:cubicBezTo>
                  <a:pt x="0" y="80464"/>
                  <a:pt x="4265" y="76200"/>
                  <a:pt x="9525" y="76200"/>
                </a:cubicBezTo>
                <a:close/>
                <a:moveTo>
                  <a:pt x="85725" y="38100"/>
                </a:moveTo>
                <a:cubicBezTo>
                  <a:pt x="112027" y="38100"/>
                  <a:pt x="133350" y="58671"/>
                  <a:pt x="133350" y="85725"/>
                </a:cubicBezTo>
                <a:cubicBezTo>
                  <a:pt x="133350" y="100663"/>
                  <a:pt x="128144" y="107793"/>
                  <a:pt x="123174" y="114596"/>
                </a:cubicBezTo>
                <a:cubicBezTo>
                  <a:pt x="118639" y="120807"/>
                  <a:pt x="114300" y="126748"/>
                  <a:pt x="114300" y="138113"/>
                </a:cubicBezTo>
                <a:cubicBezTo>
                  <a:pt x="114300" y="147638"/>
                  <a:pt x="104775" y="152400"/>
                  <a:pt x="85725" y="152400"/>
                </a:cubicBezTo>
                <a:cubicBezTo>
                  <a:pt x="66675" y="152400"/>
                  <a:pt x="57150" y="147638"/>
                  <a:pt x="57150" y="138113"/>
                </a:cubicBezTo>
                <a:cubicBezTo>
                  <a:pt x="57150" y="126748"/>
                  <a:pt x="52811" y="120807"/>
                  <a:pt x="48275" y="114596"/>
                </a:cubicBezTo>
                <a:cubicBezTo>
                  <a:pt x="43306" y="107793"/>
                  <a:pt x="38100" y="100663"/>
                  <a:pt x="38100" y="85725"/>
                </a:cubicBezTo>
                <a:cubicBezTo>
                  <a:pt x="38100" y="57150"/>
                  <a:pt x="59422" y="38100"/>
                  <a:pt x="85725" y="38100"/>
                </a:cubicBezTo>
                <a:close/>
                <a:moveTo>
                  <a:pt x="136141" y="21840"/>
                </a:moveTo>
                <a:cubicBezTo>
                  <a:pt x="139860" y="18120"/>
                  <a:pt x="145891" y="18120"/>
                  <a:pt x="149611" y="21840"/>
                </a:cubicBezTo>
                <a:cubicBezTo>
                  <a:pt x="153330" y="25560"/>
                  <a:pt x="153330" y="31590"/>
                  <a:pt x="149611" y="35310"/>
                </a:cubicBezTo>
                <a:lnTo>
                  <a:pt x="140086" y="44835"/>
                </a:lnTo>
                <a:cubicBezTo>
                  <a:pt x="136366" y="48555"/>
                  <a:pt x="130335" y="48555"/>
                  <a:pt x="126616" y="44835"/>
                </a:cubicBezTo>
                <a:cubicBezTo>
                  <a:pt x="122896" y="41115"/>
                  <a:pt x="122896" y="35085"/>
                  <a:pt x="126616" y="31365"/>
                </a:cubicBezTo>
                <a:close/>
                <a:moveTo>
                  <a:pt x="21840" y="21840"/>
                </a:moveTo>
                <a:cubicBezTo>
                  <a:pt x="25560" y="18120"/>
                  <a:pt x="31590" y="18120"/>
                  <a:pt x="35310" y="21840"/>
                </a:cubicBezTo>
                <a:lnTo>
                  <a:pt x="44835" y="31365"/>
                </a:lnTo>
                <a:cubicBezTo>
                  <a:pt x="48555" y="35085"/>
                  <a:pt x="48555" y="41115"/>
                  <a:pt x="44835" y="44835"/>
                </a:cubicBezTo>
                <a:cubicBezTo>
                  <a:pt x="41115" y="48555"/>
                  <a:pt x="35085" y="48555"/>
                  <a:pt x="31365" y="44835"/>
                </a:cubicBezTo>
                <a:lnTo>
                  <a:pt x="21840" y="35310"/>
                </a:lnTo>
                <a:cubicBezTo>
                  <a:pt x="18120" y="31590"/>
                  <a:pt x="18120" y="25560"/>
                  <a:pt x="21840" y="21840"/>
                </a:cubicBezTo>
                <a:close/>
                <a:moveTo>
                  <a:pt x="85725" y="0"/>
                </a:moveTo>
                <a:cubicBezTo>
                  <a:pt x="90986" y="0"/>
                  <a:pt x="95250" y="4265"/>
                  <a:pt x="95250" y="9525"/>
                </a:cubicBezTo>
                <a:lnTo>
                  <a:pt x="95250" y="19050"/>
                </a:lnTo>
                <a:cubicBezTo>
                  <a:pt x="95250" y="24310"/>
                  <a:pt x="90986" y="28575"/>
                  <a:pt x="85725" y="28575"/>
                </a:cubicBezTo>
                <a:cubicBezTo>
                  <a:pt x="80464" y="28575"/>
                  <a:pt x="76200" y="24310"/>
                  <a:pt x="76200" y="19050"/>
                </a:cubicBezTo>
                <a:lnTo>
                  <a:pt x="76200" y="9525"/>
                </a:lnTo>
                <a:cubicBezTo>
                  <a:pt x="76200" y="4265"/>
                  <a:pt x="80464" y="0"/>
                  <a:pt x="85725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2" name="Полилиния: фигура 61">
            <a:extLst>
              <a:ext uri="{FF2B5EF4-FFF2-40B4-BE49-F238E27FC236}">
                <a16:creationId xmlns:a16="http://schemas.microsoft.com/office/drawing/2014/main" id="{A7B63E7B-62B1-B63D-8185-8BE47CB66443}"/>
              </a:ext>
            </a:extLst>
          </p:cNvPr>
          <p:cNvSpPr/>
          <p:nvPr/>
        </p:nvSpPr>
        <p:spPr>
          <a:xfrm>
            <a:off x="-2004344" y="2488864"/>
            <a:ext cx="216624" cy="228657"/>
          </a:xfrm>
          <a:custGeom>
            <a:avLst/>
            <a:gdLst>
              <a:gd name="connsiteX0" fmla="*/ 72536 w 171450"/>
              <a:gd name="connsiteY0" fmla="*/ 162210 h 180974"/>
              <a:gd name="connsiteX1" fmla="*/ 98923 w 171450"/>
              <a:gd name="connsiteY1" fmla="*/ 162210 h 180974"/>
              <a:gd name="connsiteX2" fmla="*/ 103600 w 171450"/>
              <a:gd name="connsiteY2" fmla="*/ 172160 h 180974"/>
              <a:gd name="connsiteX3" fmla="*/ 85726 w 171450"/>
              <a:gd name="connsiteY3" fmla="*/ 180974 h 180974"/>
              <a:gd name="connsiteX4" fmla="*/ 67852 w 171450"/>
              <a:gd name="connsiteY4" fmla="*/ 172160 h 180974"/>
              <a:gd name="connsiteX5" fmla="*/ 72536 w 171450"/>
              <a:gd name="connsiteY5" fmla="*/ 162210 h 180974"/>
              <a:gd name="connsiteX6" fmla="*/ 152400 w 171450"/>
              <a:gd name="connsiteY6" fmla="*/ 76200 h 180974"/>
              <a:gd name="connsiteX7" fmla="*/ 161925 w 171450"/>
              <a:gd name="connsiteY7" fmla="*/ 76200 h 180974"/>
              <a:gd name="connsiteX8" fmla="*/ 171450 w 171450"/>
              <a:gd name="connsiteY8" fmla="*/ 85725 h 180974"/>
              <a:gd name="connsiteX9" fmla="*/ 161925 w 171450"/>
              <a:gd name="connsiteY9" fmla="*/ 95250 h 180974"/>
              <a:gd name="connsiteX10" fmla="*/ 152400 w 171450"/>
              <a:gd name="connsiteY10" fmla="*/ 95250 h 180974"/>
              <a:gd name="connsiteX11" fmla="*/ 142875 w 171450"/>
              <a:gd name="connsiteY11" fmla="*/ 85725 h 180974"/>
              <a:gd name="connsiteX12" fmla="*/ 152400 w 171450"/>
              <a:gd name="connsiteY12" fmla="*/ 76200 h 180974"/>
              <a:gd name="connsiteX13" fmla="*/ 9525 w 171450"/>
              <a:gd name="connsiteY13" fmla="*/ 76200 h 180974"/>
              <a:gd name="connsiteX14" fmla="*/ 19050 w 171450"/>
              <a:gd name="connsiteY14" fmla="*/ 76200 h 180974"/>
              <a:gd name="connsiteX15" fmla="*/ 28575 w 171450"/>
              <a:gd name="connsiteY15" fmla="*/ 85725 h 180974"/>
              <a:gd name="connsiteX16" fmla="*/ 19050 w 171450"/>
              <a:gd name="connsiteY16" fmla="*/ 95250 h 180974"/>
              <a:gd name="connsiteX17" fmla="*/ 9525 w 171450"/>
              <a:gd name="connsiteY17" fmla="*/ 95250 h 180974"/>
              <a:gd name="connsiteX18" fmla="*/ 0 w 171450"/>
              <a:gd name="connsiteY18" fmla="*/ 85725 h 180974"/>
              <a:gd name="connsiteX19" fmla="*/ 9525 w 171450"/>
              <a:gd name="connsiteY19" fmla="*/ 76200 h 180974"/>
              <a:gd name="connsiteX20" fmla="*/ 85725 w 171450"/>
              <a:gd name="connsiteY20" fmla="*/ 38100 h 180974"/>
              <a:gd name="connsiteX21" fmla="*/ 133350 w 171450"/>
              <a:gd name="connsiteY21" fmla="*/ 85725 h 180974"/>
              <a:gd name="connsiteX22" fmla="*/ 123174 w 171450"/>
              <a:gd name="connsiteY22" fmla="*/ 114596 h 180974"/>
              <a:gd name="connsiteX23" fmla="*/ 114300 w 171450"/>
              <a:gd name="connsiteY23" fmla="*/ 138113 h 180974"/>
              <a:gd name="connsiteX24" fmla="*/ 85725 w 171450"/>
              <a:gd name="connsiteY24" fmla="*/ 152400 h 180974"/>
              <a:gd name="connsiteX25" fmla="*/ 57150 w 171450"/>
              <a:gd name="connsiteY25" fmla="*/ 138113 h 180974"/>
              <a:gd name="connsiteX26" fmla="*/ 48275 w 171450"/>
              <a:gd name="connsiteY26" fmla="*/ 114596 h 180974"/>
              <a:gd name="connsiteX27" fmla="*/ 38100 w 171450"/>
              <a:gd name="connsiteY27" fmla="*/ 85725 h 180974"/>
              <a:gd name="connsiteX28" fmla="*/ 85725 w 171450"/>
              <a:gd name="connsiteY28" fmla="*/ 38100 h 180974"/>
              <a:gd name="connsiteX29" fmla="*/ 136141 w 171450"/>
              <a:gd name="connsiteY29" fmla="*/ 21840 h 180974"/>
              <a:gd name="connsiteX30" fmla="*/ 149611 w 171450"/>
              <a:gd name="connsiteY30" fmla="*/ 21840 h 180974"/>
              <a:gd name="connsiteX31" fmla="*/ 149611 w 171450"/>
              <a:gd name="connsiteY31" fmla="*/ 35310 h 180974"/>
              <a:gd name="connsiteX32" fmla="*/ 140086 w 171450"/>
              <a:gd name="connsiteY32" fmla="*/ 44835 h 180974"/>
              <a:gd name="connsiteX33" fmla="*/ 126616 w 171450"/>
              <a:gd name="connsiteY33" fmla="*/ 44835 h 180974"/>
              <a:gd name="connsiteX34" fmla="*/ 126616 w 171450"/>
              <a:gd name="connsiteY34" fmla="*/ 31365 h 180974"/>
              <a:gd name="connsiteX35" fmla="*/ 21840 w 171450"/>
              <a:gd name="connsiteY35" fmla="*/ 21840 h 180974"/>
              <a:gd name="connsiteX36" fmla="*/ 35310 w 171450"/>
              <a:gd name="connsiteY36" fmla="*/ 21840 h 180974"/>
              <a:gd name="connsiteX37" fmla="*/ 44835 w 171450"/>
              <a:gd name="connsiteY37" fmla="*/ 31365 h 180974"/>
              <a:gd name="connsiteX38" fmla="*/ 44835 w 171450"/>
              <a:gd name="connsiteY38" fmla="*/ 44835 h 180974"/>
              <a:gd name="connsiteX39" fmla="*/ 31365 w 171450"/>
              <a:gd name="connsiteY39" fmla="*/ 44835 h 180974"/>
              <a:gd name="connsiteX40" fmla="*/ 21840 w 171450"/>
              <a:gd name="connsiteY40" fmla="*/ 35310 h 180974"/>
              <a:gd name="connsiteX41" fmla="*/ 21840 w 171450"/>
              <a:gd name="connsiteY41" fmla="*/ 21840 h 180974"/>
              <a:gd name="connsiteX42" fmla="*/ 85725 w 171450"/>
              <a:gd name="connsiteY42" fmla="*/ 0 h 180974"/>
              <a:gd name="connsiteX43" fmla="*/ 95250 w 171450"/>
              <a:gd name="connsiteY43" fmla="*/ 9525 h 180974"/>
              <a:gd name="connsiteX44" fmla="*/ 95250 w 171450"/>
              <a:gd name="connsiteY44" fmla="*/ 19050 h 180974"/>
              <a:gd name="connsiteX45" fmla="*/ 85725 w 171450"/>
              <a:gd name="connsiteY45" fmla="*/ 28575 h 180974"/>
              <a:gd name="connsiteX46" fmla="*/ 76200 w 171450"/>
              <a:gd name="connsiteY46" fmla="*/ 19050 h 180974"/>
              <a:gd name="connsiteX47" fmla="*/ 76200 w 171450"/>
              <a:gd name="connsiteY47" fmla="*/ 9525 h 180974"/>
              <a:gd name="connsiteX48" fmla="*/ 85725 w 171450"/>
              <a:gd name="connsiteY48" fmla="*/ 0 h 18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1450" h="180974">
                <a:moveTo>
                  <a:pt x="72536" y="162210"/>
                </a:moveTo>
                <a:cubicBezTo>
                  <a:pt x="80449" y="164140"/>
                  <a:pt x="90933" y="164211"/>
                  <a:pt x="98923" y="162210"/>
                </a:cubicBezTo>
                <a:cubicBezTo>
                  <a:pt x="105617" y="160534"/>
                  <a:pt x="105617" y="166533"/>
                  <a:pt x="103600" y="172160"/>
                </a:cubicBezTo>
                <a:cubicBezTo>
                  <a:pt x="100950" y="179549"/>
                  <a:pt x="95451" y="180974"/>
                  <a:pt x="85726" y="180974"/>
                </a:cubicBezTo>
                <a:cubicBezTo>
                  <a:pt x="76000" y="180974"/>
                  <a:pt x="70501" y="179549"/>
                  <a:pt x="67852" y="172160"/>
                </a:cubicBezTo>
                <a:cubicBezTo>
                  <a:pt x="65835" y="166534"/>
                  <a:pt x="65835" y="160576"/>
                  <a:pt x="72536" y="162210"/>
                </a:cubicBezTo>
                <a:close/>
                <a:moveTo>
                  <a:pt x="152400" y="76200"/>
                </a:moveTo>
                <a:lnTo>
                  <a:pt x="161925" y="76200"/>
                </a:lnTo>
                <a:cubicBezTo>
                  <a:pt x="167186" y="76200"/>
                  <a:pt x="171450" y="80464"/>
                  <a:pt x="171450" y="85725"/>
                </a:cubicBezTo>
                <a:cubicBezTo>
                  <a:pt x="171450" y="90986"/>
                  <a:pt x="167186" y="95250"/>
                  <a:pt x="161925" y="95250"/>
                </a:cubicBezTo>
                <a:lnTo>
                  <a:pt x="152400" y="95250"/>
                </a:lnTo>
                <a:cubicBezTo>
                  <a:pt x="147139" y="95250"/>
                  <a:pt x="142875" y="90986"/>
                  <a:pt x="142875" y="85725"/>
                </a:cubicBezTo>
                <a:cubicBezTo>
                  <a:pt x="142875" y="80464"/>
                  <a:pt x="147139" y="76200"/>
                  <a:pt x="152400" y="76200"/>
                </a:cubicBezTo>
                <a:close/>
                <a:moveTo>
                  <a:pt x="9525" y="76200"/>
                </a:moveTo>
                <a:lnTo>
                  <a:pt x="19050" y="76200"/>
                </a:lnTo>
                <a:cubicBezTo>
                  <a:pt x="24310" y="76200"/>
                  <a:pt x="28575" y="80464"/>
                  <a:pt x="28575" y="85725"/>
                </a:cubicBezTo>
                <a:cubicBezTo>
                  <a:pt x="28575" y="90986"/>
                  <a:pt x="24310" y="95250"/>
                  <a:pt x="19050" y="95250"/>
                </a:cubicBezTo>
                <a:lnTo>
                  <a:pt x="9525" y="95250"/>
                </a:lnTo>
                <a:cubicBezTo>
                  <a:pt x="4265" y="95250"/>
                  <a:pt x="0" y="90986"/>
                  <a:pt x="0" y="85725"/>
                </a:cubicBezTo>
                <a:cubicBezTo>
                  <a:pt x="0" y="80464"/>
                  <a:pt x="4265" y="76200"/>
                  <a:pt x="9525" y="76200"/>
                </a:cubicBezTo>
                <a:close/>
                <a:moveTo>
                  <a:pt x="85725" y="38100"/>
                </a:moveTo>
                <a:cubicBezTo>
                  <a:pt x="112027" y="38100"/>
                  <a:pt x="133350" y="58671"/>
                  <a:pt x="133350" y="85725"/>
                </a:cubicBezTo>
                <a:cubicBezTo>
                  <a:pt x="133350" y="100663"/>
                  <a:pt x="128144" y="107793"/>
                  <a:pt x="123174" y="114596"/>
                </a:cubicBezTo>
                <a:cubicBezTo>
                  <a:pt x="118639" y="120807"/>
                  <a:pt x="114300" y="126748"/>
                  <a:pt x="114300" y="138113"/>
                </a:cubicBezTo>
                <a:cubicBezTo>
                  <a:pt x="114300" y="147638"/>
                  <a:pt x="104775" y="152400"/>
                  <a:pt x="85725" y="152400"/>
                </a:cubicBezTo>
                <a:cubicBezTo>
                  <a:pt x="66675" y="152400"/>
                  <a:pt x="57150" y="147638"/>
                  <a:pt x="57150" y="138113"/>
                </a:cubicBezTo>
                <a:cubicBezTo>
                  <a:pt x="57150" y="126748"/>
                  <a:pt x="52811" y="120807"/>
                  <a:pt x="48275" y="114596"/>
                </a:cubicBezTo>
                <a:cubicBezTo>
                  <a:pt x="43306" y="107793"/>
                  <a:pt x="38100" y="100663"/>
                  <a:pt x="38100" y="85725"/>
                </a:cubicBezTo>
                <a:cubicBezTo>
                  <a:pt x="38100" y="57150"/>
                  <a:pt x="59422" y="38100"/>
                  <a:pt x="85725" y="38100"/>
                </a:cubicBezTo>
                <a:close/>
                <a:moveTo>
                  <a:pt x="136141" y="21840"/>
                </a:moveTo>
                <a:cubicBezTo>
                  <a:pt x="139860" y="18120"/>
                  <a:pt x="145891" y="18120"/>
                  <a:pt x="149611" y="21840"/>
                </a:cubicBezTo>
                <a:cubicBezTo>
                  <a:pt x="153330" y="25560"/>
                  <a:pt x="153330" y="31590"/>
                  <a:pt x="149611" y="35310"/>
                </a:cubicBezTo>
                <a:lnTo>
                  <a:pt x="140086" y="44835"/>
                </a:lnTo>
                <a:cubicBezTo>
                  <a:pt x="136366" y="48555"/>
                  <a:pt x="130335" y="48555"/>
                  <a:pt x="126616" y="44835"/>
                </a:cubicBezTo>
                <a:cubicBezTo>
                  <a:pt x="122896" y="41115"/>
                  <a:pt x="122896" y="35085"/>
                  <a:pt x="126616" y="31365"/>
                </a:cubicBezTo>
                <a:close/>
                <a:moveTo>
                  <a:pt x="21840" y="21840"/>
                </a:moveTo>
                <a:cubicBezTo>
                  <a:pt x="25560" y="18120"/>
                  <a:pt x="31590" y="18120"/>
                  <a:pt x="35310" y="21840"/>
                </a:cubicBezTo>
                <a:lnTo>
                  <a:pt x="44835" y="31365"/>
                </a:lnTo>
                <a:cubicBezTo>
                  <a:pt x="48555" y="35085"/>
                  <a:pt x="48555" y="41115"/>
                  <a:pt x="44835" y="44835"/>
                </a:cubicBezTo>
                <a:cubicBezTo>
                  <a:pt x="41115" y="48555"/>
                  <a:pt x="35085" y="48555"/>
                  <a:pt x="31365" y="44835"/>
                </a:cubicBezTo>
                <a:lnTo>
                  <a:pt x="21840" y="35310"/>
                </a:lnTo>
                <a:cubicBezTo>
                  <a:pt x="18120" y="31590"/>
                  <a:pt x="18120" y="25560"/>
                  <a:pt x="21840" y="21840"/>
                </a:cubicBezTo>
                <a:close/>
                <a:moveTo>
                  <a:pt x="85725" y="0"/>
                </a:moveTo>
                <a:cubicBezTo>
                  <a:pt x="90986" y="0"/>
                  <a:pt x="95250" y="4265"/>
                  <a:pt x="95250" y="9525"/>
                </a:cubicBezTo>
                <a:lnTo>
                  <a:pt x="95250" y="19050"/>
                </a:lnTo>
                <a:cubicBezTo>
                  <a:pt x="95250" y="24310"/>
                  <a:pt x="90986" y="28575"/>
                  <a:pt x="85725" y="28575"/>
                </a:cubicBezTo>
                <a:cubicBezTo>
                  <a:pt x="80464" y="28575"/>
                  <a:pt x="76200" y="24310"/>
                  <a:pt x="76200" y="19050"/>
                </a:cubicBezTo>
                <a:lnTo>
                  <a:pt x="76200" y="9525"/>
                </a:lnTo>
                <a:cubicBezTo>
                  <a:pt x="76200" y="4265"/>
                  <a:pt x="80464" y="0"/>
                  <a:pt x="85725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EC11CE47-F2DE-CA1C-5C0F-C21FAC0B5671}"/>
              </a:ext>
            </a:extLst>
          </p:cNvPr>
          <p:cNvSpPr txBox="1"/>
          <p:nvPr/>
        </p:nvSpPr>
        <p:spPr>
          <a:xfrm>
            <a:off x="-1691344" y="2506490"/>
            <a:ext cx="1373969" cy="2428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</a:pPr>
            <a:r>
              <a:rPr lang="ru-RU" sz="900" b="0">
                <a:solidFill>
                  <a:schemeClr val="accent1"/>
                </a:solidFill>
              </a:rPr>
              <a:t>Используй эти размеры </a:t>
            </a:r>
            <a:br>
              <a:rPr lang="ru-RU" sz="900" b="0">
                <a:solidFill>
                  <a:schemeClr val="accent1"/>
                </a:solidFill>
              </a:rPr>
            </a:br>
            <a:r>
              <a:rPr lang="ru-RU" sz="900" b="0">
                <a:solidFill>
                  <a:schemeClr val="accent1"/>
                </a:solidFill>
              </a:rPr>
              <a:t>по всей презентации</a:t>
            </a:r>
          </a:p>
        </p:txBody>
      </p:sp>
      <p:sp>
        <p:nvSpPr>
          <p:cNvPr id="6" name="Прямоугольник: скругленные верхние углы 5">
            <a:extLst>
              <a:ext uri="{FF2B5EF4-FFF2-40B4-BE49-F238E27FC236}">
                <a16:creationId xmlns:a16="http://schemas.microsoft.com/office/drawing/2014/main" id="{2A7065C9-92E3-6B9B-9ACA-AEB5C23862DE}"/>
              </a:ext>
            </a:extLst>
          </p:cNvPr>
          <p:cNvSpPr/>
          <p:nvPr/>
        </p:nvSpPr>
        <p:spPr>
          <a:xfrm>
            <a:off x="-2136930" y="0"/>
            <a:ext cx="1926713" cy="2880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36000" rtlCol="0" anchor="ctr"/>
          <a:lstStyle/>
          <a:p>
            <a:pPr algn="ctr"/>
            <a:r>
              <a:rPr lang="ru-RU" sz="1100" b="1">
                <a:solidFill>
                  <a:schemeClr val="tx1"/>
                </a:solidFill>
              </a:rPr>
              <a:t>Размеры текста</a:t>
            </a:r>
          </a:p>
        </p:txBody>
      </p:sp>
      <p:sp>
        <p:nvSpPr>
          <p:cNvPr id="9" name="Полилиния: фигура 8">
            <a:extLst>
              <a:ext uri="{FF2B5EF4-FFF2-40B4-BE49-F238E27FC236}">
                <a16:creationId xmlns:a16="http://schemas.microsoft.com/office/drawing/2014/main" id="{0832DE9F-07AB-D3EB-D833-C1DC910E0CE8}"/>
              </a:ext>
            </a:extLst>
          </p:cNvPr>
          <p:cNvSpPr/>
          <p:nvPr/>
        </p:nvSpPr>
        <p:spPr>
          <a:xfrm>
            <a:off x="-2004344" y="2488864"/>
            <a:ext cx="216624" cy="228657"/>
          </a:xfrm>
          <a:custGeom>
            <a:avLst/>
            <a:gdLst>
              <a:gd name="connsiteX0" fmla="*/ 72536 w 171450"/>
              <a:gd name="connsiteY0" fmla="*/ 162210 h 180974"/>
              <a:gd name="connsiteX1" fmla="*/ 98923 w 171450"/>
              <a:gd name="connsiteY1" fmla="*/ 162210 h 180974"/>
              <a:gd name="connsiteX2" fmla="*/ 103600 w 171450"/>
              <a:gd name="connsiteY2" fmla="*/ 172160 h 180974"/>
              <a:gd name="connsiteX3" fmla="*/ 85726 w 171450"/>
              <a:gd name="connsiteY3" fmla="*/ 180974 h 180974"/>
              <a:gd name="connsiteX4" fmla="*/ 67852 w 171450"/>
              <a:gd name="connsiteY4" fmla="*/ 172160 h 180974"/>
              <a:gd name="connsiteX5" fmla="*/ 72536 w 171450"/>
              <a:gd name="connsiteY5" fmla="*/ 162210 h 180974"/>
              <a:gd name="connsiteX6" fmla="*/ 152400 w 171450"/>
              <a:gd name="connsiteY6" fmla="*/ 76200 h 180974"/>
              <a:gd name="connsiteX7" fmla="*/ 161925 w 171450"/>
              <a:gd name="connsiteY7" fmla="*/ 76200 h 180974"/>
              <a:gd name="connsiteX8" fmla="*/ 171450 w 171450"/>
              <a:gd name="connsiteY8" fmla="*/ 85725 h 180974"/>
              <a:gd name="connsiteX9" fmla="*/ 161925 w 171450"/>
              <a:gd name="connsiteY9" fmla="*/ 95250 h 180974"/>
              <a:gd name="connsiteX10" fmla="*/ 152400 w 171450"/>
              <a:gd name="connsiteY10" fmla="*/ 95250 h 180974"/>
              <a:gd name="connsiteX11" fmla="*/ 142875 w 171450"/>
              <a:gd name="connsiteY11" fmla="*/ 85725 h 180974"/>
              <a:gd name="connsiteX12" fmla="*/ 152400 w 171450"/>
              <a:gd name="connsiteY12" fmla="*/ 76200 h 180974"/>
              <a:gd name="connsiteX13" fmla="*/ 9525 w 171450"/>
              <a:gd name="connsiteY13" fmla="*/ 76200 h 180974"/>
              <a:gd name="connsiteX14" fmla="*/ 19050 w 171450"/>
              <a:gd name="connsiteY14" fmla="*/ 76200 h 180974"/>
              <a:gd name="connsiteX15" fmla="*/ 28575 w 171450"/>
              <a:gd name="connsiteY15" fmla="*/ 85725 h 180974"/>
              <a:gd name="connsiteX16" fmla="*/ 19050 w 171450"/>
              <a:gd name="connsiteY16" fmla="*/ 95250 h 180974"/>
              <a:gd name="connsiteX17" fmla="*/ 9525 w 171450"/>
              <a:gd name="connsiteY17" fmla="*/ 95250 h 180974"/>
              <a:gd name="connsiteX18" fmla="*/ 0 w 171450"/>
              <a:gd name="connsiteY18" fmla="*/ 85725 h 180974"/>
              <a:gd name="connsiteX19" fmla="*/ 9525 w 171450"/>
              <a:gd name="connsiteY19" fmla="*/ 76200 h 180974"/>
              <a:gd name="connsiteX20" fmla="*/ 85725 w 171450"/>
              <a:gd name="connsiteY20" fmla="*/ 38100 h 180974"/>
              <a:gd name="connsiteX21" fmla="*/ 133350 w 171450"/>
              <a:gd name="connsiteY21" fmla="*/ 85725 h 180974"/>
              <a:gd name="connsiteX22" fmla="*/ 123174 w 171450"/>
              <a:gd name="connsiteY22" fmla="*/ 114596 h 180974"/>
              <a:gd name="connsiteX23" fmla="*/ 114300 w 171450"/>
              <a:gd name="connsiteY23" fmla="*/ 138113 h 180974"/>
              <a:gd name="connsiteX24" fmla="*/ 85725 w 171450"/>
              <a:gd name="connsiteY24" fmla="*/ 152400 h 180974"/>
              <a:gd name="connsiteX25" fmla="*/ 57150 w 171450"/>
              <a:gd name="connsiteY25" fmla="*/ 138113 h 180974"/>
              <a:gd name="connsiteX26" fmla="*/ 48275 w 171450"/>
              <a:gd name="connsiteY26" fmla="*/ 114596 h 180974"/>
              <a:gd name="connsiteX27" fmla="*/ 38100 w 171450"/>
              <a:gd name="connsiteY27" fmla="*/ 85725 h 180974"/>
              <a:gd name="connsiteX28" fmla="*/ 85725 w 171450"/>
              <a:gd name="connsiteY28" fmla="*/ 38100 h 180974"/>
              <a:gd name="connsiteX29" fmla="*/ 136141 w 171450"/>
              <a:gd name="connsiteY29" fmla="*/ 21840 h 180974"/>
              <a:gd name="connsiteX30" fmla="*/ 149611 w 171450"/>
              <a:gd name="connsiteY30" fmla="*/ 21840 h 180974"/>
              <a:gd name="connsiteX31" fmla="*/ 149611 w 171450"/>
              <a:gd name="connsiteY31" fmla="*/ 35310 h 180974"/>
              <a:gd name="connsiteX32" fmla="*/ 140086 w 171450"/>
              <a:gd name="connsiteY32" fmla="*/ 44835 h 180974"/>
              <a:gd name="connsiteX33" fmla="*/ 126616 w 171450"/>
              <a:gd name="connsiteY33" fmla="*/ 44835 h 180974"/>
              <a:gd name="connsiteX34" fmla="*/ 126616 w 171450"/>
              <a:gd name="connsiteY34" fmla="*/ 31365 h 180974"/>
              <a:gd name="connsiteX35" fmla="*/ 21840 w 171450"/>
              <a:gd name="connsiteY35" fmla="*/ 21840 h 180974"/>
              <a:gd name="connsiteX36" fmla="*/ 35310 w 171450"/>
              <a:gd name="connsiteY36" fmla="*/ 21840 h 180974"/>
              <a:gd name="connsiteX37" fmla="*/ 44835 w 171450"/>
              <a:gd name="connsiteY37" fmla="*/ 31365 h 180974"/>
              <a:gd name="connsiteX38" fmla="*/ 44835 w 171450"/>
              <a:gd name="connsiteY38" fmla="*/ 44835 h 180974"/>
              <a:gd name="connsiteX39" fmla="*/ 31365 w 171450"/>
              <a:gd name="connsiteY39" fmla="*/ 44835 h 180974"/>
              <a:gd name="connsiteX40" fmla="*/ 21840 w 171450"/>
              <a:gd name="connsiteY40" fmla="*/ 35310 h 180974"/>
              <a:gd name="connsiteX41" fmla="*/ 21840 w 171450"/>
              <a:gd name="connsiteY41" fmla="*/ 21840 h 180974"/>
              <a:gd name="connsiteX42" fmla="*/ 85725 w 171450"/>
              <a:gd name="connsiteY42" fmla="*/ 0 h 180974"/>
              <a:gd name="connsiteX43" fmla="*/ 95250 w 171450"/>
              <a:gd name="connsiteY43" fmla="*/ 9525 h 180974"/>
              <a:gd name="connsiteX44" fmla="*/ 95250 w 171450"/>
              <a:gd name="connsiteY44" fmla="*/ 19050 h 180974"/>
              <a:gd name="connsiteX45" fmla="*/ 85725 w 171450"/>
              <a:gd name="connsiteY45" fmla="*/ 28575 h 180974"/>
              <a:gd name="connsiteX46" fmla="*/ 76200 w 171450"/>
              <a:gd name="connsiteY46" fmla="*/ 19050 h 180974"/>
              <a:gd name="connsiteX47" fmla="*/ 76200 w 171450"/>
              <a:gd name="connsiteY47" fmla="*/ 9525 h 180974"/>
              <a:gd name="connsiteX48" fmla="*/ 85725 w 171450"/>
              <a:gd name="connsiteY48" fmla="*/ 0 h 18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1450" h="180974">
                <a:moveTo>
                  <a:pt x="72536" y="162210"/>
                </a:moveTo>
                <a:cubicBezTo>
                  <a:pt x="80449" y="164140"/>
                  <a:pt x="90933" y="164211"/>
                  <a:pt x="98923" y="162210"/>
                </a:cubicBezTo>
                <a:cubicBezTo>
                  <a:pt x="105617" y="160534"/>
                  <a:pt x="105617" y="166533"/>
                  <a:pt x="103600" y="172160"/>
                </a:cubicBezTo>
                <a:cubicBezTo>
                  <a:pt x="100950" y="179549"/>
                  <a:pt x="95451" y="180974"/>
                  <a:pt x="85726" y="180974"/>
                </a:cubicBezTo>
                <a:cubicBezTo>
                  <a:pt x="76000" y="180974"/>
                  <a:pt x="70501" y="179549"/>
                  <a:pt x="67852" y="172160"/>
                </a:cubicBezTo>
                <a:cubicBezTo>
                  <a:pt x="65835" y="166534"/>
                  <a:pt x="65835" y="160576"/>
                  <a:pt x="72536" y="162210"/>
                </a:cubicBezTo>
                <a:close/>
                <a:moveTo>
                  <a:pt x="152400" y="76200"/>
                </a:moveTo>
                <a:lnTo>
                  <a:pt x="161925" y="76200"/>
                </a:lnTo>
                <a:cubicBezTo>
                  <a:pt x="167186" y="76200"/>
                  <a:pt x="171450" y="80464"/>
                  <a:pt x="171450" y="85725"/>
                </a:cubicBezTo>
                <a:cubicBezTo>
                  <a:pt x="171450" y="90986"/>
                  <a:pt x="167186" y="95250"/>
                  <a:pt x="161925" y="95250"/>
                </a:cubicBezTo>
                <a:lnTo>
                  <a:pt x="152400" y="95250"/>
                </a:lnTo>
                <a:cubicBezTo>
                  <a:pt x="147139" y="95250"/>
                  <a:pt x="142875" y="90986"/>
                  <a:pt x="142875" y="85725"/>
                </a:cubicBezTo>
                <a:cubicBezTo>
                  <a:pt x="142875" y="80464"/>
                  <a:pt x="147139" y="76200"/>
                  <a:pt x="152400" y="76200"/>
                </a:cubicBezTo>
                <a:close/>
                <a:moveTo>
                  <a:pt x="9525" y="76200"/>
                </a:moveTo>
                <a:lnTo>
                  <a:pt x="19050" y="76200"/>
                </a:lnTo>
                <a:cubicBezTo>
                  <a:pt x="24310" y="76200"/>
                  <a:pt x="28575" y="80464"/>
                  <a:pt x="28575" y="85725"/>
                </a:cubicBezTo>
                <a:cubicBezTo>
                  <a:pt x="28575" y="90986"/>
                  <a:pt x="24310" y="95250"/>
                  <a:pt x="19050" y="95250"/>
                </a:cubicBezTo>
                <a:lnTo>
                  <a:pt x="9525" y="95250"/>
                </a:lnTo>
                <a:cubicBezTo>
                  <a:pt x="4265" y="95250"/>
                  <a:pt x="0" y="90986"/>
                  <a:pt x="0" y="85725"/>
                </a:cubicBezTo>
                <a:cubicBezTo>
                  <a:pt x="0" y="80464"/>
                  <a:pt x="4265" y="76200"/>
                  <a:pt x="9525" y="76200"/>
                </a:cubicBezTo>
                <a:close/>
                <a:moveTo>
                  <a:pt x="85725" y="38100"/>
                </a:moveTo>
                <a:cubicBezTo>
                  <a:pt x="112027" y="38100"/>
                  <a:pt x="133350" y="58671"/>
                  <a:pt x="133350" y="85725"/>
                </a:cubicBezTo>
                <a:cubicBezTo>
                  <a:pt x="133350" y="100663"/>
                  <a:pt x="128144" y="107793"/>
                  <a:pt x="123174" y="114596"/>
                </a:cubicBezTo>
                <a:cubicBezTo>
                  <a:pt x="118639" y="120807"/>
                  <a:pt x="114300" y="126748"/>
                  <a:pt x="114300" y="138113"/>
                </a:cubicBezTo>
                <a:cubicBezTo>
                  <a:pt x="114300" y="147638"/>
                  <a:pt x="104775" y="152400"/>
                  <a:pt x="85725" y="152400"/>
                </a:cubicBezTo>
                <a:cubicBezTo>
                  <a:pt x="66675" y="152400"/>
                  <a:pt x="57150" y="147638"/>
                  <a:pt x="57150" y="138113"/>
                </a:cubicBezTo>
                <a:cubicBezTo>
                  <a:pt x="57150" y="126748"/>
                  <a:pt x="52811" y="120807"/>
                  <a:pt x="48275" y="114596"/>
                </a:cubicBezTo>
                <a:cubicBezTo>
                  <a:pt x="43306" y="107793"/>
                  <a:pt x="38100" y="100663"/>
                  <a:pt x="38100" y="85725"/>
                </a:cubicBezTo>
                <a:cubicBezTo>
                  <a:pt x="38100" y="57150"/>
                  <a:pt x="59422" y="38100"/>
                  <a:pt x="85725" y="38100"/>
                </a:cubicBezTo>
                <a:close/>
                <a:moveTo>
                  <a:pt x="136141" y="21840"/>
                </a:moveTo>
                <a:cubicBezTo>
                  <a:pt x="139860" y="18120"/>
                  <a:pt x="145891" y="18120"/>
                  <a:pt x="149611" y="21840"/>
                </a:cubicBezTo>
                <a:cubicBezTo>
                  <a:pt x="153330" y="25560"/>
                  <a:pt x="153330" y="31590"/>
                  <a:pt x="149611" y="35310"/>
                </a:cubicBezTo>
                <a:lnTo>
                  <a:pt x="140086" y="44835"/>
                </a:lnTo>
                <a:cubicBezTo>
                  <a:pt x="136366" y="48555"/>
                  <a:pt x="130335" y="48555"/>
                  <a:pt x="126616" y="44835"/>
                </a:cubicBezTo>
                <a:cubicBezTo>
                  <a:pt x="122896" y="41115"/>
                  <a:pt x="122896" y="35085"/>
                  <a:pt x="126616" y="31365"/>
                </a:cubicBezTo>
                <a:close/>
                <a:moveTo>
                  <a:pt x="21840" y="21840"/>
                </a:moveTo>
                <a:cubicBezTo>
                  <a:pt x="25560" y="18120"/>
                  <a:pt x="31590" y="18120"/>
                  <a:pt x="35310" y="21840"/>
                </a:cubicBezTo>
                <a:lnTo>
                  <a:pt x="44835" y="31365"/>
                </a:lnTo>
                <a:cubicBezTo>
                  <a:pt x="48555" y="35085"/>
                  <a:pt x="48555" y="41115"/>
                  <a:pt x="44835" y="44835"/>
                </a:cubicBezTo>
                <a:cubicBezTo>
                  <a:pt x="41115" y="48555"/>
                  <a:pt x="35085" y="48555"/>
                  <a:pt x="31365" y="44835"/>
                </a:cubicBezTo>
                <a:lnTo>
                  <a:pt x="21840" y="35310"/>
                </a:lnTo>
                <a:cubicBezTo>
                  <a:pt x="18120" y="31590"/>
                  <a:pt x="18120" y="25560"/>
                  <a:pt x="21840" y="21840"/>
                </a:cubicBezTo>
                <a:close/>
                <a:moveTo>
                  <a:pt x="85725" y="0"/>
                </a:moveTo>
                <a:cubicBezTo>
                  <a:pt x="90986" y="0"/>
                  <a:pt x="95250" y="4265"/>
                  <a:pt x="95250" y="9525"/>
                </a:cubicBezTo>
                <a:lnTo>
                  <a:pt x="95250" y="19050"/>
                </a:lnTo>
                <a:cubicBezTo>
                  <a:pt x="95250" y="24310"/>
                  <a:pt x="90986" y="28575"/>
                  <a:pt x="85725" y="28575"/>
                </a:cubicBezTo>
                <a:cubicBezTo>
                  <a:pt x="80464" y="28575"/>
                  <a:pt x="76200" y="24310"/>
                  <a:pt x="76200" y="19050"/>
                </a:cubicBezTo>
                <a:lnTo>
                  <a:pt x="76200" y="9525"/>
                </a:lnTo>
                <a:cubicBezTo>
                  <a:pt x="76200" y="4265"/>
                  <a:pt x="80464" y="0"/>
                  <a:pt x="85725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grpSp>
        <p:nvGrpSpPr>
          <p:cNvPr id="45" name="Группа 44">
            <a:extLst>
              <a:ext uri="{FF2B5EF4-FFF2-40B4-BE49-F238E27FC236}">
                <a16:creationId xmlns:a16="http://schemas.microsoft.com/office/drawing/2014/main" id="{92C43A9F-0476-8E46-8873-DC85E19B0D43}"/>
              </a:ext>
            </a:extLst>
          </p:cNvPr>
          <p:cNvGrpSpPr/>
          <p:nvPr userDrawn="1"/>
        </p:nvGrpSpPr>
        <p:grpSpPr>
          <a:xfrm>
            <a:off x="-2138458" y="3070447"/>
            <a:ext cx="1935384" cy="3787553"/>
            <a:chOff x="-2138458" y="3070447"/>
            <a:chExt cx="1935384" cy="3787553"/>
          </a:xfrm>
        </p:grpSpPr>
        <p:sp>
          <p:nvSpPr>
            <p:cNvPr id="47" name="Прямоугольник: скругленные углы 38">
              <a:extLst>
                <a:ext uri="{FF2B5EF4-FFF2-40B4-BE49-F238E27FC236}">
                  <a16:creationId xmlns:a16="http://schemas.microsoft.com/office/drawing/2014/main" id="{3592B896-2FA0-3D4A-8351-344EB42B4C02}"/>
                </a:ext>
              </a:extLst>
            </p:cNvPr>
            <p:cNvSpPr/>
            <p:nvPr userDrawn="1"/>
          </p:nvSpPr>
          <p:spPr>
            <a:xfrm>
              <a:off x="-2138458" y="3125312"/>
              <a:ext cx="1928241" cy="2468818"/>
            </a:xfrm>
            <a:prstGeom prst="roundRect">
              <a:avLst>
                <a:gd name="adj" fmla="val 5926"/>
              </a:avLst>
            </a:prstGeom>
            <a:solidFill>
              <a:schemeClr val="bg1"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8" name="Прямоугольник: скругленные верхние углы 39">
              <a:extLst>
                <a:ext uri="{FF2B5EF4-FFF2-40B4-BE49-F238E27FC236}">
                  <a16:creationId xmlns:a16="http://schemas.microsoft.com/office/drawing/2014/main" id="{75FBE025-BB73-DD4B-A8D5-C4C46ED5C679}"/>
                </a:ext>
              </a:extLst>
            </p:cNvPr>
            <p:cNvSpPr/>
            <p:nvPr/>
          </p:nvSpPr>
          <p:spPr>
            <a:xfrm>
              <a:off x="-2136930" y="3070447"/>
              <a:ext cx="1926713" cy="28800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36000" rtlCol="0" anchor="ctr"/>
            <a:lstStyle/>
            <a:p>
              <a:pPr algn="ctr"/>
              <a:r>
                <a:rPr lang="ru-RU" sz="1100" b="1">
                  <a:solidFill>
                    <a:schemeClr val="tx1"/>
                  </a:solidFill>
                </a:rPr>
                <a:t>Цвета </a:t>
              </a:r>
              <a:r>
                <a:rPr lang="en-US" sz="1100" b="1">
                  <a:solidFill>
                    <a:schemeClr val="tx1"/>
                  </a:solidFill>
                </a:rPr>
                <a:t>Ozon</a:t>
              </a:r>
              <a:endParaRPr lang="ru-RU" sz="1100" b="1">
                <a:solidFill>
                  <a:schemeClr val="tx1"/>
                </a:solidFill>
              </a:endParaRPr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056D7DD3-FFBE-7242-B7D2-176534F54E49}"/>
                </a:ext>
              </a:extLst>
            </p:cNvPr>
            <p:cNvSpPr txBox="1"/>
            <p:nvPr/>
          </p:nvSpPr>
          <p:spPr>
            <a:xfrm>
              <a:off x="-2003446" y="3412239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текста </a:t>
              </a:r>
            </a:p>
          </p:txBody>
        </p:sp>
        <p:sp>
          <p:nvSpPr>
            <p:cNvPr id="63" name="Прямоугольник: скругленные углы 41">
              <a:extLst>
                <a:ext uri="{FF2B5EF4-FFF2-40B4-BE49-F238E27FC236}">
                  <a16:creationId xmlns:a16="http://schemas.microsoft.com/office/drawing/2014/main" id="{B31AC03A-0175-D74C-8AE2-353A4ED6861A}"/>
                </a:ext>
              </a:extLst>
            </p:cNvPr>
            <p:cNvSpPr/>
            <p:nvPr/>
          </p:nvSpPr>
          <p:spPr>
            <a:xfrm>
              <a:off x="-2004344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8" name="Прямоугольник: скругленные углы 42">
              <a:extLst>
                <a:ext uri="{FF2B5EF4-FFF2-40B4-BE49-F238E27FC236}">
                  <a16:creationId xmlns:a16="http://schemas.microsoft.com/office/drawing/2014/main" id="{6F6124BF-174C-8944-B99C-0F4062465355}"/>
                </a:ext>
              </a:extLst>
            </p:cNvPr>
            <p:cNvSpPr/>
            <p:nvPr/>
          </p:nvSpPr>
          <p:spPr>
            <a:xfrm>
              <a:off x="-1738339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6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AD11BDA7-C5D8-C64B-AE1C-E8F8A1C9D14D}"/>
                </a:ext>
              </a:extLst>
            </p:cNvPr>
            <p:cNvSpPr txBox="1"/>
            <p:nvPr/>
          </p:nvSpPr>
          <p:spPr>
            <a:xfrm>
              <a:off x="-2003446" y="3935644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больших плашек</a:t>
              </a:r>
            </a:p>
          </p:txBody>
        </p:sp>
        <p:sp>
          <p:nvSpPr>
            <p:cNvPr id="70" name="Прямоугольник: скругленные углы 48">
              <a:extLst>
                <a:ext uri="{FF2B5EF4-FFF2-40B4-BE49-F238E27FC236}">
                  <a16:creationId xmlns:a16="http://schemas.microsoft.com/office/drawing/2014/main" id="{EF53E3A6-DFEC-C641-B0E2-A00E918B27C5}"/>
                </a:ext>
              </a:extLst>
            </p:cNvPr>
            <p:cNvSpPr/>
            <p:nvPr userDrawn="1"/>
          </p:nvSpPr>
          <p:spPr>
            <a:xfrm>
              <a:off x="-2004963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3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949C4BC9-A3AD-844A-96E6-79232F1CFBD8}"/>
                </a:ext>
              </a:extLst>
            </p:cNvPr>
            <p:cNvSpPr txBox="1"/>
            <p:nvPr/>
          </p:nvSpPr>
          <p:spPr>
            <a:xfrm>
              <a:off x="-2003446" y="4451492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а маленьких плашек</a:t>
              </a:r>
            </a:p>
          </p:txBody>
        </p:sp>
        <p:sp>
          <p:nvSpPr>
            <p:cNvPr id="72" name="Прямоугольник: скругленные углы 52">
              <a:extLst>
                <a:ext uri="{FF2B5EF4-FFF2-40B4-BE49-F238E27FC236}">
                  <a16:creationId xmlns:a16="http://schemas.microsoft.com/office/drawing/2014/main" id="{9EB91932-7AD2-6D48-8292-684A0FE4E8E9}"/>
                </a:ext>
              </a:extLst>
            </p:cNvPr>
            <p:cNvSpPr/>
            <p:nvPr/>
          </p:nvSpPr>
          <p:spPr>
            <a:xfrm>
              <a:off x="-1739900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B7EDC9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3" name="Прямоугольник: скругленные углы 53">
              <a:extLst>
                <a:ext uri="{FF2B5EF4-FFF2-40B4-BE49-F238E27FC236}">
                  <a16:creationId xmlns:a16="http://schemas.microsoft.com/office/drawing/2014/main" id="{F1123F95-61C9-BC41-851F-37A4F337A429}"/>
                </a:ext>
              </a:extLst>
            </p:cNvPr>
            <p:cNvSpPr/>
            <p:nvPr/>
          </p:nvSpPr>
          <p:spPr>
            <a:xfrm>
              <a:off x="-1474837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FA800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4" name="Прямоугольник: скругленные углы 54">
              <a:extLst>
                <a:ext uri="{FF2B5EF4-FFF2-40B4-BE49-F238E27FC236}">
                  <a16:creationId xmlns:a16="http://schemas.microsoft.com/office/drawing/2014/main" id="{58C05D7D-2813-064B-92D0-74BFD5806436}"/>
                </a:ext>
              </a:extLst>
            </p:cNvPr>
            <p:cNvSpPr/>
            <p:nvPr/>
          </p:nvSpPr>
          <p:spPr>
            <a:xfrm>
              <a:off x="-2004963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10C44C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07645BC9-A0BF-4D49-BE00-7DFC805081F8}"/>
                </a:ext>
              </a:extLst>
            </p:cNvPr>
            <p:cNvSpPr txBox="1"/>
            <p:nvPr/>
          </p:nvSpPr>
          <p:spPr>
            <a:xfrm>
              <a:off x="-2003446" y="4973480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900"/>
                <a:t>Рост / падение показателей</a:t>
              </a:r>
            </a:p>
          </p:txBody>
        </p:sp>
        <p:sp>
          <p:nvSpPr>
            <p:cNvPr id="76" name="Прямоугольник: скругленные углы 43">
              <a:extLst>
                <a:ext uri="{FF2B5EF4-FFF2-40B4-BE49-F238E27FC236}">
                  <a16:creationId xmlns:a16="http://schemas.microsoft.com/office/drawing/2014/main" id="{00C7E176-7354-C741-BDD2-0669745F93C1}"/>
                </a:ext>
              </a:extLst>
            </p:cNvPr>
            <p:cNvSpPr/>
            <p:nvPr/>
          </p:nvSpPr>
          <p:spPr>
            <a:xfrm>
              <a:off x="-2004963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3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7" name="Прямоугольник: скругленные углы 51">
              <a:extLst>
                <a:ext uri="{FF2B5EF4-FFF2-40B4-BE49-F238E27FC236}">
                  <a16:creationId xmlns:a16="http://schemas.microsoft.com/office/drawing/2014/main" id="{57909756-FFD4-3145-97F5-9BB79E50B758}"/>
                </a:ext>
              </a:extLst>
            </p:cNvPr>
            <p:cNvSpPr/>
            <p:nvPr/>
          </p:nvSpPr>
          <p:spPr>
            <a:xfrm>
              <a:off x="-1740264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2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8" name="Прямоугольник: скругленные углы 56">
              <a:extLst>
                <a:ext uri="{FF2B5EF4-FFF2-40B4-BE49-F238E27FC236}">
                  <a16:creationId xmlns:a16="http://schemas.microsoft.com/office/drawing/2014/main" id="{832B66E4-B192-A743-9E98-874C0FA10087}"/>
                </a:ext>
              </a:extLst>
            </p:cNvPr>
            <p:cNvSpPr/>
            <p:nvPr/>
          </p:nvSpPr>
          <p:spPr>
            <a:xfrm>
              <a:off x="-1474837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9" name="Прямоугольник: скругленные углы 57">
              <a:extLst>
                <a:ext uri="{FF2B5EF4-FFF2-40B4-BE49-F238E27FC236}">
                  <a16:creationId xmlns:a16="http://schemas.microsoft.com/office/drawing/2014/main" id="{969AA322-3BB8-2846-B111-4DF55CA946C4}"/>
                </a:ext>
              </a:extLst>
            </p:cNvPr>
            <p:cNvSpPr/>
            <p:nvPr/>
          </p:nvSpPr>
          <p:spPr>
            <a:xfrm>
              <a:off x="-2131314" y="5782119"/>
              <a:ext cx="1928240" cy="1075881"/>
            </a:xfrm>
            <a:prstGeom prst="roundRect">
              <a:avLst>
                <a:gd name="adj" fmla="val 12985"/>
              </a:avLst>
            </a:prstGeom>
            <a:solidFill>
              <a:schemeClr val="bg1"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0" name="TextBox 79">
              <a:extLst>
                <a:ext uri="{FF2B5EF4-FFF2-40B4-BE49-F238E27FC236}">
                  <a16:creationId xmlns:a16="http://schemas.microsoft.com/office/drawing/2014/main" id="{7DD47492-6CB9-E24B-8BA9-E4B195881205}"/>
                </a:ext>
              </a:extLst>
            </p:cNvPr>
            <p:cNvSpPr txBox="1"/>
            <p:nvPr/>
          </p:nvSpPr>
          <p:spPr>
            <a:xfrm>
              <a:off x="-1788338" y="5868204"/>
              <a:ext cx="1155882" cy="15109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l">
                <a:lnSpc>
                  <a:spcPct val="90000"/>
                </a:lnSpc>
              </a:pPr>
              <a:r>
                <a:rPr lang="ru-RU" sz="1000" b="1">
                  <a:solidFill>
                    <a:schemeClr val="accent1"/>
                  </a:solidFill>
                </a:rPr>
                <a:t>Шаблон </a:t>
              </a:r>
              <a:r>
                <a:rPr lang="en-US" sz="1000" b="1">
                  <a:solidFill>
                    <a:schemeClr val="accent1"/>
                  </a:solidFill>
                </a:rPr>
                <a:t>Ozon</a:t>
              </a:r>
              <a:endParaRPr lang="ru-RU" sz="1000" b="1">
                <a:solidFill>
                  <a:schemeClr val="accent1"/>
                </a:solidFill>
              </a:endParaRPr>
            </a:p>
          </p:txBody>
        </p:sp>
        <p:sp>
          <p:nvSpPr>
            <p:cNvPr id="81" name="Рисунок 93">
              <a:extLst>
                <a:ext uri="{FF2B5EF4-FFF2-40B4-BE49-F238E27FC236}">
                  <a16:creationId xmlns:a16="http://schemas.microsoft.com/office/drawing/2014/main" id="{5FE6F21E-47B9-FB43-BE0E-68513CDA9ED8}"/>
                </a:ext>
              </a:extLst>
            </p:cNvPr>
            <p:cNvSpPr/>
            <p:nvPr/>
          </p:nvSpPr>
          <p:spPr>
            <a:xfrm>
              <a:off x="-2004963" y="5853908"/>
              <a:ext cx="161099" cy="161099"/>
            </a:xfrm>
            <a:custGeom>
              <a:avLst/>
              <a:gdLst>
                <a:gd name="connsiteX0" fmla="*/ 85725 w 171450"/>
                <a:gd name="connsiteY0" fmla="*/ 171450 h 171450"/>
                <a:gd name="connsiteX1" fmla="*/ 171450 w 171450"/>
                <a:gd name="connsiteY1" fmla="*/ 85725 h 171450"/>
                <a:gd name="connsiteX2" fmla="*/ 85725 w 171450"/>
                <a:gd name="connsiteY2" fmla="*/ 0 h 171450"/>
                <a:gd name="connsiteX3" fmla="*/ 0 w 171450"/>
                <a:gd name="connsiteY3" fmla="*/ 85725 h 171450"/>
                <a:gd name="connsiteX4" fmla="*/ 85725 w 171450"/>
                <a:gd name="connsiteY4" fmla="*/ 171450 h 171450"/>
                <a:gd name="connsiteX5" fmla="*/ 130560 w 171450"/>
                <a:gd name="connsiteY5" fmla="*/ 73410 h 171450"/>
                <a:gd name="connsiteX6" fmla="*/ 82935 w 171450"/>
                <a:gd name="connsiteY6" fmla="*/ 121035 h 171450"/>
                <a:gd name="connsiteX7" fmla="*/ 69465 w 171450"/>
                <a:gd name="connsiteY7" fmla="*/ 121035 h 171450"/>
                <a:gd name="connsiteX8" fmla="*/ 40890 w 171450"/>
                <a:gd name="connsiteY8" fmla="*/ 92460 h 171450"/>
                <a:gd name="connsiteX9" fmla="*/ 40890 w 171450"/>
                <a:gd name="connsiteY9" fmla="*/ 78990 h 171450"/>
                <a:gd name="connsiteX10" fmla="*/ 54360 w 171450"/>
                <a:gd name="connsiteY10" fmla="*/ 78990 h 171450"/>
                <a:gd name="connsiteX11" fmla="*/ 76200 w 171450"/>
                <a:gd name="connsiteY11" fmla="*/ 100830 h 171450"/>
                <a:gd name="connsiteX12" fmla="*/ 117090 w 171450"/>
                <a:gd name="connsiteY12" fmla="*/ 59940 h 171450"/>
                <a:gd name="connsiteX13" fmla="*/ 130560 w 171450"/>
                <a:gd name="connsiteY13" fmla="*/ 59940 h 171450"/>
                <a:gd name="connsiteX14" fmla="*/ 130560 w 171450"/>
                <a:gd name="connsiteY14" fmla="*/ 7341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71450" h="171450">
                  <a:moveTo>
                    <a:pt x="85725" y="171450"/>
                  </a:moveTo>
                  <a:cubicBezTo>
                    <a:pt x="138915" y="171450"/>
                    <a:pt x="171450" y="138915"/>
                    <a:pt x="171450" y="85725"/>
                  </a:cubicBezTo>
                  <a:cubicBezTo>
                    <a:pt x="171450" y="32535"/>
                    <a:pt x="138915" y="0"/>
                    <a:pt x="85725" y="0"/>
                  </a:cubicBezTo>
                  <a:cubicBezTo>
                    <a:pt x="32535" y="0"/>
                    <a:pt x="0" y="32535"/>
                    <a:pt x="0" y="85725"/>
                  </a:cubicBezTo>
                  <a:cubicBezTo>
                    <a:pt x="0" y="138915"/>
                    <a:pt x="32535" y="171450"/>
                    <a:pt x="85725" y="171450"/>
                  </a:cubicBezTo>
                  <a:close/>
                  <a:moveTo>
                    <a:pt x="130560" y="73410"/>
                  </a:moveTo>
                  <a:lnTo>
                    <a:pt x="82935" y="121035"/>
                  </a:lnTo>
                  <a:cubicBezTo>
                    <a:pt x="79216" y="124755"/>
                    <a:pt x="73184" y="124755"/>
                    <a:pt x="69465" y="121035"/>
                  </a:cubicBezTo>
                  <a:lnTo>
                    <a:pt x="40890" y="92460"/>
                  </a:lnTo>
                  <a:cubicBezTo>
                    <a:pt x="37170" y="88741"/>
                    <a:pt x="37170" y="82709"/>
                    <a:pt x="40890" y="78990"/>
                  </a:cubicBezTo>
                  <a:cubicBezTo>
                    <a:pt x="44610" y="75270"/>
                    <a:pt x="50640" y="75270"/>
                    <a:pt x="54360" y="78990"/>
                  </a:cubicBezTo>
                  <a:lnTo>
                    <a:pt x="76200" y="100830"/>
                  </a:lnTo>
                  <a:lnTo>
                    <a:pt x="117090" y="59940"/>
                  </a:lnTo>
                  <a:cubicBezTo>
                    <a:pt x="120809" y="56220"/>
                    <a:pt x="126841" y="56220"/>
                    <a:pt x="130560" y="59940"/>
                  </a:cubicBezTo>
                  <a:cubicBezTo>
                    <a:pt x="134280" y="63660"/>
                    <a:pt x="134280" y="69691"/>
                    <a:pt x="130560" y="7341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41EFEE38-AFEB-7548-87F9-5EF298944F17}"/>
                </a:ext>
              </a:extLst>
            </p:cNvPr>
            <p:cNvSpPr txBox="1"/>
            <p:nvPr userDrawn="1"/>
          </p:nvSpPr>
          <p:spPr>
            <a:xfrm>
              <a:off x="-2004962" y="6072106"/>
              <a:ext cx="1687587" cy="60024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>
                <a:lnSpc>
                  <a:spcPct val="110000"/>
                </a:lnSpc>
              </a:pPr>
              <a:r>
                <a:rPr lang="ru-RU" sz="900" spc="-30" baseline="0">
                  <a:solidFill>
                    <a:schemeClr val="tx2"/>
                  </a:solidFill>
                </a:rPr>
                <a:t>Если нужно больше материалов: </a:t>
              </a:r>
              <a:r>
                <a:rPr lang="ru-RU" sz="900" b="1" spc="-30" baseline="0">
                  <a:solidFill>
                    <a:schemeClr val="tx2"/>
                  </a:solidFill>
                </a:rPr>
                <a:t>правое меню </a:t>
              </a:r>
              <a:r>
                <a:rPr lang="en-US" sz="900" b="1" spc="-30" baseline="0">
                  <a:solidFill>
                    <a:schemeClr val="tx2"/>
                  </a:solidFill>
                </a:rPr>
                <a:t>Staff — Brand </a:t>
              </a:r>
              <a:r>
                <a:rPr lang="ru-RU" sz="900" b="1" spc="-30" baseline="0">
                  <a:solidFill>
                    <a:schemeClr val="tx2"/>
                  </a:solidFill>
                </a:rPr>
                <a:t>— Всё для презентаций. </a:t>
              </a:r>
              <a:r>
                <a:rPr lang="ru-RU" sz="900" b="0" spc="-30" baseline="0">
                  <a:solidFill>
                    <a:schemeClr val="tx2"/>
                  </a:solidFill>
                </a:rPr>
                <a:t>Или пиши нам на </a:t>
              </a:r>
              <a:r>
                <a:rPr lang="en-US" sz="900" b="0" spc="-30" baseline="0">
                  <a:solidFill>
                    <a:schemeClr val="tx2"/>
                  </a:solidFill>
                </a:rPr>
                <a:t>presentations@ozon.ru.</a:t>
              </a:r>
              <a:r>
                <a:rPr lang="ru-RU" sz="900" b="0" spc="-30" baseline="0">
                  <a:solidFill>
                    <a:schemeClr val="tx2"/>
                  </a:solidFill>
                </a:rPr>
                <a:t> </a:t>
              </a:r>
            </a:p>
          </p:txBody>
        </p:sp>
        <p:sp>
          <p:nvSpPr>
            <p:cNvPr id="83" name="Прямоугольник: скругленные углы 63">
              <a:extLst>
                <a:ext uri="{FF2B5EF4-FFF2-40B4-BE49-F238E27FC236}">
                  <a16:creationId xmlns:a16="http://schemas.microsoft.com/office/drawing/2014/main" id="{B096428A-BA57-714F-AE88-83D0A1C5C8CE}"/>
                </a:ext>
              </a:extLst>
            </p:cNvPr>
            <p:cNvSpPr/>
            <p:nvPr/>
          </p:nvSpPr>
          <p:spPr>
            <a:xfrm>
              <a:off x="-944711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53C14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4" name="Прямоугольник: скругленные углы 64">
              <a:extLst>
                <a:ext uri="{FF2B5EF4-FFF2-40B4-BE49-F238E27FC236}">
                  <a16:creationId xmlns:a16="http://schemas.microsoft.com/office/drawing/2014/main" id="{D8358B04-5791-8242-8695-3D6689CC1F4B}"/>
                </a:ext>
              </a:extLst>
            </p:cNvPr>
            <p:cNvSpPr/>
            <p:nvPr/>
          </p:nvSpPr>
          <p:spPr>
            <a:xfrm>
              <a:off x="-679648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CC4B8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5" name="Прямоугольник: скругленные углы 65">
              <a:extLst>
                <a:ext uri="{FF2B5EF4-FFF2-40B4-BE49-F238E27FC236}">
                  <a16:creationId xmlns:a16="http://schemas.microsoft.com/office/drawing/2014/main" id="{A9198495-B106-B445-BBF9-AAA4D713653A}"/>
                </a:ext>
              </a:extLst>
            </p:cNvPr>
            <p:cNvSpPr/>
            <p:nvPr/>
          </p:nvSpPr>
          <p:spPr>
            <a:xfrm>
              <a:off x="-1209774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FE5B2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6" name="Прямоугольник: скругленные верхние углы 12">
              <a:extLst>
                <a:ext uri="{FF2B5EF4-FFF2-40B4-BE49-F238E27FC236}">
                  <a16:creationId xmlns:a16="http://schemas.microsoft.com/office/drawing/2014/main" id="{BB476DC2-4E90-224A-B664-9896A68CC16E}"/>
                </a:ext>
              </a:extLst>
            </p:cNvPr>
            <p:cNvSpPr/>
            <p:nvPr/>
          </p:nvSpPr>
          <p:spPr>
            <a:xfrm>
              <a:off x="-2136930" y="3070447"/>
              <a:ext cx="1926713" cy="28800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36000" rtlCol="0" anchor="ctr"/>
            <a:lstStyle/>
            <a:p>
              <a:pPr algn="ctr"/>
              <a:r>
                <a:rPr lang="ru-RU" sz="1100" b="1">
                  <a:solidFill>
                    <a:schemeClr val="tx1"/>
                  </a:solidFill>
                </a:rPr>
                <a:t>Цвета </a:t>
              </a:r>
              <a:r>
                <a:rPr lang="en-US" sz="1100" b="1">
                  <a:solidFill>
                    <a:schemeClr val="tx1"/>
                  </a:solidFill>
                </a:rPr>
                <a:t>Ozon</a:t>
              </a:r>
              <a:endParaRPr lang="ru-RU" sz="1100" b="1">
                <a:solidFill>
                  <a:schemeClr val="tx1"/>
                </a:solidFill>
              </a:endParaRPr>
            </a:p>
          </p:txBody>
        </p:sp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39C50795-E14E-5549-85AC-9F99FA10E81B}"/>
                </a:ext>
              </a:extLst>
            </p:cNvPr>
            <p:cNvSpPr txBox="1"/>
            <p:nvPr/>
          </p:nvSpPr>
          <p:spPr>
            <a:xfrm>
              <a:off x="-2003446" y="3412239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текста </a:t>
              </a:r>
            </a:p>
          </p:txBody>
        </p:sp>
        <p:sp>
          <p:nvSpPr>
            <p:cNvPr id="88" name="Прямоугольник: скругленные углы 15">
              <a:extLst>
                <a:ext uri="{FF2B5EF4-FFF2-40B4-BE49-F238E27FC236}">
                  <a16:creationId xmlns:a16="http://schemas.microsoft.com/office/drawing/2014/main" id="{241AB51B-A791-DE4F-B0C0-F7C6B1020A0C}"/>
                </a:ext>
              </a:extLst>
            </p:cNvPr>
            <p:cNvSpPr/>
            <p:nvPr/>
          </p:nvSpPr>
          <p:spPr>
            <a:xfrm>
              <a:off x="-2004344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9" name="Прямоугольник: скругленные углы 16">
              <a:extLst>
                <a:ext uri="{FF2B5EF4-FFF2-40B4-BE49-F238E27FC236}">
                  <a16:creationId xmlns:a16="http://schemas.microsoft.com/office/drawing/2014/main" id="{77BEC62D-D479-B345-8CEF-1A31FEF8388B}"/>
                </a:ext>
              </a:extLst>
            </p:cNvPr>
            <p:cNvSpPr/>
            <p:nvPr/>
          </p:nvSpPr>
          <p:spPr>
            <a:xfrm>
              <a:off x="-1738339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6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0" name="TextBox 89">
              <a:extLst>
                <a:ext uri="{FF2B5EF4-FFF2-40B4-BE49-F238E27FC236}">
                  <a16:creationId xmlns:a16="http://schemas.microsoft.com/office/drawing/2014/main" id="{B024F6F0-6699-9F47-8ED3-42B0BCFD5EBA}"/>
                </a:ext>
              </a:extLst>
            </p:cNvPr>
            <p:cNvSpPr txBox="1"/>
            <p:nvPr/>
          </p:nvSpPr>
          <p:spPr>
            <a:xfrm>
              <a:off x="-1788338" y="5868204"/>
              <a:ext cx="1155882" cy="15109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l">
                <a:lnSpc>
                  <a:spcPct val="90000"/>
                </a:lnSpc>
              </a:pPr>
              <a:r>
                <a:rPr lang="ru-RU" sz="1000" b="1">
                  <a:solidFill>
                    <a:schemeClr val="accent1"/>
                  </a:solidFill>
                </a:rPr>
                <a:t>Шаблон </a:t>
              </a:r>
              <a:r>
                <a:rPr lang="en-US" sz="1000" b="1">
                  <a:solidFill>
                    <a:schemeClr val="accent1"/>
                  </a:solidFill>
                </a:rPr>
                <a:t>Ozon</a:t>
              </a:r>
              <a:endParaRPr lang="ru-RU" sz="1000" b="1">
                <a:solidFill>
                  <a:schemeClr val="accent1"/>
                </a:solidFill>
              </a:endParaRPr>
            </a:p>
          </p:txBody>
        </p:sp>
        <p:sp>
          <p:nvSpPr>
            <p:cNvPr id="91" name="Прямоугольник: скругленные углы 48">
              <a:extLst>
                <a:ext uri="{FF2B5EF4-FFF2-40B4-BE49-F238E27FC236}">
                  <a16:creationId xmlns:a16="http://schemas.microsoft.com/office/drawing/2014/main" id="{DFD2B243-C457-3449-AEBD-AAB7B16D77BC}"/>
                </a:ext>
              </a:extLst>
            </p:cNvPr>
            <p:cNvSpPr/>
            <p:nvPr userDrawn="1"/>
          </p:nvSpPr>
          <p:spPr>
            <a:xfrm>
              <a:off x="-1741352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1">
                <a:lumMod val="75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21010734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8">
          <p15:clr>
            <a:srgbClr val="F26B43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Read 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: скругленные углы 1">
            <a:extLst>
              <a:ext uri="{FF2B5EF4-FFF2-40B4-BE49-F238E27FC236}">
                <a16:creationId xmlns:a16="http://schemas.microsoft.com/office/drawing/2014/main" id="{842F427E-A7B0-ED26-5BAD-60F49256F445}"/>
              </a:ext>
            </a:extLst>
          </p:cNvPr>
          <p:cNvSpPr/>
          <p:nvPr/>
        </p:nvSpPr>
        <p:spPr>
          <a:xfrm>
            <a:off x="8769966" y="411163"/>
            <a:ext cx="2780684" cy="3570453"/>
          </a:xfrm>
          <a:prstGeom prst="roundRect">
            <a:avLst>
              <a:gd name="adj" fmla="val 5689"/>
            </a:avLst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0000"/>
              </a:solidFill>
            </a:endParaRPr>
          </a:p>
        </p:txBody>
      </p:sp>
      <p:sp>
        <p:nvSpPr>
          <p:cNvPr id="4" name="Прямоугольник: скругленные углы 3">
            <a:extLst>
              <a:ext uri="{FF2B5EF4-FFF2-40B4-BE49-F238E27FC236}">
                <a16:creationId xmlns:a16="http://schemas.microsoft.com/office/drawing/2014/main" id="{0C473BD7-ACD7-EB2B-FB86-6B31E90DB1BC}"/>
              </a:ext>
            </a:extLst>
          </p:cNvPr>
          <p:cNvSpPr/>
          <p:nvPr/>
        </p:nvSpPr>
        <p:spPr>
          <a:xfrm>
            <a:off x="638969" y="1721762"/>
            <a:ext cx="3636962" cy="2552284"/>
          </a:xfrm>
          <a:prstGeom prst="roundRect">
            <a:avLst>
              <a:gd name="adj" fmla="val 5361"/>
            </a:avLst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0000"/>
              </a:solidFill>
            </a:endParaRPr>
          </a:p>
        </p:txBody>
      </p:sp>
      <p:sp>
        <p:nvSpPr>
          <p:cNvPr id="5" name="Рисунок 7">
            <a:extLst>
              <a:ext uri="{FF2B5EF4-FFF2-40B4-BE49-F238E27FC236}">
                <a16:creationId xmlns:a16="http://schemas.microsoft.com/office/drawing/2014/main" id="{D3FB9A76-953C-033C-61F9-0AC886567100}"/>
              </a:ext>
            </a:extLst>
          </p:cNvPr>
          <p:cNvSpPr/>
          <p:nvPr/>
        </p:nvSpPr>
        <p:spPr>
          <a:xfrm>
            <a:off x="3983413" y="1943086"/>
            <a:ext cx="145227" cy="145227"/>
          </a:xfrm>
          <a:custGeom>
            <a:avLst/>
            <a:gdLst>
              <a:gd name="connsiteX0" fmla="*/ 77217 w 152401"/>
              <a:gd name="connsiteY0" fmla="*/ 22562 h 152401"/>
              <a:gd name="connsiteX1" fmla="*/ 92075 w 152401"/>
              <a:gd name="connsiteY1" fmla="*/ 7 h 152401"/>
              <a:gd name="connsiteX2" fmla="*/ 133350 w 152401"/>
              <a:gd name="connsiteY2" fmla="*/ 19051 h 152401"/>
              <a:gd name="connsiteX3" fmla="*/ 152394 w 152401"/>
              <a:gd name="connsiteY3" fmla="*/ 60327 h 152401"/>
              <a:gd name="connsiteX4" fmla="*/ 129839 w 152401"/>
              <a:gd name="connsiteY4" fmla="*/ 75185 h 152401"/>
              <a:gd name="connsiteX5" fmla="*/ 104775 w 152401"/>
              <a:gd name="connsiteY5" fmla="*/ 85726 h 152401"/>
              <a:gd name="connsiteX6" fmla="*/ 95250 w 152401"/>
              <a:gd name="connsiteY6" fmla="*/ 114301 h 152401"/>
              <a:gd name="connsiteX7" fmla="*/ 79661 w 152401"/>
              <a:gd name="connsiteY7" fmla="*/ 142876 h 152401"/>
              <a:gd name="connsiteX8" fmla="*/ 45652 w 152401"/>
              <a:gd name="connsiteY8" fmla="*/ 120220 h 152401"/>
              <a:gd name="connsiteX9" fmla="*/ 16260 w 152401"/>
              <a:gd name="connsiteY9" fmla="*/ 149611 h 152401"/>
              <a:gd name="connsiteX10" fmla="*/ 2790 w 152401"/>
              <a:gd name="connsiteY10" fmla="*/ 149611 h 152401"/>
              <a:gd name="connsiteX11" fmla="*/ 2790 w 152401"/>
              <a:gd name="connsiteY11" fmla="*/ 136141 h 152401"/>
              <a:gd name="connsiteX12" fmla="*/ 32181 w 152401"/>
              <a:gd name="connsiteY12" fmla="*/ 106750 h 152401"/>
              <a:gd name="connsiteX13" fmla="*/ 9525 w 152401"/>
              <a:gd name="connsiteY13" fmla="*/ 72740 h 152401"/>
              <a:gd name="connsiteX14" fmla="*/ 38100 w 152401"/>
              <a:gd name="connsiteY14" fmla="*/ 57151 h 152401"/>
              <a:gd name="connsiteX15" fmla="*/ 66675 w 152401"/>
              <a:gd name="connsiteY15" fmla="*/ 47626 h 152401"/>
              <a:gd name="connsiteX16" fmla="*/ 77217 w 152401"/>
              <a:gd name="connsiteY16" fmla="*/ 22562 h 152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2401" h="152401">
                <a:moveTo>
                  <a:pt x="77217" y="22562"/>
                </a:moveTo>
                <a:cubicBezTo>
                  <a:pt x="78455" y="11424"/>
                  <a:pt x="79696" y="259"/>
                  <a:pt x="92075" y="7"/>
                </a:cubicBezTo>
                <a:cubicBezTo>
                  <a:pt x="105589" y="-267"/>
                  <a:pt x="121580" y="7281"/>
                  <a:pt x="133350" y="19051"/>
                </a:cubicBezTo>
                <a:cubicBezTo>
                  <a:pt x="145120" y="30821"/>
                  <a:pt x="152669" y="46812"/>
                  <a:pt x="152394" y="60327"/>
                </a:cubicBezTo>
                <a:cubicBezTo>
                  <a:pt x="152143" y="72705"/>
                  <a:pt x="140978" y="73947"/>
                  <a:pt x="129839" y="75185"/>
                </a:cubicBezTo>
                <a:cubicBezTo>
                  <a:pt x="119294" y="76356"/>
                  <a:pt x="112095" y="78457"/>
                  <a:pt x="104775" y="85726"/>
                </a:cubicBezTo>
                <a:cubicBezTo>
                  <a:pt x="98766" y="91699"/>
                  <a:pt x="95250" y="103983"/>
                  <a:pt x="95250" y="114301"/>
                </a:cubicBezTo>
                <a:cubicBezTo>
                  <a:pt x="95250" y="124621"/>
                  <a:pt x="95247" y="142876"/>
                  <a:pt x="79661" y="142876"/>
                </a:cubicBezTo>
                <a:cubicBezTo>
                  <a:pt x="73049" y="142876"/>
                  <a:pt x="59265" y="132876"/>
                  <a:pt x="45652" y="120220"/>
                </a:cubicBezTo>
                <a:lnTo>
                  <a:pt x="16260" y="149611"/>
                </a:lnTo>
                <a:cubicBezTo>
                  <a:pt x="12540" y="153332"/>
                  <a:pt x="6510" y="153332"/>
                  <a:pt x="2790" y="149611"/>
                </a:cubicBezTo>
                <a:cubicBezTo>
                  <a:pt x="-930" y="145892"/>
                  <a:pt x="-930" y="139861"/>
                  <a:pt x="2790" y="136141"/>
                </a:cubicBezTo>
                <a:lnTo>
                  <a:pt x="32181" y="106750"/>
                </a:lnTo>
                <a:cubicBezTo>
                  <a:pt x="19525" y="93137"/>
                  <a:pt x="9525" y="79353"/>
                  <a:pt x="9525" y="72740"/>
                </a:cubicBezTo>
                <a:cubicBezTo>
                  <a:pt x="9525" y="57154"/>
                  <a:pt x="27781" y="57151"/>
                  <a:pt x="38100" y="57151"/>
                </a:cubicBezTo>
                <a:cubicBezTo>
                  <a:pt x="48419" y="57151"/>
                  <a:pt x="60702" y="53635"/>
                  <a:pt x="66675" y="47626"/>
                </a:cubicBezTo>
                <a:cubicBezTo>
                  <a:pt x="73017" y="39560"/>
                  <a:pt x="76045" y="33113"/>
                  <a:pt x="77217" y="22562"/>
                </a:cubicBezTo>
                <a:close/>
              </a:path>
            </a:pathLst>
          </a:custGeom>
          <a:solidFill>
            <a:schemeClr val="accent6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49C6957-2D3E-DC29-1E26-B13045C7740D}"/>
              </a:ext>
            </a:extLst>
          </p:cNvPr>
          <p:cNvSpPr txBox="1"/>
          <p:nvPr/>
        </p:nvSpPr>
        <p:spPr>
          <a:xfrm>
            <a:off x="851401" y="1908000"/>
            <a:ext cx="2741705" cy="25329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</a:pPr>
            <a:r>
              <a:rPr lang="ru-RU" b="1" dirty="0">
                <a:solidFill>
                  <a:schemeClr val="tx1"/>
                </a:solidFill>
              </a:rPr>
              <a:t>И шрифтом единым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9217C2A-0738-0EEE-9E4D-8690A4CD65E8}"/>
              </a:ext>
            </a:extLst>
          </p:cNvPr>
          <p:cNvSpPr txBox="1"/>
          <p:nvPr/>
        </p:nvSpPr>
        <p:spPr>
          <a:xfrm>
            <a:off x="835809" y="2582400"/>
            <a:ext cx="3092566" cy="20233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</a:pPr>
            <a:r>
              <a:rPr lang="en-US" sz="1200">
                <a:latin typeface="+mj-lt"/>
              </a:rPr>
              <a:t>Arial Black </a:t>
            </a:r>
            <a:r>
              <a:rPr lang="ru-RU" sz="1200" spc="-30"/>
              <a:t>— заголовки и крупные цифры</a:t>
            </a:r>
            <a:r>
              <a:rPr lang="en-US" sz="1200" spc="-30"/>
              <a:t>.</a:t>
            </a:r>
            <a:endParaRPr lang="ru-RU" sz="1200" spc="-3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00CEFE1-B494-61DA-7233-8F84B2D4A63F}"/>
              </a:ext>
            </a:extLst>
          </p:cNvPr>
          <p:cNvSpPr txBox="1"/>
          <p:nvPr/>
        </p:nvSpPr>
        <p:spPr>
          <a:xfrm>
            <a:off x="835809" y="2805095"/>
            <a:ext cx="1985972" cy="20233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</a:pPr>
            <a:r>
              <a:rPr lang="en-US" sz="1200"/>
              <a:t>Arial</a:t>
            </a:r>
            <a:r>
              <a:rPr lang="ru-RU" sz="1200"/>
              <a:t> </a:t>
            </a:r>
            <a:r>
              <a:rPr lang="ru-RU" sz="1200" spc="-30"/>
              <a:t>— любой другой текст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9796C81-ACEB-6FF7-3F09-50647F7191D9}"/>
              </a:ext>
            </a:extLst>
          </p:cNvPr>
          <p:cNvSpPr txBox="1"/>
          <p:nvPr/>
        </p:nvSpPr>
        <p:spPr>
          <a:xfrm>
            <a:off x="851401" y="2291808"/>
            <a:ext cx="3339825" cy="2023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ru-RU" sz="1200" dirty="0"/>
              <a:t>Настроили универсальные шрифты.*</a:t>
            </a:r>
          </a:p>
        </p:txBody>
      </p:sp>
      <p:sp>
        <p:nvSpPr>
          <p:cNvPr id="10" name="Прямоугольник: скругленные углы 9">
            <a:extLst>
              <a:ext uri="{FF2B5EF4-FFF2-40B4-BE49-F238E27FC236}">
                <a16:creationId xmlns:a16="http://schemas.microsoft.com/office/drawing/2014/main" id="{6104178C-EF19-C749-314C-B1E58E8E5C6D}"/>
              </a:ext>
            </a:extLst>
          </p:cNvPr>
          <p:cNvSpPr/>
          <p:nvPr/>
        </p:nvSpPr>
        <p:spPr>
          <a:xfrm>
            <a:off x="1023002" y="3108184"/>
            <a:ext cx="728387" cy="570495"/>
          </a:xfrm>
          <a:prstGeom prst="roundRect">
            <a:avLst>
              <a:gd name="adj" fmla="val 8253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900">
              <a:solidFill>
                <a:schemeClr val="tx2"/>
              </a:solidFill>
            </a:endParaRPr>
          </a:p>
        </p:txBody>
      </p:sp>
      <p:sp>
        <p:nvSpPr>
          <p:cNvPr id="11" name="Прямоугольник: скругленные углы 10">
            <a:extLst>
              <a:ext uri="{FF2B5EF4-FFF2-40B4-BE49-F238E27FC236}">
                <a16:creationId xmlns:a16="http://schemas.microsoft.com/office/drawing/2014/main" id="{3F3BD349-C9D0-48CC-C2A2-95B33D646EDF}"/>
              </a:ext>
            </a:extLst>
          </p:cNvPr>
          <p:cNvSpPr/>
          <p:nvPr/>
        </p:nvSpPr>
        <p:spPr>
          <a:xfrm>
            <a:off x="835809" y="3108185"/>
            <a:ext cx="147470" cy="242152"/>
          </a:xfrm>
          <a:prstGeom prst="roundRect">
            <a:avLst>
              <a:gd name="adj" fmla="val 20249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400" err="1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D30B6D2-C461-1492-330C-20FD7AE1013F}"/>
              </a:ext>
            </a:extLst>
          </p:cNvPr>
          <p:cNvSpPr txBox="1"/>
          <p:nvPr/>
        </p:nvSpPr>
        <p:spPr>
          <a:xfrm>
            <a:off x="1844353" y="3115599"/>
            <a:ext cx="2235410" cy="54717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ru-RU" sz="1200" spc="-30"/>
              <a:t>Слева от слайда добавили подсказки по подбору размера текста в разных ситуациях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11821C8-FA09-F9AC-8D01-112C77DF8540}"/>
              </a:ext>
            </a:extLst>
          </p:cNvPr>
          <p:cNvSpPr txBox="1"/>
          <p:nvPr/>
        </p:nvSpPr>
        <p:spPr>
          <a:xfrm>
            <a:off x="851401" y="3789831"/>
            <a:ext cx="2916590" cy="3344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ru-RU" sz="1000">
                <a:solidFill>
                  <a:schemeClr val="accent6">
                    <a:lumMod val="75000"/>
                  </a:schemeClr>
                </a:solidFill>
              </a:rPr>
              <a:t>* По правилам бренда фирменный шрифт </a:t>
            </a:r>
            <a:r>
              <a:rPr lang="en-US" sz="1000">
                <a:solidFill>
                  <a:schemeClr val="accent6">
                    <a:lumMod val="75000"/>
                  </a:schemeClr>
                </a:solidFill>
              </a:rPr>
              <a:t>Ozon GT </a:t>
            </a:r>
            <a:r>
              <a:rPr lang="en-US" sz="1000" err="1">
                <a:solidFill>
                  <a:schemeClr val="accent6">
                    <a:lumMod val="75000"/>
                  </a:schemeClr>
                </a:solidFill>
              </a:rPr>
              <a:t>Eesti</a:t>
            </a:r>
            <a:r>
              <a:rPr lang="en-US" sz="1000">
                <a:solidFill>
                  <a:schemeClr val="accent6">
                    <a:lumMod val="75000"/>
                  </a:schemeClr>
                </a:solidFill>
              </a:rPr>
              <a:t> </a:t>
            </a:r>
            <a:r>
              <a:rPr lang="ru-RU" sz="1000">
                <a:solidFill>
                  <a:schemeClr val="accent6">
                    <a:lumMod val="75000"/>
                  </a:schemeClr>
                </a:solidFill>
              </a:rPr>
              <a:t>в презентациях не используется.</a:t>
            </a:r>
          </a:p>
        </p:txBody>
      </p:sp>
      <p:sp>
        <p:nvSpPr>
          <p:cNvPr id="14" name="Прямоугольник: скругленные углы 13">
            <a:extLst>
              <a:ext uri="{FF2B5EF4-FFF2-40B4-BE49-F238E27FC236}">
                <a16:creationId xmlns:a16="http://schemas.microsoft.com/office/drawing/2014/main" id="{C4AD015F-EE11-7D88-0C79-B09991610136}"/>
              </a:ext>
            </a:extLst>
          </p:cNvPr>
          <p:cNvSpPr/>
          <p:nvPr/>
        </p:nvSpPr>
        <p:spPr>
          <a:xfrm>
            <a:off x="639763" y="4535412"/>
            <a:ext cx="3636962" cy="1734939"/>
          </a:xfrm>
          <a:prstGeom prst="roundRect">
            <a:avLst>
              <a:gd name="adj" fmla="val 10391"/>
            </a:avLst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0000"/>
              </a:solidFill>
            </a:endParaRPr>
          </a:p>
        </p:txBody>
      </p:sp>
      <p:sp>
        <p:nvSpPr>
          <p:cNvPr id="15" name="Рисунок 7">
            <a:extLst>
              <a:ext uri="{FF2B5EF4-FFF2-40B4-BE49-F238E27FC236}">
                <a16:creationId xmlns:a16="http://schemas.microsoft.com/office/drawing/2014/main" id="{FA43BDE8-D7A0-0C27-C6CD-029C50B868D5}"/>
              </a:ext>
            </a:extLst>
          </p:cNvPr>
          <p:cNvSpPr/>
          <p:nvPr/>
        </p:nvSpPr>
        <p:spPr>
          <a:xfrm>
            <a:off x="3984207" y="4656592"/>
            <a:ext cx="145227" cy="145227"/>
          </a:xfrm>
          <a:custGeom>
            <a:avLst/>
            <a:gdLst>
              <a:gd name="connsiteX0" fmla="*/ 77217 w 152401"/>
              <a:gd name="connsiteY0" fmla="*/ 22562 h 152401"/>
              <a:gd name="connsiteX1" fmla="*/ 92075 w 152401"/>
              <a:gd name="connsiteY1" fmla="*/ 7 h 152401"/>
              <a:gd name="connsiteX2" fmla="*/ 133350 w 152401"/>
              <a:gd name="connsiteY2" fmla="*/ 19051 h 152401"/>
              <a:gd name="connsiteX3" fmla="*/ 152394 w 152401"/>
              <a:gd name="connsiteY3" fmla="*/ 60327 h 152401"/>
              <a:gd name="connsiteX4" fmla="*/ 129839 w 152401"/>
              <a:gd name="connsiteY4" fmla="*/ 75185 h 152401"/>
              <a:gd name="connsiteX5" fmla="*/ 104775 w 152401"/>
              <a:gd name="connsiteY5" fmla="*/ 85726 h 152401"/>
              <a:gd name="connsiteX6" fmla="*/ 95250 w 152401"/>
              <a:gd name="connsiteY6" fmla="*/ 114301 h 152401"/>
              <a:gd name="connsiteX7" fmla="*/ 79661 w 152401"/>
              <a:gd name="connsiteY7" fmla="*/ 142876 h 152401"/>
              <a:gd name="connsiteX8" fmla="*/ 45652 w 152401"/>
              <a:gd name="connsiteY8" fmla="*/ 120220 h 152401"/>
              <a:gd name="connsiteX9" fmla="*/ 16260 w 152401"/>
              <a:gd name="connsiteY9" fmla="*/ 149611 h 152401"/>
              <a:gd name="connsiteX10" fmla="*/ 2790 w 152401"/>
              <a:gd name="connsiteY10" fmla="*/ 149611 h 152401"/>
              <a:gd name="connsiteX11" fmla="*/ 2790 w 152401"/>
              <a:gd name="connsiteY11" fmla="*/ 136141 h 152401"/>
              <a:gd name="connsiteX12" fmla="*/ 32181 w 152401"/>
              <a:gd name="connsiteY12" fmla="*/ 106750 h 152401"/>
              <a:gd name="connsiteX13" fmla="*/ 9525 w 152401"/>
              <a:gd name="connsiteY13" fmla="*/ 72740 h 152401"/>
              <a:gd name="connsiteX14" fmla="*/ 38100 w 152401"/>
              <a:gd name="connsiteY14" fmla="*/ 57151 h 152401"/>
              <a:gd name="connsiteX15" fmla="*/ 66675 w 152401"/>
              <a:gd name="connsiteY15" fmla="*/ 47626 h 152401"/>
              <a:gd name="connsiteX16" fmla="*/ 77217 w 152401"/>
              <a:gd name="connsiteY16" fmla="*/ 22562 h 152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2401" h="152401">
                <a:moveTo>
                  <a:pt x="77217" y="22562"/>
                </a:moveTo>
                <a:cubicBezTo>
                  <a:pt x="78455" y="11424"/>
                  <a:pt x="79696" y="259"/>
                  <a:pt x="92075" y="7"/>
                </a:cubicBezTo>
                <a:cubicBezTo>
                  <a:pt x="105589" y="-267"/>
                  <a:pt x="121580" y="7281"/>
                  <a:pt x="133350" y="19051"/>
                </a:cubicBezTo>
                <a:cubicBezTo>
                  <a:pt x="145120" y="30821"/>
                  <a:pt x="152669" y="46812"/>
                  <a:pt x="152394" y="60327"/>
                </a:cubicBezTo>
                <a:cubicBezTo>
                  <a:pt x="152143" y="72705"/>
                  <a:pt x="140978" y="73947"/>
                  <a:pt x="129839" y="75185"/>
                </a:cubicBezTo>
                <a:cubicBezTo>
                  <a:pt x="119294" y="76356"/>
                  <a:pt x="112095" y="78457"/>
                  <a:pt x="104775" y="85726"/>
                </a:cubicBezTo>
                <a:cubicBezTo>
                  <a:pt x="98766" y="91699"/>
                  <a:pt x="95250" y="103983"/>
                  <a:pt x="95250" y="114301"/>
                </a:cubicBezTo>
                <a:cubicBezTo>
                  <a:pt x="95250" y="124621"/>
                  <a:pt x="95247" y="142876"/>
                  <a:pt x="79661" y="142876"/>
                </a:cubicBezTo>
                <a:cubicBezTo>
                  <a:pt x="73049" y="142876"/>
                  <a:pt x="59265" y="132876"/>
                  <a:pt x="45652" y="120220"/>
                </a:cubicBezTo>
                <a:lnTo>
                  <a:pt x="16260" y="149611"/>
                </a:lnTo>
                <a:cubicBezTo>
                  <a:pt x="12540" y="153332"/>
                  <a:pt x="6510" y="153332"/>
                  <a:pt x="2790" y="149611"/>
                </a:cubicBezTo>
                <a:cubicBezTo>
                  <a:pt x="-930" y="145892"/>
                  <a:pt x="-930" y="139861"/>
                  <a:pt x="2790" y="136141"/>
                </a:cubicBezTo>
                <a:lnTo>
                  <a:pt x="32181" y="106750"/>
                </a:lnTo>
                <a:cubicBezTo>
                  <a:pt x="19525" y="93137"/>
                  <a:pt x="9525" y="79353"/>
                  <a:pt x="9525" y="72740"/>
                </a:cubicBezTo>
                <a:cubicBezTo>
                  <a:pt x="9525" y="57154"/>
                  <a:pt x="27781" y="57151"/>
                  <a:pt x="38100" y="57151"/>
                </a:cubicBezTo>
                <a:cubicBezTo>
                  <a:pt x="48419" y="57151"/>
                  <a:pt x="60702" y="53635"/>
                  <a:pt x="66675" y="47626"/>
                </a:cubicBezTo>
                <a:cubicBezTo>
                  <a:pt x="73017" y="39560"/>
                  <a:pt x="76045" y="33113"/>
                  <a:pt x="77217" y="22562"/>
                </a:cubicBezTo>
                <a:close/>
              </a:path>
            </a:pathLst>
          </a:custGeom>
          <a:solidFill>
            <a:schemeClr val="accent6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30F08A5-A097-D2DF-E5ED-50245BA1511D}"/>
              </a:ext>
            </a:extLst>
          </p:cNvPr>
          <p:cNvSpPr txBox="1"/>
          <p:nvPr/>
        </p:nvSpPr>
        <p:spPr>
          <a:xfrm>
            <a:off x="852195" y="4682793"/>
            <a:ext cx="2741705" cy="25329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</a:pPr>
            <a:r>
              <a:rPr lang="ru-RU" b="1">
                <a:solidFill>
                  <a:schemeClr val="accent1"/>
                </a:solidFill>
              </a:rPr>
              <a:t>Классные таблицы</a:t>
            </a:r>
          </a:p>
        </p:txBody>
      </p:sp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3B8DA76D-193B-C485-5922-0905FBE36CC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57406" y="5041239"/>
            <a:ext cx="1336787" cy="596097"/>
          </a:xfrm>
          <a:prstGeom prst="roundRect">
            <a:avLst>
              <a:gd name="adj" fmla="val 8135"/>
            </a:avLst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E6016BEF-43F4-C513-6E8D-2D3F43E850C9}"/>
              </a:ext>
            </a:extLst>
          </p:cNvPr>
          <p:cNvSpPr txBox="1"/>
          <p:nvPr/>
        </p:nvSpPr>
        <p:spPr>
          <a:xfrm>
            <a:off x="2310490" y="5041239"/>
            <a:ext cx="1737427" cy="82060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ru-RU" sz="1200" spc="-30"/>
              <a:t>Настроили специальный стиль для работы </a:t>
            </a:r>
            <a:br>
              <a:rPr lang="ru-RU" sz="1200" spc="-30"/>
            </a:br>
            <a:r>
              <a:rPr lang="ru-RU" sz="1200" spc="-30"/>
              <a:t>с таблицами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A59D513-03D7-E112-73C4-AEF053F1B8A3}"/>
              </a:ext>
            </a:extLst>
          </p:cNvPr>
          <p:cNvSpPr txBox="1"/>
          <p:nvPr/>
        </p:nvSpPr>
        <p:spPr>
          <a:xfrm>
            <a:off x="852195" y="5727560"/>
            <a:ext cx="3277239" cy="4041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ru-RU" sz="1200"/>
              <a:t>Настраивай вид таблицы в несколько кликов в разделе «Конструктор таблиц»</a:t>
            </a:r>
          </a:p>
        </p:txBody>
      </p:sp>
      <p:sp>
        <p:nvSpPr>
          <p:cNvPr id="20" name="Прямоугольник: скругленные углы 19">
            <a:extLst>
              <a:ext uri="{FF2B5EF4-FFF2-40B4-BE49-F238E27FC236}">
                <a16:creationId xmlns:a16="http://schemas.microsoft.com/office/drawing/2014/main" id="{D17B9CA6-6150-A43F-D409-1A3029BF4C87}"/>
              </a:ext>
            </a:extLst>
          </p:cNvPr>
          <p:cNvSpPr/>
          <p:nvPr/>
        </p:nvSpPr>
        <p:spPr>
          <a:xfrm>
            <a:off x="835809" y="3382445"/>
            <a:ext cx="147470" cy="173301"/>
          </a:xfrm>
          <a:prstGeom prst="roundRect">
            <a:avLst>
              <a:gd name="adj" fmla="val 18868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400" err="1"/>
          </a:p>
        </p:txBody>
      </p:sp>
      <p:sp>
        <p:nvSpPr>
          <p:cNvPr id="21" name="Прямоугольник: скругленные углы 20">
            <a:extLst>
              <a:ext uri="{FF2B5EF4-FFF2-40B4-BE49-F238E27FC236}">
                <a16:creationId xmlns:a16="http://schemas.microsoft.com/office/drawing/2014/main" id="{E0C63BED-38C1-7FE4-2365-63A32A9AAC60}"/>
              </a:ext>
            </a:extLst>
          </p:cNvPr>
          <p:cNvSpPr/>
          <p:nvPr/>
        </p:nvSpPr>
        <p:spPr>
          <a:xfrm>
            <a:off x="835809" y="3587854"/>
            <a:ext cx="147470" cy="99462"/>
          </a:xfrm>
          <a:prstGeom prst="roundRect">
            <a:avLst>
              <a:gd name="adj" fmla="val 29916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400" err="1"/>
          </a:p>
        </p:txBody>
      </p:sp>
      <p:sp>
        <p:nvSpPr>
          <p:cNvPr id="24" name="Прямоугольник: скругленные углы 23">
            <a:extLst>
              <a:ext uri="{FF2B5EF4-FFF2-40B4-BE49-F238E27FC236}">
                <a16:creationId xmlns:a16="http://schemas.microsoft.com/office/drawing/2014/main" id="{DB56BD41-1107-8D34-A153-D854D92E8037}"/>
              </a:ext>
            </a:extLst>
          </p:cNvPr>
          <p:cNvSpPr/>
          <p:nvPr/>
        </p:nvSpPr>
        <p:spPr>
          <a:xfrm>
            <a:off x="4542838" y="411163"/>
            <a:ext cx="3961015" cy="5851525"/>
          </a:xfrm>
          <a:prstGeom prst="roundRect">
            <a:avLst>
              <a:gd name="adj" fmla="val 5112"/>
            </a:avLst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0000"/>
              </a:solidFill>
            </a:endParaRPr>
          </a:p>
        </p:txBody>
      </p:sp>
      <p:sp>
        <p:nvSpPr>
          <p:cNvPr id="25" name="Рисунок 7">
            <a:extLst>
              <a:ext uri="{FF2B5EF4-FFF2-40B4-BE49-F238E27FC236}">
                <a16:creationId xmlns:a16="http://schemas.microsoft.com/office/drawing/2014/main" id="{BE35B28F-D3E3-8C7F-F57E-6C61167D7222}"/>
              </a:ext>
            </a:extLst>
          </p:cNvPr>
          <p:cNvSpPr/>
          <p:nvPr/>
        </p:nvSpPr>
        <p:spPr>
          <a:xfrm>
            <a:off x="8208625" y="534179"/>
            <a:ext cx="145227" cy="145227"/>
          </a:xfrm>
          <a:custGeom>
            <a:avLst/>
            <a:gdLst>
              <a:gd name="connsiteX0" fmla="*/ 77217 w 152401"/>
              <a:gd name="connsiteY0" fmla="*/ 22562 h 152401"/>
              <a:gd name="connsiteX1" fmla="*/ 92075 w 152401"/>
              <a:gd name="connsiteY1" fmla="*/ 7 h 152401"/>
              <a:gd name="connsiteX2" fmla="*/ 133350 w 152401"/>
              <a:gd name="connsiteY2" fmla="*/ 19051 h 152401"/>
              <a:gd name="connsiteX3" fmla="*/ 152394 w 152401"/>
              <a:gd name="connsiteY3" fmla="*/ 60327 h 152401"/>
              <a:gd name="connsiteX4" fmla="*/ 129839 w 152401"/>
              <a:gd name="connsiteY4" fmla="*/ 75185 h 152401"/>
              <a:gd name="connsiteX5" fmla="*/ 104775 w 152401"/>
              <a:gd name="connsiteY5" fmla="*/ 85726 h 152401"/>
              <a:gd name="connsiteX6" fmla="*/ 95250 w 152401"/>
              <a:gd name="connsiteY6" fmla="*/ 114301 h 152401"/>
              <a:gd name="connsiteX7" fmla="*/ 79661 w 152401"/>
              <a:gd name="connsiteY7" fmla="*/ 142876 h 152401"/>
              <a:gd name="connsiteX8" fmla="*/ 45652 w 152401"/>
              <a:gd name="connsiteY8" fmla="*/ 120220 h 152401"/>
              <a:gd name="connsiteX9" fmla="*/ 16260 w 152401"/>
              <a:gd name="connsiteY9" fmla="*/ 149611 h 152401"/>
              <a:gd name="connsiteX10" fmla="*/ 2790 w 152401"/>
              <a:gd name="connsiteY10" fmla="*/ 149611 h 152401"/>
              <a:gd name="connsiteX11" fmla="*/ 2790 w 152401"/>
              <a:gd name="connsiteY11" fmla="*/ 136141 h 152401"/>
              <a:gd name="connsiteX12" fmla="*/ 32181 w 152401"/>
              <a:gd name="connsiteY12" fmla="*/ 106750 h 152401"/>
              <a:gd name="connsiteX13" fmla="*/ 9525 w 152401"/>
              <a:gd name="connsiteY13" fmla="*/ 72740 h 152401"/>
              <a:gd name="connsiteX14" fmla="*/ 38100 w 152401"/>
              <a:gd name="connsiteY14" fmla="*/ 57151 h 152401"/>
              <a:gd name="connsiteX15" fmla="*/ 66675 w 152401"/>
              <a:gd name="connsiteY15" fmla="*/ 47626 h 152401"/>
              <a:gd name="connsiteX16" fmla="*/ 77217 w 152401"/>
              <a:gd name="connsiteY16" fmla="*/ 22562 h 152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2401" h="152401">
                <a:moveTo>
                  <a:pt x="77217" y="22562"/>
                </a:moveTo>
                <a:cubicBezTo>
                  <a:pt x="78455" y="11424"/>
                  <a:pt x="79696" y="259"/>
                  <a:pt x="92075" y="7"/>
                </a:cubicBezTo>
                <a:cubicBezTo>
                  <a:pt x="105589" y="-267"/>
                  <a:pt x="121580" y="7281"/>
                  <a:pt x="133350" y="19051"/>
                </a:cubicBezTo>
                <a:cubicBezTo>
                  <a:pt x="145120" y="30821"/>
                  <a:pt x="152669" y="46812"/>
                  <a:pt x="152394" y="60327"/>
                </a:cubicBezTo>
                <a:cubicBezTo>
                  <a:pt x="152143" y="72705"/>
                  <a:pt x="140978" y="73947"/>
                  <a:pt x="129839" y="75185"/>
                </a:cubicBezTo>
                <a:cubicBezTo>
                  <a:pt x="119294" y="76356"/>
                  <a:pt x="112095" y="78457"/>
                  <a:pt x="104775" y="85726"/>
                </a:cubicBezTo>
                <a:cubicBezTo>
                  <a:pt x="98766" y="91699"/>
                  <a:pt x="95250" y="103983"/>
                  <a:pt x="95250" y="114301"/>
                </a:cubicBezTo>
                <a:cubicBezTo>
                  <a:pt x="95250" y="124621"/>
                  <a:pt x="95247" y="142876"/>
                  <a:pt x="79661" y="142876"/>
                </a:cubicBezTo>
                <a:cubicBezTo>
                  <a:pt x="73049" y="142876"/>
                  <a:pt x="59265" y="132876"/>
                  <a:pt x="45652" y="120220"/>
                </a:cubicBezTo>
                <a:lnTo>
                  <a:pt x="16260" y="149611"/>
                </a:lnTo>
                <a:cubicBezTo>
                  <a:pt x="12540" y="153332"/>
                  <a:pt x="6510" y="153332"/>
                  <a:pt x="2790" y="149611"/>
                </a:cubicBezTo>
                <a:cubicBezTo>
                  <a:pt x="-930" y="145892"/>
                  <a:pt x="-930" y="139861"/>
                  <a:pt x="2790" y="136141"/>
                </a:cubicBezTo>
                <a:lnTo>
                  <a:pt x="32181" y="106750"/>
                </a:lnTo>
                <a:cubicBezTo>
                  <a:pt x="19525" y="93137"/>
                  <a:pt x="9525" y="79353"/>
                  <a:pt x="9525" y="72740"/>
                </a:cubicBezTo>
                <a:cubicBezTo>
                  <a:pt x="9525" y="57154"/>
                  <a:pt x="27781" y="57151"/>
                  <a:pt x="38100" y="57151"/>
                </a:cubicBezTo>
                <a:cubicBezTo>
                  <a:pt x="48419" y="57151"/>
                  <a:pt x="60702" y="53635"/>
                  <a:pt x="66675" y="47626"/>
                </a:cubicBezTo>
                <a:cubicBezTo>
                  <a:pt x="73017" y="39560"/>
                  <a:pt x="76045" y="33113"/>
                  <a:pt x="77217" y="22562"/>
                </a:cubicBezTo>
                <a:close/>
              </a:path>
            </a:pathLst>
          </a:custGeom>
          <a:solidFill>
            <a:schemeClr val="accent6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47" name="Рисунок 7">
            <a:extLst>
              <a:ext uri="{FF2B5EF4-FFF2-40B4-BE49-F238E27FC236}">
                <a16:creationId xmlns:a16="http://schemas.microsoft.com/office/drawing/2014/main" id="{3FB86F63-95B4-8D2E-1A9A-F785D45CAB4B}"/>
              </a:ext>
            </a:extLst>
          </p:cNvPr>
          <p:cNvSpPr/>
          <p:nvPr/>
        </p:nvSpPr>
        <p:spPr>
          <a:xfrm>
            <a:off x="11248712" y="534179"/>
            <a:ext cx="145227" cy="145227"/>
          </a:xfrm>
          <a:custGeom>
            <a:avLst/>
            <a:gdLst>
              <a:gd name="connsiteX0" fmla="*/ 77217 w 152401"/>
              <a:gd name="connsiteY0" fmla="*/ 22562 h 152401"/>
              <a:gd name="connsiteX1" fmla="*/ 92075 w 152401"/>
              <a:gd name="connsiteY1" fmla="*/ 7 h 152401"/>
              <a:gd name="connsiteX2" fmla="*/ 133350 w 152401"/>
              <a:gd name="connsiteY2" fmla="*/ 19051 h 152401"/>
              <a:gd name="connsiteX3" fmla="*/ 152394 w 152401"/>
              <a:gd name="connsiteY3" fmla="*/ 60327 h 152401"/>
              <a:gd name="connsiteX4" fmla="*/ 129839 w 152401"/>
              <a:gd name="connsiteY4" fmla="*/ 75185 h 152401"/>
              <a:gd name="connsiteX5" fmla="*/ 104775 w 152401"/>
              <a:gd name="connsiteY5" fmla="*/ 85726 h 152401"/>
              <a:gd name="connsiteX6" fmla="*/ 95250 w 152401"/>
              <a:gd name="connsiteY6" fmla="*/ 114301 h 152401"/>
              <a:gd name="connsiteX7" fmla="*/ 79661 w 152401"/>
              <a:gd name="connsiteY7" fmla="*/ 142876 h 152401"/>
              <a:gd name="connsiteX8" fmla="*/ 45652 w 152401"/>
              <a:gd name="connsiteY8" fmla="*/ 120220 h 152401"/>
              <a:gd name="connsiteX9" fmla="*/ 16260 w 152401"/>
              <a:gd name="connsiteY9" fmla="*/ 149611 h 152401"/>
              <a:gd name="connsiteX10" fmla="*/ 2790 w 152401"/>
              <a:gd name="connsiteY10" fmla="*/ 149611 h 152401"/>
              <a:gd name="connsiteX11" fmla="*/ 2790 w 152401"/>
              <a:gd name="connsiteY11" fmla="*/ 136141 h 152401"/>
              <a:gd name="connsiteX12" fmla="*/ 32181 w 152401"/>
              <a:gd name="connsiteY12" fmla="*/ 106750 h 152401"/>
              <a:gd name="connsiteX13" fmla="*/ 9525 w 152401"/>
              <a:gd name="connsiteY13" fmla="*/ 72740 h 152401"/>
              <a:gd name="connsiteX14" fmla="*/ 38100 w 152401"/>
              <a:gd name="connsiteY14" fmla="*/ 57151 h 152401"/>
              <a:gd name="connsiteX15" fmla="*/ 66675 w 152401"/>
              <a:gd name="connsiteY15" fmla="*/ 47626 h 152401"/>
              <a:gd name="connsiteX16" fmla="*/ 77217 w 152401"/>
              <a:gd name="connsiteY16" fmla="*/ 22562 h 152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2401" h="152401">
                <a:moveTo>
                  <a:pt x="77217" y="22562"/>
                </a:moveTo>
                <a:cubicBezTo>
                  <a:pt x="78455" y="11424"/>
                  <a:pt x="79696" y="259"/>
                  <a:pt x="92075" y="7"/>
                </a:cubicBezTo>
                <a:cubicBezTo>
                  <a:pt x="105589" y="-267"/>
                  <a:pt x="121580" y="7281"/>
                  <a:pt x="133350" y="19051"/>
                </a:cubicBezTo>
                <a:cubicBezTo>
                  <a:pt x="145120" y="30821"/>
                  <a:pt x="152669" y="46812"/>
                  <a:pt x="152394" y="60327"/>
                </a:cubicBezTo>
                <a:cubicBezTo>
                  <a:pt x="152143" y="72705"/>
                  <a:pt x="140978" y="73947"/>
                  <a:pt x="129839" y="75185"/>
                </a:cubicBezTo>
                <a:cubicBezTo>
                  <a:pt x="119294" y="76356"/>
                  <a:pt x="112095" y="78457"/>
                  <a:pt x="104775" y="85726"/>
                </a:cubicBezTo>
                <a:cubicBezTo>
                  <a:pt x="98766" y="91699"/>
                  <a:pt x="95250" y="103983"/>
                  <a:pt x="95250" y="114301"/>
                </a:cubicBezTo>
                <a:cubicBezTo>
                  <a:pt x="95250" y="124621"/>
                  <a:pt x="95247" y="142876"/>
                  <a:pt x="79661" y="142876"/>
                </a:cubicBezTo>
                <a:cubicBezTo>
                  <a:pt x="73049" y="142876"/>
                  <a:pt x="59265" y="132876"/>
                  <a:pt x="45652" y="120220"/>
                </a:cubicBezTo>
                <a:lnTo>
                  <a:pt x="16260" y="149611"/>
                </a:lnTo>
                <a:cubicBezTo>
                  <a:pt x="12540" y="153332"/>
                  <a:pt x="6510" y="153332"/>
                  <a:pt x="2790" y="149611"/>
                </a:cubicBezTo>
                <a:cubicBezTo>
                  <a:pt x="-930" y="145892"/>
                  <a:pt x="-930" y="139861"/>
                  <a:pt x="2790" y="136141"/>
                </a:cubicBezTo>
                <a:lnTo>
                  <a:pt x="32181" y="106750"/>
                </a:lnTo>
                <a:cubicBezTo>
                  <a:pt x="19525" y="93137"/>
                  <a:pt x="9525" y="79353"/>
                  <a:pt x="9525" y="72740"/>
                </a:cubicBezTo>
                <a:cubicBezTo>
                  <a:pt x="9525" y="57154"/>
                  <a:pt x="27781" y="57151"/>
                  <a:pt x="38100" y="57151"/>
                </a:cubicBezTo>
                <a:cubicBezTo>
                  <a:pt x="48419" y="57151"/>
                  <a:pt x="60702" y="53635"/>
                  <a:pt x="66675" y="47626"/>
                </a:cubicBezTo>
                <a:cubicBezTo>
                  <a:pt x="73017" y="39560"/>
                  <a:pt x="76045" y="33113"/>
                  <a:pt x="77217" y="22562"/>
                </a:cubicBezTo>
                <a:close/>
              </a:path>
            </a:pathLst>
          </a:custGeom>
          <a:solidFill>
            <a:schemeClr val="accent6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FAFB31A0-09C1-9043-1A77-84FD4D90313B}"/>
              </a:ext>
            </a:extLst>
          </p:cNvPr>
          <p:cNvSpPr txBox="1"/>
          <p:nvPr/>
        </p:nvSpPr>
        <p:spPr>
          <a:xfrm>
            <a:off x="8972687" y="587649"/>
            <a:ext cx="2421252" cy="32446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</a:pPr>
            <a:r>
              <a:rPr lang="ru-RU" b="1" dirty="0">
                <a:solidFill>
                  <a:schemeClr val="tx1"/>
                </a:solidFill>
              </a:rPr>
              <a:t>Всё будет ровно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F5E12F67-07D8-7040-A6DE-E851CCEA0DC7}"/>
              </a:ext>
            </a:extLst>
          </p:cNvPr>
          <p:cNvSpPr txBox="1"/>
          <p:nvPr/>
        </p:nvSpPr>
        <p:spPr>
          <a:xfrm>
            <a:off x="8972688" y="927055"/>
            <a:ext cx="2383504" cy="109117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ru-RU" sz="1200"/>
              <a:t>Чтобы тебе было проще выравнивать контент</a:t>
            </a:r>
            <a:r>
              <a:rPr lang="en-US" sz="1200"/>
              <a:t>,</a:t>
            </a:r>
            <a:r>
              <a:rPr lang="ru-RU" sz="1200"/>
              <a:t> в шаблоне настроены направляющие. Включи их, нажав Alt+F9 </a:t>
            </a:r>
            <a:br>
              <a:rPr lang="ru-RU" sz="1200"/>
            </a:br>
            <a:r>
              <a:rPr lang="ru-RU" sz="1200"/>
              <a:t>или через вкладку «Вид» — «Направляющие»</a:t>
            </a:r>
            <a:r>
              <a:rPr lang="en-US" sz="1200"/>
              <a:t>.</a:t>
            </a:r>
            <a:r>
              <a:rPr lang="ru-RU" sz="1200"/>
              <a:t> 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0116D428-F5AA-A1D9-F109-4424B5FEEFC6}"/>
              </a:ext>
            </a:extLst>
          </p:cNvPr>
          <p:cNvSpPr txBox="1"/>
          <p:nvPr/>
        </p:nvSpPr>
        <p:spPr>
          <a:xfrm>
            <a:off x="9199437" y="2109168"/>
            <a:ext cx="1708894" cy="161969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400"/>
              </a:spcAft>
            </a:pPr>
            <a:r>
              <a:rPr lang="ru-RU" sz="1200"/>
              <a:t>Красными линиями обозначены границы слайда. Не размещай контент за их пределами. </a:t>
            </a:r>
          </a:p>
          <a:p>
            <a:pPr>
              <a:spcAft>
                <a:spcPts val="400"/>
              </a:spcAft>
            </a:pPr>
            <a:r>
              <a:rPr lang="ru-RU" sz="1200"/>
              <a:t>По серым линиям можно выравнивать контент внутри слайда.</a:t>
            </a:r>
          </a:p>
          <a:p>
            <a:pPr algn="l">
              <a:spcAft>
                <a:spcPts val="400"/>
              </a:spcAft>
            </a:pPr>
            <a:endParaRPr lang="ru-RU" sz="1400"/>
          </a:p>
        </p:txBody>
      </p:sp>
      <p:sp>
        <p:nvSpPr>
          <p:cNvPr id="53" name="Прямоугольник: скругленные углы 52">
            <a:extLst>
              <a:ext uri="{FF2B5EF4-FFF2-40B4-BE49-F238E27FC236}">
                <a16:creationId xmlns:a16="http://schemas.microsoft.com/office/drawing/2014/main" id="{09360FA4-F8F2-B1A6-D90C-CE0095F5B7F6}"/>
              </a:ext>
            </a:extLst>
          </p:cNvPr>
          <p:cNvSpPr/>
          <p:nvPr/>
        </p:nvSpPr>
        <p:spPr>
          <a:xfrm>
            <a:off x="8769965" y="4247728"/>
            <a:ext cx="2782273" cy="2022623"/>
          </a:xfrm>
          <a:prstGeom prst="roundRect">
            <a:avLst>
              <a:gd name="adj" fmla="val 10391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0000"/>
              </a:solidFill>
            </a:endParaRPr>
          </a:p>
        </p:txBody>
      </p:sp>
      <p:sp>
        <p:nvSpPr>
          <p:cNvPr id="54" name="Рисунок 7">
            <a:extLst>
              <a:ext uri="{FF2B5EF4-FFF2-40B4-BE49-F238E27FC236}">
                <a16:creationId xmlns:a16="http://schemas.microsoft.com/office/drawing/2014/main" id="{F0DB6D7E-CA8B-946C-BADB-B831EA01BE74}"/>
              </a:ext>
            </a:extLst>
          </p:cNvPr>
          <p:cNvSpPr/>
          <p:nvPr/>
        </p:nvSpPr>
        <p:spPr>
          <a:xfrm>
            <a:off x="11259721" y="4368825"/>
            <a:ext cx="145227" cy="145227"/>
          </a:xfrm>
          <a:custGeom>
            <a:avLst/>
            <a:gdLst>
              <a:gd name="connsiteX0" fmla="*/ 77217 w 152401"/>
              <a:gd name="connsiteY0" fmla="*/ 22562 h 152401"/>
              <a:gd name="connsiteX1" fmla="*/ 92075 w 152401"/>
              <a:gd name="connsiteY1" fmla="*/ 7 h 152401"/>
              <a:gd name="connsiteX2" fmla="*/ 133350 w 152401"/>
              <a:gd name="connsiteY2" fmla="*/ 19051 h 152401"/>
              <a:gd name="connsiteX3" fmla="*/ 152394 w 152401"/>
              <a:gd name="connsiteY3" fmla="*/ 60327 h 152401"/>
              <a:gd name="connsiteX4" fmla="*/ 129839 w 152401"/>
              <a:gd name="connsiteY4" fmla="*/ 75185 h 152401"/>
              <a:gd name="connsiteX5" fmla="*/ 104775 w 152401"/>
              <a:gd name="connsiteY5" fmla="*/ 85726 h 152401"/>
              <a:gd name="connsiteX6" fmla="*/ 95250 w 152401"/>
              <a:gd name="connsiteY6" fmla="*/ 114301 h 152401"/>
              <a:gd name="connsiteX7" fmla="*/ 79661 w 152401"/>
              <a:gd name="connsiteY7" fmla="*/ 142876 h 152401"/>
              <a:gd name="connsiteX8" fmla="*/ 45652 w 152401"/>
              <a:gd name="connsiteY8" fmla="*/ 120220 h 152401"/>
              <a:gd name="connsiteX9" fmla="*/ 16260 w 152401"/>
              <a:gd name="connsiteY9" fmla="*/ 149611 h 152401"/>
              <a:gd name="connsiteX10" fmla="*/ 2790 w 152401"/>
              <a:gd name="connsiteY10" fmla="*/ 149611 h 152401"/>
              <a:gd name="connsiteX11" fmla="*/ 2790 w 152401"/>
              <a:gd name="connsiteY11" fmla="*/ 136141 h 152401"/>
              <a:gd name="connsiteX12" fmla="*/ 32181 w 152401"/>
              <a:gd name="connsiteY12" fmla="*/ 106750 h 152401"/>
              <a:gd name="connsiteX13" fmla="*/ 9525 w 152401"/>
              <a:gd name="connsiteY13" fmla="*/ 72740 h 152401"/>
              <a:gd name="connsiteX14" fmla="*/ 38100 w 152401"/>
              <a:gd name="connsiteY14" fmla="*/ 57151 h 152401"/>
              <a:gd name="connsiteX15" fmla="*/ 66675 w 152401"/>
              <a:gd name="connsiteY15" fmla="*/ 47626 h 152401"/>
              <a:gd name="connsiteX16" fmla="*/ 77217 w 152401"/>
              <a:gd name="connsiteY16" fmla="*/ 22562 h 152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2401" h="152401">
                <a:moveTo>
                  <a:pt x="77217" y="22562"/>
                </a:moveTo>
                <a:cubicBezTo>
                  <a:pt x="78455" y="11424"/>
                  <a:pt x="79696" y="259"/>
                  <a:pt x="92075" y="7"/>
                </a:cubicBezTo>
                <a:cubicBezTo>
                  <a:pt x="105589" y="-267"/>
                  <a:pt x="121580" y="7281"/>
                  <a:pt x="133350" y="19051"/>
                </a:cubicBezTo>
                <a:cubicBezTo>
                  <a:pt x="145120" y="30821"/>
                  <a:pt x="152669" y="46812"/>
                  <a:pt x="152394" y="60327"/>
                </a:cubicBezTo>
                <a:cubicBezTo>
                  <a:pt x="152143" y="72705"/>
                  <a:pt x="140978" y="73947"/>
                  <a:pt x="129839" y="75185"/>
                </a:cubicBezTo>
                <a:cubicBezTo>
                  <a:pt x="119294" y="76356"/>
                  <a:pt x="112095" y="78457"/>
                  <a:pt x="104775" y="85726"/>
                </a:cubicBezTo>
                <a:cubicBezTo>
                  <a:pt x="98766" y="91699"/>
                  <a:pt x="95250" y="103983"/>
                  <a:pt x="95250" y="114301"/>
                </a:cubicBezTo>
                <a:cubicBezTo>
                  <a:pt x="95250" y="124621"/>
                  <a:pt x="95247" y="142876"/>
                  <a:pt x="79661" y="142876"/>
                </a:cubicBezTo>
                <a:cubicBezTo>
                  <a:pt x="73049" y="142876"/>
                  <a:pt x="59265" y="132876"/>
                  <a:pt x="45652" y="120220"/>
                </a:cubicBezTo>
                <a:lnTo>
                  <a:pt x="16260" y="149611"/>
                </a:lnTo>
                <a:cubicBezTo>
                  <a:pt x="12540" y="153332"/>
                  <a:pt x="6510" y="153332"/>
                  <a:pt x="2790" y="149611"/>
                </a:cubicBezTo>
                <a:cubicBezTo>
                  <a:pt x="-930" y="145892"/>
                  <a:pt x="-930" y="139861"/>
                  <a:pt x="2790" y="136141"/>
                </a:cubicBezTo>
                <a:lnTo>
                  <a:pt x="32181" y="106750"/>
                </a:lnTo>
                <a:cubicBezTo>
                  <a:pt x="19525" y="93137"/>
                  <a:pt x="9525" y="79353"/>
                  <a:pt x="9525" y="72740"/>
                </a:cubicBezTo>
                <a:cubicBezTo>
                  <a:pt x="9525" y="57154"/>
                  <a:pt x="27781" y="57151"/>
                  <a:pt x="38100" y="57151"/>
                </a:cubicBezTo>
                <a:cubicBezTo>
                  <a:pt x="48419" y="57151"/>
                  <a:pt x="60702" y="53635"/>
                  <a:pt x="66675" y="47626"/>
                </a:cubicBezTo>
                <a:cubicBezTo>
                  <a:pt x="73017" y="39560"/>
                  <a:pt x="76045" y="33113"/>
                  <a:pt x="77217" y="22562"/>
                </a:cubicBez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66102E31-758C-204D-1505-E97C6AAE6F58}"/>
              </a:ext>
            </a:extLst>
          </p:cNvPr>
          <p:cNvSpPr txBox="1"/>
          <p:nvPr/>
        </p:nvSpPr>
        <p:spPr>
          <a:xfrm>
            <a:off x="9596651" y="4400331"/>
            <a:ext cx="1809961" cy="42021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85000"/>
              </a:lnSpc>
            </a:pPr>
            <a:r>
              <a:rPr lang="ru-RU" b="1" dirty="0">
                <a:solidFill>
                  <a:schemeClr val="accent2"/>
                </a:solidFill>
              </a:rPr>
              <a:t>Нужна </a:t>
            </a:r>
          </a:p>
          <a:p>
            <a:pPr algn="l">
              <a:lnSpc>
                <a:spcPct val="85000"/>
              </a:lnSpc>
            </a:pPr>
            <a:r>
              <a:rPr lang="ru-RU" b="1" dirty="0">
                <a:solidFill>
                  <a:schemeClr val="accent2"/>
                </a:solidFill>
              </a:rPr>
              <a:t>поддержка?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B8BF44CC-6485-312F-FA38-3DBA3F0D15E3}"/>
              </a:ext>
            </a:extLst>
          </p:cNvPr>
          <p:cNvSpPr txBox="1"/>
          <p:nvPr/>
        </p:nvSpPr>
        <p:spPr>
          <a:xfrm>
            <a:off x="8972688" y="4956676"/>
            <a:ext cx="2383504" cy="109117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ru-RU" sz="1200">
                <a:solidFill>
                  <a:schemeClr val="bg1"/>
                </a:solidFill>
              </a:rPr>
              <a:t>Заходи на нашу страницу через </a:t>
            </a:r>
            <a:r>
              <a:rPr lang="en-US" sz="1200">
                <a:solidFill>
                  <a:schemeClr val="bg1"/>
                </a:solidFill>
              </a:rPr>
              <a:t>Staff </a:t>
            </a:r>
            <a:r>
              <a:rPr lang="ru-RU" sz="1200">
                <a:solidFill>
                  <a:schemeClr val="bg1"/>
                </a:solidFill>
              </a:rPr>
              <a:t>—  </a:t>
            </a:r>
            <a:r>
              <a:rPr lang="en-US" sz="1200">
                <a:solidFill>
                  <a:schemeClr val="bg1"/>
                </a:solidFill>
              </a:rPr>
              <a:t>Brand Ozon </a:t>
            </a:r>
            <a:r>
              <a:rPr lang="ru-RU" sz="1200">
                <a:solidFill>
                  <a:schemeClr val="bg1"/>
                </a:solidFill>
              </a:rPr>
              <a:t>— Всё для презентаций</a:t>
            </a:r>
            <a:r>
              <a:rPr lang="en-US" sz="1200">
                <a:solidFill>
                  <a:schemeClr val="bg1"/>
                </a:solidFill>
              </a:rPr>
              <a:t>. </a:t>
            </a:r>
            <a:r>
              <a:rPr lang="ru-RU" sz="1200">
                <a:solidFill>
                  <a:schemeClr val="bg1"/>
                </a:solidFill>
              </a:rPr>
              <a:t>Там можно скачать дополнительные материалы </a:t>
            </a:r>
            <a:br>
              <a:rPr lang="ru-RU" sz="1200">
                <a:solidFill>
                  <a:schemeClr val="bg1"/>
                </a:solidFill>
              </a:rPr>
            </a:br>
            <a:r>
              <a:rPr lang="ru-RU" sz="1200">
                <a:solidFill>
                  <a:schemeClr val="bg1"/>
                </a:solidFill>
              </a:rPr>
              <a:t>или записаться на консультацию. </a:t>
            </a:r>
          </a:p>
          <a:p>
            <a:pPr algn="l"/>
            <a:r>
              <a:rPr lang="ru-RU" sz="1200">
                <a:solidFill>
                  <a:schemeClr val="bg1"/>
                </a:solidFill>
              </a:rPr>
              <a:t>Результативных презентаций!</a:t>
            </a:r>
          </a:p>
        </p:txBody>
      </p:sp>
      <p:sp>
        <p:nvSpPr>
          <p:cNvPr id="59" name="Прямоугольник: скругленные углы 58">
            <a:extLst>
              <a:ext uri="{FF2B5EF4-FFF2-40B4-BE49-F238E27FC236}">
                <a16:creationId xmlns:a16="http://schemas.microsoft.com/office/drawing/2014/main" id="{F0D66FEF-47C6-AB0A-D089-59CF7BFB6471}"/>
              </a:ext>
            </a:extLst>
          </p:cNvPr>
          <p:cNvSpPr/>
          <p:nvPr/>
        </p:nvSpPr>
        <p:spPr>
          <a:xfrm>
            <a:off x="639763" y="411163"/>
            <a:ext cx="3636962" cy="1049233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400" err="1"/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1FC5D6F7-0828-909F-707A-FC316B32BAFB}"/>
              </a:ext>
            </a:extLst>
          </p:cNvPr>
          <p:cNvSpPr txBox="1"/>
          <p:nvPr/>
        </p:nvSpPr>
        <p:spPr>
          <a:xfrm>
            <a:off x="1614616" y="530912"/>
            <a:ext cx="2722578" cy="87921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110000"/>
              </a:lnSpc>
              <a:spcAft>
                <a:spcPts val="600"/>
              </a:spcAft>
            </a:pPr>
            <a:r>
              <a:rPr lang="ru-RU" sz="1200" b="1" dirty="0">
                <a:solidFill>
                  <a:schemeClr val="bg1"/>
                </a:solidFill>
              </a:rPr>
              <a:t>Ты вовремя! </a:t>
            </a:r>
            <a:br>
              <a:rPr lang="en-US" sz="1200" b="1" dirty="0">
                <a:solidFill>
                  <a:schemeClr val="bg1"/>
                </a:solidFill>
              </a:rPr>
            </a:br>
            <a:r>
              <a:rPr lang="ru-RU" sz="1200" b="1" dirty="0">
                <a:solidFill>
                  <a:schemeClr val="bg1"/>
                </a:solidFill>
              </a:rPr>
              <a:t>Сейчас расскажу</a:t>
            </a:r>
            <a:r>
              <a:rPr lang="en-US" sz="1200" b="1" dirty="0">
                <a:solidFill>
                  <a:schemeClr val="bg1"/>
                </a:solidFill>
              </a:rPr>
              <a:t> </a:t>
            </a:r>
            <a:r>
              <a:rPr lang="ru-RU" sz="1200" b="1" dirty="0">
                <a:solidFill>
                  <a:schemeClr val="bg1"/>
                </a:solidFill>
              </a:rPr>
              <a:t>про шаблон</a:t>
            </a:r>
            <a:br>
              <a:rPr lang="ru-RU" sz="1200" b="1" dirty="0">
                <a:solidFill>
                  <a:schemeClr val="bg1"/>
                </a:solidFill>
              </a:rPr>
            </a:br>
            <a:r>
              <a:rPr lang="ru-RU" sz="1200" b="1" dirty="0">
                <a:solidFill>
                  <a:schemeClr val="bg1"/>
                </a:solidFill>
              </a:rPr>
              <a:t>            </a:t>
            </a:r>
            <a:r>
              <a:rPr lang="en-US" sz="1200" b="1" dirty="0">
                <a:solidFill>
                  <a:schemeClr val="bg1"/>
                </a:solidFill>
              </a:rPr>
              <a:t>      </a:t>
            </a:r>
            <a:r>
              <a:rPr lang="ru-RU" sz="1200" b="1" dirty="0">
                <a:solidFill>
                  <a:schemeClr val="bg1"/>
                </a:solidFill>
              </a:rPr>
              <a:t>   презентаций</a:t>
            </a:r>
            <a:r>
              <a:rPr lang="en-US" sz="1200" b="1" dirty="0">
                <a:solidFill>
                  <a:schemeClr val="bg1"/>
                </a:solidFill>
              </a:rPr>
              <a:t> </a:t>
            </a:r>
            <a:br>
              <a:rPr lang="en-US" sz="1200" b="1" dirty="0">
                <a:solidFill>
                  <a:schemeClr val="bg1"/>
                </a:solidFill>
              </a:rPr>
            </a:br>
            <a:r>
              <a:rPr lang="en-US" sz="1200" b="1" dirty="0">
                <a:solidFill>
                  <a:schemeClr val="bg1"/>
                </a:solidFill>
              </a:rPr>
              <a:t>                  </a:t>
            </a:r>
            <a:r>
              <a:rPr lang="ru-RU" sz="1200" b="1" dirty="0">
                <a:solidFill>
                  <a:schemeClr val="bg1"/>
                </a:solidFill>
              </a:rPr>
              <a:t>   </a:t>
            </a:r>
            <a:r>
              <a:rPr lang="ru-RU" sz="1200" b="1" dirty="0" err="1">
                <a:solidFill>
                  <a:schemeClr val="bg1"/>
                </a:solidFill>
              </a:rPr>
              <a:t>Ozon</a:t>
            </a:r>
            <a:r>
              <a:rPr lang="ru-RU" sz="1200" b="1" dirty="0">
                <a:solidFill>
                  <a:schemeClr val="bg1"/>
                </a:solidFill>
              </a:rPr>
              <a:t> </a:t>
            </a:r>
            <a:r>
              <a:rPr lang="en-US" sz="1200" b="1" dirty="0">
                <a:solidFill>
                  <a:schemeClr val="bg1"/>
                </a:solidFill>
              </a:rPr>
              <a:t>Tech</a:t>
            </a:r>
            <a:endParaRPr lang="ru-RU" sz="1200" b="1" dirty="0">
              <a:solidFill>
                <a:schemeClr val="bg1"/>
              </a:solidFill>
            </a:endParaRPr>
          </a:p>
        </p:txBody>
      </p:sp>
      <p:sp>
        <p:nvSpPr>
          <p:cNvPr id="23" name="Рисунок 7">
            <a:extLst>
              <a:ext uri="{FF2B5EF4-FFF2-40B4-BE49-F238E27FC236}">
                <a16:creationId xmlns:a16="http://schemas.microsoft.com/office/drawing/2014/main" id="{1EE27734-862A-F6AE-44D8-CEBEED0269DA}"/>
              </a:ext>
            </a:extLst>
          </p:cNvPr>
          <p:cNvSpPr/>
          <p:nvPr userDrawn="1"/>
        </p:nvSpPr>
        <p:spPr>
          <a:xfrm>
            <a:off x="3983413" y="1943086"/>
            <a:ext cx="145227" cy="145227"/>
          </a:xfrm>
          <a:custGeom>
            <a:avLst/>
            <a:gdLst>
              <a:gd name="connsiteX0" fmla="*/ 77217 w 152401"/>
              <a:gd name="connsiteY0" fmla="*/ 22562 h 152401"/>
              <a:gd name="connsiteX1" fmla="*/ 92075 w 152401"/>
              <a:gd name="connsiteY1" fmla="*/ 7 h 152401"/>
              <a:gd name="connsiteX2" fmla="*/ 133350 w 152401"/>
              <a:gd name="connsiteY2" fmla="*/ 19051 h 152401"/>
              <a:gd name="connsiteX3" fmla="*/ 152394 w 152401"/>
              <a:gd name="connsiteY3" fmla="*/ 60327 h 152401"/>
              <a:gd name="connsiteX4" fmla="*/ 129839 w 152401"/>
              <a:gd name="connsiteY4" fmla="*/ 75185 h 152401"/>
              <a:gd name="connsiteX5" fmla="*/ 104775 w 152401"/>
              <a:gd name="connsiteY5" fmla="*/ 85726 h 152401"/>
              <a:gd name="connsiteX6" fmla="*/ 95250 w 152401"/>
              <a:gd name="connsiteY6" fmla="*/ 114301 h 152401"/>
              <a:gd name="connsiteX7" fmla="*/ 79661 w 152401"/>
              <a:gd name="connsiteY7" fmla="*/ 142876 h 152401"/>
              <a:gd name="connsiteX8" fmla="*/ 45652 w 152401"/>
              <a:gd name="connsiteY8" fmla="*/ 120220 h 152401"/>
              <a:gd name="connsiteX9" fmla="*/ 16260 w 152401"/>
              <a:gd name="connsiteY9" fmla="*/ 149611 h 152401"/>
              <a:gd name="connsiteX10" fmla="*/ 2790 w 152401"/>
              <a:gd name="connsiteY10" fmla="*/ 149611 h 152401"/>
              <a:gd name="connsiteX11" fmla="*/ 2790 w 152401"/>
              <a:gd name="connsiteY11" fmla="*/ 136141 h 152401"/>
              <a:gd name="connsiteX12" fmla="*/ 32181 w 152401"/>
              <a:gd name="connsiteY12" fmla="*/ 106750 h 152401"/>
              <a:gd name="connsiteX13" fmla="*/ 9525 w 152401"/>
              <a:gd name="connsiteY13" fmla="*/ 72740 h 152401"/>
              <a:gd name="connsiteX14" fmla="*/ 38100 w 152401"/>
              <a:gd name="connsiteY14" fmla="*/ 57151 h 152401"/>
              <a:gd name="connsiteX15" fmla="*/ 66675 w 152401"/>
              <a:gd name="connsiteY15" fmla="*/ 47626 h 152401"/>
              <a:gd name="connsiteX16" fmla="*/ 77217 w 152401"/>
              <a:gd name="connsiteY16" fmla="*/ 22562 h 152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2401" h="152401">
                <a:moveTo>
                  <a:pt x="77217" y="22562"/>
                </a:moveTo>
                <a:cubicBezTo>
                  <a:pt x="78455" y="11424"/>
                  <a:pt x="79696" y="259"/>
                  <a:pt x="92075" y="7"/>
                </a:cubicBezTo>
                <a:cubicBezTo>
                  <a:pt x="105589" y="-267"/>
                  <a:pt x="121580" y="7281"/>
                  <a:pt x="133350" y="19051"/>
                </a:cubicBezTo>
                <a:cubicBezTo>
                  <a:pt x="145120" y="30821"/>
                  <a:pt x="152669" y="46812"/>
                  <a:pt x="152394" y="60327"/>
                </a:cubicBezTo>
                <a:cubicBezTo>
                  <a:pt x="152143" y="72705"/>
                  <a:pt x="140978" y="73947"/>
                  <a:pt x="129839" y="75185"/>
                </a:cubicBezTo>
                <a:cubicBezTo>
                  <a:pt x="119294" y="76356"/>
                  <a:pt x="112095" y="78457"/>
                  <a:pt x="104775" y="85726"/>
                </a:cubicBezTo>
                <a:cubicBezTo>
                  <a:pt x="98766" y="91699"/>
                  <a:pt x="95250" y="103983"/>
                  <a:pt x="95250" y="114301"/>
                </a:cubicBezTo>
                <a:cubicBezTo>
                  <a:pt x="95250" y="124621"/>
                  <a:pt x="95247" y="142876"/>
                  <a:pt x="79661" y="142876"/>
                </a:cubicBezTo>
                <a:cubicBezTo>
                  <a:pt x="73049" y="142876"/>
                  <a:pt x="59265" y="132876"/>
                  <a:pt x="45652" y="120220"/>
                </a:cubicBezTo>
                <a:lnTo>
                  <a:pt x="16260" y="149611"/>
                </a:lnTo>
                <a:cubicBezTo>
                  <a:pt x="12540" y="153332"/>
                  <a:pt x="6510" y="153332"/>
                  <a:pt x="2790" y="149611"/>
                </a:cubicBezTo>
                <a:cubicBezTo>
                  <a:pt x="-930" y="145892"/>
                  <a:pt x="-930" y="139861"/>
                  <a:pt x="2790" y="136141"/>
                </a:cubicBezTo>
                <a:lnTo>
                  <a:pt x="32181" y="106750"/>
                </a:lnTo>
                <a:cubicBezTo>
                  <a:pt x="19525" y="93137"/>
                  <a:pt x="9525" y="79353"/>
                  <a:pt x="9525" y="72740"/>
                </a:cubicBezTo>
                <a:cubicBezTo>
                  <a:pt x="9525" y="57154"/>
                  <a:pt x="27781" y="57151"/>
                  <a:pt x="38100" y="57151"/>
                </a:cubicBezTo>
                <a:cubicBezTo>
                  <a:pt x="48419" y="57151"/>
                  <a:pt x="60702" y="53635"/>
                  <a:pt x="66675" y="47626"/>
                </a:cubicBezTo>
                <a:cubicBezTo>
                  <a:pt x="73017" y="39560"/>
                  <a:pt x="76045" y="33113"/>
                  <a:pt x="77217" y="22562"/>
                </a:cubicBezTo>
                <a:close/>
              </a:path>
            </a:pathLst>
          </a:custGeom>
          <a:solidFill>
            <a:schemeClr val="accent6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5" name="Прямоугольник: скругленные углы 64">
            <a:extLst>
              <a:ext uri="{FF2B5EF4-FFF2-40B4-BE49-F238E27FC236}">
                <a16:creationId xmlns:a16="http://schemas.microsoft.com/office/drawing/2014/main" id="{DDA1F3F9-A479-B8F3-23B0-F2EACC0A4F89}"/>
              </a:ext>
            </a:extLst>
          </p:cNvPr>
          <p:cNvSpPr/>
          <p:nvPr userDrawn="1"/>
        </p:nvSpPr>
        <p:spPr>
          <a:xfrm>
            <a:off x="1023002" y="3108184"/>
            <a:ext cx="728387" cy="570495"/>
          </a:xfrm>
          <a:prstGeom prst="roundRect">
            <a:avLst>
              <a:gd name="adj" fmla="val 8253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900">
              <a:solidFill>
                <a:schemeClr val="tx2"/>
              </a:solidFill>
            </a:endParaRPr>
          </a:p>
        </p:txBody>
      </p:sp>
      <p:sp>
        <p:nvSpPr>
          <p:cNvPr id="66" name="Прямоугольник: скругленные углы 65">
            <a:extLst>
              <a:ext uri="{FF2B5EF4-FFF2-40B4-BE49-F238E27FC236}">
                <a16:creationId xmlns:a16="http://schemas.microsoft.com/office/drawing/2014/main" id="{CB21CD65-F986-7C6D-2086-B846D95DC8EB}"/>
              </a:ext>
            </a:extLst>
          </p:cNvPr>
          <p:cNvSpPr/>
          <p:nvPr userDrawn="1"/>
        </p:nvSpPr>
        <p:spPr>
          <a:xfrm>
            <a:off x="835809" y="3108185"/>
            <a:ext cx="147470" cy="242152"/>
          </a:xfrm>
          <a:prstGeom prst="roundRect">
            <a:avLst>
              <a:gd name="adj" fmla="val 20249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400" err="1"/>
          </a:p>
        </p:txBody>
      </p:sp>
      <p:sp>
        <p:nvSpPr>
          <p:cNvPr id="69" name="Прямоугольник: скругленные углы 68">
            <a:extLst>
              <a:ext uri="{FF2B5EF4-FFF2-40B4-BE49-F238E27FC236}">
                <a16:creationId xmlns:a16="http://schemas.microsoft.com/office/drawing/2014/main" id="{21C57030-9375-A53F-9B9B-1BD595DB4BC0}"/>
              </a:ext>
            </a:extLst>
          </p:cNvPr>
          <p:cNvSpPr/>
          <p:nvPr userDrawn="1"/>
        </p:nvSpPr>
        <p:spPr>
          <a:xfrm>
            <a:off x="639763" y="4535412"/>
            <a:ext cx="3636962" cy="1734939"/>
          </a:xfrm>
          <a:prstGeom prst="roundRect">
            <a:avLst>
              <a:gd name="adj" fmla="val 10391"/>
            </a:avLst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0000"/>
              </a:solidFill>
            </a:endParaRPr>
          </a:p>
        </p:txBody>
      </p:sp>
      <p:sp>
        <p:nvSpPr>
          <p:cNvPr id="70" name="Рисунок 7">
            <a:extLst>
              <a:ext uri="{FF2B5EF4-FFF2-40B4-BE49-F238E27FC236}">
                <a16:creationId xmlns:a16="http://schemas.microsoft.com/office/drawing/2014/main" id="{F2B7419B-60EF-5C59-E6F9-B644857AC378}"/>
              </a:ext>
            </a:extLst>
          </p:cNvPr>
          <p:cNvSpPr/>
          <p:nvPr userDrawn="1"/>
        </p:nvSpPr>
        <p:spPr>
          <a:xfrm>
            <a:off x="3984207" y="4656592"/>
            <a:ext cx="145227" cy="145227"/>
          </a:xfrm>
          <a:custGeom>
            <a:avLst/>
            <a:gdLst>
              <a:gd name="connsiteX0" fmla="*/ 77217 w 152401"/>
              <a:gd name="connsiteY0" fmla="*/ 22562 h 152401"/>
              <a:gd name="connsiteX1" fmla="*/ 92075 w 152401"/>
              <a:gd name="connsiteY1" fmla="*/ 7 h 152401"/>
              <a:gd name="connsiteX2" fmla="*/ 133350 w 152401"/>
              <a:gd name="connsiteY2" fmla="*/ 19051 h 152401"/>
              <a:gd name="connsiteX3" fmla="*/ 152394 w 152401"/>
              <a:gd name="connsiteY3" fmla="*/ 60327 h 152401"/>
              <a:gd name="connsiteX4" fmla="*/ 129839 w 152401"/>
              <a:gd name="connsiteY4" fmla="*/ 75185 h 152401"/>
              <a:gd name="connsiteX5" fmla="*/ 104775 w 152401"/>
              <a:gd name="connsiteY5" fmla="*/ 85726 h 152401"/>
              <a:gd name="connsiteX6" fmla="*/ 95250 w 152401"/>
              <a:gd name="connsiteY6" fmla="*/ 114301 h 152401"/>
              <a:gd name="connsiteX7" fmla="*/ 79661 w 152401"/>
              <a:gd name="connsiteY7" fmla="*/ 142876 h 152401"/>
              <a:gd name="connsiteX8" fmla="*/ 45652 w 152401"/>
              <a:gd name="connsiteY8" fmla="*/ 120220 h 152401"/>
              <a:gd name="connsiteX9" fmla="*/ 16260 w 152401"/>
              <a:gd name="connsiteY9" fmla="*/ 149611 h 152401"/>
              <a:gd name="connsiteX10" fmla="*/ 2790 w 152401"/>
              <a:gd name="connsiteY10" fmla="*/ 149611 h 152401"/>
              <a:gd name="connsiteX11" fmla="*/ 2790 w 152401"/>
              <a:gd name="connsiteY11" fmla="*/ 136141 h 152401"/>
              <a:gd name="connsiteX12" fmla="*/ 32181 w 152401"/>
              <a:gd name="connsiteY12" fmla="*/ 106750 h 152401"/>
              <a:gd name="connsiteX13" fmla="*/ 9525 w 152401"/>
              <a:gd name="connsiteY13" fmla="*/ 72740 h 152401"/>
              <a:gd name="connsiteX14" fmla="*/ 38100 w 152401"/>
              <a:gd name="connsiteY14" fmla="*/ 57151 h 152401"/>
              <a:gd name="connsiteX15" fmla="*/ 66675 w 152401"/>
              <a:gd name="connsiteY15" fmla="*/ 47626 h 152401"/>
              <a:gd name="connsiteX16" fmla="*/ 77217 w 152401"/>
              <a:gd name="connsiteY16" fmla="*/ 22562 h 152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2401" h="152401">
                <a:moveTo>
                  <a:pt x="77217" y="22562"/>
                </a:moveTo>
                <a:cubicBezTo>
                  <a:pt x="78455" y="11424"/>
                  <a:pt x="79696" y="259"/>
                  <a:pt x="92075" y="7"/>
                </a:cubicBezTo>
                <a:cubicBezTo>
                  <a:pt x="105589" y="-267"/>
                  <a:pt x="121580" y="7281"/>
                  <a:pt x="133350" y="19051"/>
                </a:cubicBezTo>
                <a:cubicBezTo>
                  <a:pt x="145120" y="30821"/>
                  <a:pt x="152669" y="46812"/>
                  <a:pt x="152394" y="60327"/>
                </a:cubicBezTo>
                <a:cubicBezTo>
                  <a:pt x="152143" y="72705"/>
                  <a:pt x="140978" y="73947"/>
                  <a:pt x="129839" y="75185"/>
                </a:cubicBezTo>
                <a:cubicBezTo>
                  <a:pt x="119294" y="76356"/>
                  <a:pt x="112095" y="78457"/>
                  <a:pt x="104775" y="85726"/>
                </a:cubicBezTo>
                <a:cubicBezTo>
                  <a:pt x="98766" y="91699"/>
                  <a:pt x="95250" y="103983"/>
                  <a:pt x="95250" y="114301"/>
                </a:cubicBezTo>
                <a:cubicBezTo>
                  <a:pt x="95250" y="124621"/>
                  <a:pt x="95247" y="142876"/>
                  <a:pt x="79661" y="142876"/>
                </a:cubicBezTo>
                <a:cubicBezTo>
                  <a:pt x="73049" y="142876"/>
                  <a:pt x="59265" y="132876"/>
                  <a:pt x="45652" y="120220"/>
                </a:cubicBezTo>
                <a:lnTo>
                  <a:pt x="16260" y="149611"/>
                </a:lnTo>
                <a:cubicBezTo>
                  <a:pt x="12540" y="153332"/>
                  <a:pt x="6510" y="153332"/>
                  <a:pt x="2790" y="149611"/>
                </a:cubicBezTo>
                <a:cubicBezTo>
                  <a:pt x="-930" y="145892"/>
                  <a:pt x="-930" y="139861"/>
                  <a:pt x="2790" y="136141"/>
                </a:cubicBezTo>
                <a:lnTo>
                  <a:pt x="32181" y="106750"/>
                </a:lnTo>
                <a:cubicBezTo>
                  <a:pt x="19525" y="93137"/>
                  <a:pt x="9525" y="79353"/>
                  <a:pt x="9525" y="72740"/>
                </a:cubicBezTo>
                <a:cubicBezTo>
                  <a:pt x="9525" y="57154"/>
                  <a:pt x="27781" y="57151"/>
                  <a:pt x="38100" y="57151"/>
                </a:cubicBezTo>
                <a:cubicBezTo>
                  <a:pt x="48419" y="57151"/>
                  <a:pt x="60702" y="53635"/>
                  <a:pt x="66675" y="47626"/>
                </a:cubicBezTo>
                <a:cubicBezTo>
                  <a:pt x="73017" y="39560"/>
                  <a:pt x="76045" y="33113"/>
                  <a:pt x="77217" y="22562"/>
                </a:cubicBezTo>
                <a:close/>
              </a:path>
            </a:pathLst>
          </a:custGeom>
          <a:solidFill>
            <a:schemeClr val="accent6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E8E9C7D4-7F19-AC51-33F9-D8BBCA267888}"/>
              </a:ext>
            </a:extLst>
          </p:cNvPr>
          <p:cNvSpPr txBox="1"/>
          <p:nvPr userDrawn="1"/>
        </p:nvSpPr>
        <p:spPr>
          <a:xfrm>
            <a:off x="852195" y="4682793"/>
            <a:ext cx="2741705" cy="25329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</a:pPr>
            <a:r>
              <a:rPr lang="ru-RU" b="1">
                <a:solidFill>
                  <a:schemeClr val="tx1"/>
                </a:solidFill>
              </a:rPr>
              <a:t>Таблицы на стиле</a:t>
            </a:r>
          </a:p>
        </p:txBody>
      </p:sp>
      <p:pic>
        <p:nvPicPr>
          <p:cNvPr id="72" name="Рисунок 71">
            <a:extLst>
              <a:ext uri="{FF2B5EF4-FFF2-40B4-BE49-F238E27FC236}">
                <a16:creationId xmlns:a16="http://schemas.microsoft.com/office/drawing/2014/main" id="{839CAEAD-5A29-77AC-24B1-9B23EA722D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57406" y="5041239"/>
            <a:ext cx="1336787" cy="596097"/>
          </a:xfrm>
          <a:prstGeom prst="roundRect">
            <a:avLst>
              <a:gd name="adj" fmla="val 8135"/>
            </a:avLst>
          </a:prstGeom>
        </p:spPr>
      </p:pic>
      <p:sp>
        <p:nvSpPr>
          <p:cNvPr id="73" name="TextBox 72">
            <a:extLst>
              <a:ext uri="{FF2B5EF4-FFF2-40B4-BE49-F238E27FC236}">
                <a16:creationId xmlns:a16="http://schemas.microsoft.com/office/drawing/2014/main" id="{668AA1F6-2C48-284A-413B-4F3F92A6F793}"/>
              </a:ext>
            </a:extLst>
          </p:cNvPr>
          <p:cNvSpPr txBox="1"/>
          <p:nvPr userDrawn="1"/>
        </p:nvSpPr>
        <p:spPr>
          <a:xfrm>
            <a:off x="2310490" y="5041239"/>
            <a:ext cx="1737427" cy="82060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ru-RU" sz="1200" spc="-30" dirty="0"/>
              <a:t>Настроили специальный стиль для работы </a:t>
            </a:r>
            <a:br>
              <a:rPr lang="ru-RU" sz="1200" spc="-30" dirty="0"/>
            </a:br>
            <a:r>
              <a:rPr lang="ru-RU" sz="1200" spc="-30" dirty="0"/>
              <a:t>с таблицами.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1E8D18C9-F6FE-2916-B3E7-94839200DFEB}"/>
              </a:ext>
            </a:extLst>
          </p:cNvPr>
          <p:cNvSpPr txBox="1"/>
          <p:nvPr userDrawn="1"/>
        </p:nvSpPr>
        <p:spPr>
          <a:xfrm>
            <a:off x="852195" y="5727560"/>
            <a:ext cx="3277239" cy="4041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ru-RU" sz="1200" dirty="0"/>
              <a:t>Настраивай вид таблицы в несколько кликов в разделе «Конструктор таблиц».</a:t>
            </a:r>
          </a:p>
        </p:txBody>
      </p:sp>
      <p:sp>
        <p:nvSpPr>
          <p:cNvPr id="75" name="Прямоугольник: скругленные углы 74">
            <a:extLst>
              <a:ext uri="{FF2B5EF4-FFF2-40B4-BE49-F238E27FC236}">
                <a16:creationId xmlns:a16="http://schemas.microsoft.com/office/drawing/2014/main" id="{4229081F-D723-2FAA-3892-E9FC912BF1F8}"/>
              </a:ext>
            </a:extLst>
          </p:cNvPr>
          <p:cNvSpPr/>
          <p:nvPr userDrawn="1"/>
        </p:nvSpPr>
        <p:spPr>
          <a:xfrm>
            <a:off x="835809" y="3382445"/>
            <a:ext cx="147470" cy="173301"/>
          </a:xfrm>
          <a:prstGeom prst="roundRect">
            <a:avLst>
              <a:gd name="adj" fmla="val 18868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400" err="1"/>
          </a:p>
        </p:txBody>
      </p:sp>
      <p:sp>
        <p:nvSpPr>
          <p:cNvPr id="76" name="Прямоугольник: скругленные углы 75">
            <a:extLst>
              <a:ext uri="{FF2B5EF4-FFF2-40B4-BE49-F238E27FC236}">
                <a16:creationId xmlns:a16="http://schemas.microsoft.com/office/drawing/2014/main" id="{96C9CBD6-99B5-BB03-C015-6A5DEA4AD943}"/>
              </a:ext>
            </a:extLst>
          </p:cNvPr>
          <p:cNvSpPr/>
          <p:nvPr userDrawn="1"/>
        </p:nvSpPr>
        <p:spPr>
          <a:xfrm>
            <a:off x="835809" y="3587854"/>
            <a:ext cx="147470" cy="99462"/>
          </a:xfrm>
          <a:prstGeom prst="roundRect">
            <a:avLst>
              <a:gd name="adj" fmla="val 29916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400" err="1"/>
          </a:p>
        </p:txBody>
      </p:sp>
      <p:sp>
        <p:nvSpPr>
          <p:cNvPr id="78" name="Рисунок 7">
            <a:extLst>
              <a:ext uri="{FF2B5EF4-FFF2-40B4-BE49-F238E27FC236}">
                <a16:creationId xmlns:a16="http://schemas.microsoft.com/office/drawing/2014/main" id="{F05551BF-F822-F259-F28D-A7BF32D70259}"/>
              </a:ext>
            </a:extLst>
          </p:cNvPr>
          <p:cNvSpPr/>
          <p:nvPr userDrawn="1"/>
        </p:nvSpPr>
        <p:spPr>
          <a:xfrm>
            <a:off x="8208625" y="534179"/>
            <a:ext cx="145227" cy="145227"/>
          </a:xfrm>
          <a:custGeom>
            <a:avLst/>
            <a:gdLst>
              <a:gd name="connsiteX0" fmla="*/ 77217 w 152401"/>
              <a:gd name="connsiteY0" fmla="*/ 22562 h 152401"/>
              <a:gd name="connsiteX1" fmla="*/ 92075 w 152401"/>
              <a:gd name="connsiteY1" fmla="*/ 7 h 152401"/>
              <a:gd name="connsiteX2" fmla="*/ 133350 w 152401"/>
              <a:gd name="connsiteY2" fmla="*/ 19051 h 152401"/>
              <a:gd name="connsiteX3" fmla="*/ 152394 w 152401"/>
              <a:gd name="connsiteY3" fmla="*/ 60327 h 152401"/>
              <a:gd name="connsiteX4" fmla="*/ 129839 w 152401"/>
              <a:gd name="connsiteY4" fmla="*/ 75185 h 152401"/>
              <a:gd name="connsiteX5" fmla="*/ 104775 w 152401"/>
              <a:gd name="connsiteY5" fmla="*/ 85726 h 152401"/>
              <a:gd name="connsiteX6" fmla="*/ 95250 w 152401"/>
              <a:gd name="connsiteY6" fmla="*/ 114301 h 152401"/>
              <a:gd name="connsiteX7" fmla="*/ 79661 w 152401"/>
              <a:gd name="connsiteY7" fmla="*/ 142876 h 152401"/>
              <a:gd name="connsiteX8" fmla="*/ 45652 w 152401"/>
              <a:gd name="connsiteY8" fmla="*/ 120220 h 152401"/>
              <a:gd name="connsiteX9" fmla="*/ 16260 w 152401"/>
              <a:gd name="connsiteY9" fmla="*/ 149611 h 152401"/>
              <a:gd name="connsiteX10" fmla="*/ 2790 w 152401"/>
              <a:gd name="connsiteY10" fmla="*/ 149611 h 152401"/>
              <a:gd name="connsiteX11" fmla="*/ 2790 w 152401"/>
              <a:gd name="connsiteY11" fmla="*/ 136141 h 152401"/>
              <a:gd name="connsiteX12" fmla="*/ 32181 w 152401"/>
              <a:gd name="connsiteY12" fmla="*/ 106750 h 152401"/>
              <a:gd name="connsiteX13" fmla="*/ 9525 w 152401"/>
              <a:gd name="connsiteY13" fmla="*/ 72740 h 152401"/>
              <a:gd name="connsiteX14" fmla="*/ 38100 w 152401"/>
              <a:gd name="connsiteY14" fmla="*/ 57151 h 152401"/>
              <a:gd name="connsiteX15" fmla="*/ 66675 w 152401"/>
              <a:gd name="connsiteY15" fmla="*/ 47626 h 152401"/>
              <a:gd name="connsiteX16" fmla="*/ 77217 w 152401"/>
              <a:gd name="connsiteY16" fmla="*/ 22562 h 152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2401" h="152401">
                <a:moveTo>
                  <a:pt x="77217" y="22562"/>
                </a:moveTo>
                <a:cubicBezTo>
                  <a:pt x="78455" y="11424"/>
                  <a:pt x="79696" y="259"/>
                  <a:pt x="92075" y="7"/>
                </a:cubicBezTo>
                <a:cubicBezTo>
                  <a:pt x="105589" y="-267"/>
                  <a:pt x="121580" y="7281"/>
                  <a:pt x="133350" y="19051"/>
                </a:cubicBezTo>
                <a:cubicBezTo>
                  <a:pt x="145120" y="30821"/>
                  <a:pt x="152669" y="46812"/>
                  <a:pt x="152394" y="60327"/>
                </a:cubicBezTo>
                <a:cubicBezTo>
                  <a:pt x="152143" y="72705"/>
                  <a:pt x="140978" y="73947"/>
                  <a:pt x="129839" y="75185"/>
                </a:cubicBezTo>
                <a:cubicBezTo>
                  <a:pt x="119294" y="76356"/>
                  <a:pt x="112095" y="78457"/>
                  <a:pt x="104775" y="85726"/>
                </a:cubicBezTo>
                <a:cubicBezTo>
                  <a:pt x="98766" y="91699"/>
                  <a:pt x="95250" y="103983"/>
                  <a:pt x="95250" y="114301"/>
                </a:cubicBezTo>
                <a:cubicBezTo>
                  <a:pt x="95250" y="124621"/>
                  <a:pt x="95247" y="142876"/>
                  <a:pt x="79661" y="142876"/>
                </a:cubicBezTo>
                <a:cubicBezTo>
                  <a:pt x="73049" y="142876"/>
                  <a:pt x="59265" y="132876"/>
                  <a:pt x="45652" y="120220"/>
                </a:cubicBezTo>
                <a:lnTo>
                  <a:pt x="16260" y="149611"/>
                </a:lnTo>
                <a:cubicBezTo>
                  <a:pt x="12540" y="153332"/>
                  <a:pt x="6510" y="153332"/>
                  <a:pt x="2790" y="149611"/>
                </a:cubicBezTo>
                <a:cubicBezTo>
                  <a:pt x="-930" y="145892"/>
                  <a:pt x="-930" y="139861"/>
                  <a:pt x="2790" y="136141"/>
                </a:cubicBezTo>
                <a:lnTo>
                  <a:pt x="32181" y="106750"/>
                </a:lnTo>
                <a:cubicBezTo>
                  <a:pt x="19525" y="93137"/>
                  <a:pt x="9525" y="79353"/>
                  <a:pt x="9525" y="72740"/>
                </a:cubicBezTo>
                <a:cubicBezTo>
                  <a:pt x="9525" y="57154"/>
                  <a:pt x="27781" y="57151"/>
                  <a:pt x="38100" y="57151"/>
                </a:cubicBezTo>
                <a:cubicBezTo>
                  <a:pt x="48419" y="57151"/>
                  <a:pt x="60702" y="53635"/>
                  <a:pt x="66675" y="47626"/>
                </a:cubicBezTo>
                <a:cubicBezTo>
                  <a:pt x="73017" y="39560"/>
                  <a:pt x="76045" y="33113"/>
                  <a:pt x="77217" y="22562"/>
                </a:cubicBezTo>
                <a:close/>
              </a:path>
            </a:pathLst>
          </a:custGeom>
          <a:solidFill>
            <a:schemeClr val="accent6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00" name="Рисунок 7">
            <a:extLst>
              <a:ext uri="{FF2B5EF4-FFF2-40B4-BE49-F238E27FC236}">
                <a16:creationId xmlns:a16="http://schemas.microsoft.com/office/drawing/2014/main" id="{BF8EACDE-C000-C872-7DD4-D2D6912EA863}"/>
              </a:ext>
            </a:extLst>
          </p:cNvPr>
          <p:cNvSpPr/>
          <p:nvPr userDrawn="1"/>
        </p:nvSpPr>
        <p:spPr>
          <a:xfrm>
            <a:off x="11248712" y="534179"/>
            <a:ext cx="145227" cy="145227"/>
          </a:xfrm>
          <a:custGeom>
            <a:avLst/>
            <a:gdLst>
              <a:gd name="connsiteX0" fmla="*/ 77217 w 152401"/>
              <a:gd name="connsiteY0" fmla="*/ 22562 h 152401"/>
              <a:gd name="connsiteX1" fmla="*/ 92075 w 152401"/>
              <a:gd name="connsiteY1" fmla="*/ 7 h 152401"/>
              <a:gd name="connsiteX2" fmla="*/ 133350 w 152401"/>
              <a:gd name="connsiteY2" fmla="*/ 19051 h 152401"/>
              <a:gd name="connsiteX3" fmla="*/ 152394 w 152401"/>
              <a:gd name="connsiteY3" fmla="*/ 60327 h 152401"/>
              <a:gd name="connsiteX4" fmla="*/ 129839 w 152401"/>
              <a:gd name="connsiteY4" fmla="*/ 75185 h 152401"/>
              <a:gd name="connsiteX5" fmla="*/ 104775 w 152401"/>
              <a:gd name="connsiteY5" fmla="*/ 85726 h 152401"/>
              <a:gd name="connsiteX6" fmla="*/ 95250 w 152401"/>
              <a:gd name="connsiteY6" fmla="*/ 114301 h 152401"/>
              <a:gd name="connsiteX7" fmla="*/ 79661 w 152401"/>
              <a:gd name="connsiteY7" fmla="*/ 142876 h 152401"/>
              <a:gd name="connsiteX8" fmla="*/ 45652 w 152401"/>
              <a:gd name="connsiteY8" fmla="*/ 120220 h 152401"/>
              <a:gd name="connsiteX9" fmla="*/ 16260 w 152401"/>
              <a:gd name="connsiteY9" fmla="*/ 149611 h 152401"/>
              <a:gd name="connsiteX10" fmla="*/ 2790 w 152401"/>
              <a:gd name="connsiteY10" fmla="*/ 149611 h 152401"/>
              <a:gd name="connsiteX11" fmla="*/ 2790 w 152401"/>
              <a:gd name="connsiteY11" fmla="*/ 136141 h 152401"/>
              <a:gd name="connsiteX12" fmla="*/ 32181 w 152401"/>
              <a:gd name="connsiteY12" fmla="*/ 106750 h 152401"/>
              <a:gd name="connsiteX13" fmla="*/ 9525 w 152401"/>
              <a:gd name="connsiteY13" fmla="*/ 72740 h 152401"/>
              <a:gd name="connsiteX14" fmla="*/ 38100 w 152401"/>
              <a:gd name="connsiteY14" fmla="*/ 57151 h 152401"/>
              <a:gd name="connsiteX15" fmla="*/ 66675 w 152401"/>
              <a:gd name="connsiteY15" fmla="*/ 47626 h 152401"/>
              <a:gd name="connsiteX16" fmla="*/ 77217 w 152401"/>
              <a:gd name="connsiteY16" fmla="*/ 22562 h 152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2401" h="152401">
                <a:moveTo>
                  <a:pt x="77217" y="22562"/>
                </a:moveTo>
                <a:cubicBezTo>
                  <a:pt x="78455" y="11424"/>
                  <a:pt x="79696" y="259"/>
                  <a:pt x="92075" y="7"/>
                </a:cubicBezTo>
                <a:cubicBezTo>
                  <a:pt x="105589" y="-267"/>
                  <a:pt x="121580" y="7281"/>
                  <a:pt x="133350" y="19051"/>
                </a:cubicBezTo>
                <a:cubicBezTo>
                  <a:pt x="145120" y="30821"/>
                  <a:pt x="152669" y="46812"/>
                  <a:pt x="152394" y="60327"/>
                </a:cubicBezTo>
                <a:cubicBezTo>
                  <a:pt x="152143" y="72705"/>
                  <a:pt x="140978" y="73947"/>
                  <a:pt x="129839" y="75185"/>
                </a:cubicBezTo>
                <a:cubicBezTo>
                  <a:pt x="119294" y="76356"/>
                  <a:pt x="112095" y="78457"/>
                  <a:pt x="104775" y="85726"/>
                </a:cubicBezTo>
                <a:cubicBezTo>
                  <a:pt x="98766" y="91699"/>
                  <a:pt x="95250" y="103983"/>
                  <a:pt x="95250" y="114301"/>
                </a:cubicBezTo>
                <a:cubicBezTo>
                  <a:pt x="95250" y="124621"/>
                  <a:pt x="95247" y="142876"/>
                  <a:pt x="79661" y="142876"/>
                </a:cubicBezTo>
                <a:cubicBezTo>
                  <a:pt x="73049" y="142876"/>
                  <a:pt x="59265" y="132876"/>
                  <a:pt x="45652" y="120220"/>
                </a:cubicBezTo>
                <a:lnTo>
                  <a:pt x="16260" y="149611"/>
                </a:lnTo>
                <a:cubicBezTo>
                  <a:pt x="12540" y="153332"/>
                  <a:pt x="6510" y="153332"/>
                  <a:pt x="2790" y="149611"/>
                </a:cubicBezTo>
                <a:cubicBezTo>
                  <a:pt x="-930" y="145892"/>
                  <a:pt x="-930" y="139861"/>
                  <a:pt x="2790" y="136141"/>
                </a:cubicBezTo>
                <a:lnTo>
                  <a:pt x="32181" y="106750"/>
                </a:lnTo>
                <a:cubicBezTo>
                  <a:pt x="19525" y="93137"/>
                  <a:pt x="9525" y="79353"/>
                  <a:pt x="9525" y="72740"/>
                </a:cubicBezTo>
                <a:cubicBezTo>
                  <a:pt x="9525" y="57154"/>
                  <a:pt x="27781" y="57151"/>
                  <a:pt x="38100" y="57151"/>
                </a:cubicBezTo>
                <a:cubicBezTo>
                  <a:pt x="48419" y="57151"/>
                  <a:pt x="60702" y="53635"/>
                  <a:pt x="66675" y="47626"/>
                </a:cubicBezTo>
                <a:cubicBezTo>
                  <a:pt x="73017" y="39560"/>
                  <a:pt x="76045" y="33113"/>
                  <a:pt x="77217" y="22562"/>
                </a:cubicBezTo>
                <a:close/>
              </a:path>
            </a:pathLst>
          </a:custGeom>
          <a:solidFill>
            <a:schemeClr val="accent6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pic>
        <p:nvPicPr>
          <p:cNvPr id="103" name="Рисунок 102">
            <a:extLst>
              <a:ext uri="{FF2B5EF4-FFF2-40B4-BE49-F238E27FC236}">
                <a16:creationId xmlns:a16="http://schemas.microsoft.com/office/drawing/2014/main" id="{0F92B201-50C1-310E-C726-28247CA7DC4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72687" y="2117100"/>
            <a:ext cx="166759" cy="166759"/>
          </a:xfrm>
          <a:prstGeom prst="rect">
            <a:avLst/>
          </a:prstGeom>
        </p:spPr>
      </p:pic>
      <p:pic>
        <p:nvPicPr>
          <p:cNvPr id="104" name="Рисунок 103">
            <a:extLst>
              <a:ext uri="{FF2B5EF4-FFF2-40B4-BE49-F238E27FC236}">
                <a16:creationId xmlns:a16="http://schemas.microsoft.com/office/drawing/2014/main" id="{19E94223-E790-58A9-6376-F634F65BD8B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72687" y="3092518"/>
            <a:ext cx="166759" cy="166759"/>
          </a:xfrm>
          <a:prstGeom prst="rect">
            <a:avLst/>
          </a:prstGeom>
        </p:spPr>
      </p:pic>
      <p:sp>
        <p:nvSpPr>
          <p:cNvPr id="107" name="Рисунок 7">
            <a:extLst>
              <a:ext uri="{FF2B5EF4-FFF2-40B4-BE49-F238E27FC236}">
                <a16:creationId xmlns:a16="http://schemas.microsoft.com/office/drawing/2014/main" id="{BDCE8111-42D6-40F9-4114-0169203FB13D}"/>
              </a:ext>
            </a:extLst>
          </p:cNvPr>
          <p:cNvSpPr/>
          <p:nvPr userDrawn="1"/>
        </p:nvSpPr>
        <p:spPr>
          <a:xfrm>
            <a:off x="11259721" y="4368825"/>
            <a:ext cx="145227" cy="145227"/>
          </a:xfrm>
          <a:custGeom>
            <a:avLst/>
            <a:gdLst>
              <a:gd name="connsiteX0" fmla="*/ 77217 w 152401"/>
              <a:gd name="connsiteY0" fmla="*/ 22562 h 152401"/>
              <a:gd name="connsiteX1" fmla="*/ 92075 w 152401"/>
              <a:gd name="connsiteY1" fmla="*/ 7 h 152401"/>
              <a:gd name="connsiteX2" fmla="*/ 133350 w 152401"/>
              <a:gd name="connsiteY2" fmla="*/ 19051 h 152401"/>
              <a:gd name="connsiteX3" fmla="*/ 152394 w 152401"/>
              <a:gd name="connsiteY3" fmla="*/ 60327 h 152401"/>
              <a:gd name="connsiteX4" fmla="*/ 129839 w 152401"/>
              <a:gd name="connsiteY4" fmla="*/ 75185 h 152401"/>
              <a:gd name="connsiteX5" fmla="*/ 104775 w 152401"/>
              <a:gd name="connsiteY5" fmla="*/ 85726 h 152401"/>
              <a:gd name="connsiteX6" fmla="*/ 95250 w 152401"/>
              <a:gd name="connsiteY6" fmla="*/ 114301 h 152401"/>
              <a:gd name="connsiteX7" fmla="*/ 79661 w 152401"/>
              <a:gd name="connsiteY7" fmla="*/ 142876 h 152401"/>
              <a:gd name="connsiteX8" fmla="*/ 45652 w 152401"/>
              <a:gd name="connsiteY8" fmla="*/ 120220 h 152401"/>
              <a:gd name="connsiteX9" fmla="*/ 16260 w 152401"/>
              <a:gd name="connsiteY9" fmla="*/ 149611 h 152401"/>
              <a:gd name="connsiteX10" fmla="*/ 2790 w 152401"/>
              <a:gd name="connsiteY10" fmla="*/ 149611 h 152401"/>
              <a:gd name="connsiteX11" fmla="*/ 2790 w 152401"/>
              <a:gd name="connsiteY11" fmla="*/ 136141 h 152401"/>
              <a:gd name="connsiteX12" fmla="*/ 32181 w 152401"/>
              <a:gd name="connsiteY12" fmla="*/ 106750 h 152401"/>
              <a:gd name="connsiteX13" fmla="*/ 9525 w 152401"/>
              <a:gd name="connsiteY13" fmla="*/ 72740 h 152401"/>
              <a:gd name="connsiteX14" fmla="*/ 38100 w 152401"/>
              <a:gd name="connsiteY14" fmla="*/ 57151 h 152401"/>
              <a:gd name="connsiteX15" fmla="*/ 66675 w 152401"/>
              <a:gd name="connsiteY15" fmla="*/ 47626 h 152401"/>
              <a:gd name="connsiteX16" fmla="*/ 77217 w 152401"/>
              <a:gd name="connsiteY16" fmla="*/ 22562 h 152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2401" h="152401">
                <a:moveTo>
                  <a:pt x="77217" y="22562"/>
                </a:moveTo>
                <a:cubicBezTo>
                  <a:pt x="78455" y="11424"/>
                  <a:pt x="79696" y="259"/>
                  <a:pt x="92075" y="7"/>
                </a:cubicBezTo>
                <a:cubicBezTo>
                  <a:pt x="105589" y="-267"/>
                  <a:pt x="121580" y="7281"/>
                  <a:pt x="133350" y="19051"/>
                </a:cubicBezTo>
                <a:cubicBezTo>
                  <a:pt x="145120" y="30821"/>
                  <a:pt x="152669" y="46812"/>
                  <a:pt x="152394" y="60327"/>
                </a:cubicBezTo>
                <a:cubicBezTo>
                  <a:pt x="152143" y="72705"/>
                  <a:pt x="140978" y="73947"/>
                  <a:pt x="129839" y="75185"/>
                </a:cubicBezTo>
                <a:cubicBezTo>
                  <a:pt x="119294" y="76356"/>
                  <a:pt x="112095" y="78457"/>
                  <a:pt x="104775" y="85726"/>
                </a:cubicBezTo>
                <a:cubicBezTo>
                  <a:pt x="98766" y="91699"/>
                  <a:pt x="95250" y="103983"/>
                  <a:pt x="95250" y="114301"/>
                </a:cubicBezTo>
                <a:cubicBezTo>
                  <a:pt x="95250" y="124621"/>
                  <a:pt x="95247" y="142876"/>
                  <a:pt x="79661" y="142876"/>
                </a:cubicBezTo>
                <a:cubicBezTo>
                  <a:pt x="73049" y="142876"/>
                  <a:pt x="59265" y="132876"/>
                  <a:pt x="45652" y="120220"/>
                </a:cubicBezTo>
                <a:lnTo>
                  <a:pt x="16260" y="149611"/>
                </a:lnTo>
                <a:cubicBezTo>
                  <a:pt x="12540" y="153332"/>
                  <a:pt x="6510" y="153332"/>
                  <a:pt x="2790" y="149611"/>
                </a:cubicBezTo>
                <a:cubicBezTo>
                  <a:pt x="-930" y="145892"/>
                  <a:pt x="-930" y="139861"/>
                  <a:pt x="2790" y="136141"/>
                </a:cubicBezTo>
                <a:lnTo>
                  <a:pt x="32181" y="106750"/>
                </a:lnTo>
                <a:cubicBezTo>
                  <a:pt x="19525" y="93137"/>
                  <a:pt x="9525" y="79353"/>
                  <a:pt x="9525" y="72740"/>
                </a:cubicBezTo>
                <a:cubicBezTo>
                  <a:pt x="9525" y="57154"/>
                  <a:pt x="27781" y="57151"/>
                  <a:pt x="38100" y="57151"/>
                </a:cubicBezTo>
                <a:cubicBezTo>
                  <a:pt x="48419" y="57151"/>
                  <a:pt x="60702" y="53635"/>
                  <a:pt x="66675" y="47626"/>
                </a:cubicBezTo>
                <a:cubicBezTo>
                  <a:pt x="73017" y="39560"/>
                  <a:pt x="76045" y="33113"/>
                  <a:pt x="77217" y="22562"/>
                </a:cubicBez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pic>
        <p:nvPicPr>
          <p:cNvPr id="77" name="Рисунок 76" descr="Изображение выглядит как графическая вставка, Графика, графический дизайн, иллюстрация&#10;&#10;Автоматически созданное описание">
            <a:extLst>
              <a:ext uri="{FF2B5EF4-FFF2-40B4-BE49-F238E27FC236}">
                <a16:creationId xmlns:a16="http://schemas.microsoft.com/office/drawing/2014/main" id="{276BF3AB-DC00-0546-93DF-2A740B4A669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645" y="647902"/>
            <a:ext cx="1659941" cy="803412"/>
          </a:xfrm>
          <a:prstGeom prst="rect">
            <a:avLst/>
          </a:prstGeom>
        </p:spPr>
      </p:pic>
      <p:pic>
        <p:nvPicPr>
          <p:cNvPr id="79" name="Рисунок 78" descr="Изображение выглядит как графическая вставка, мультфильм, Детское искусство, иллюстрация&#10;&#10;Автоматически созданное описание">
            <a:extLst>
              <a:ext uri="{FF2B5EF4-FFF2-40B4-BE49-F238E27FC236}">
                <a16:creationId xmlns:a16="http://schemas.microsoft.com/office/drawing/2014/main" id="{FADF100C-4902-314A-A475-3D020BAD1CC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75159" y="4333974"/>
            <a:ext cx="531911" cy="531911"/>
          </a:xfrm>
          <a:prstGeom prst="rect">
            <a:avLst/>
          </a:prstGeom>
        </p:spPr>
      </p:pic>
      <p:grpSp>
        <p:nvGrpSpPr>
          <p:cNvPr id="83" name="Группа 82">
            <a:extLst>
              <a:ext uri="{FF2B5EF4-FFF2-40B4-BE49-F238E27FC236}">
                <a16:creationId xmlns:a16="http://schemas.microsoft.com/office/drawing/2014/main" id="{2E914D65-6B19-2C49-A6F3-DBF88ABA0691}"/>
              </a:ext>
            </a:extLst>
          </p:cNvPr>
          <p:cNvGrpSpPr/>
          <p:nvPr/>
        </p:nvGrpSpPr>
        <p:grpSpPr>
          <a:xfrm>
            <a:off x="4712045" y="585020"/>
            <a:ext cx="3679822" cy="5212740"/>
            <a:chOff x="4746894" y="587649"/>
            <a:chExt cx="3679822" cy="5212740"/>
          </a:xfrm>
        </p:grpSpPr>
        <p:pic>
          <p:nvPicPr>
            <p:cNvPr id="125" name="Рисунок 124">
              <a:extLst>
                <a:ext uri="{FF2B5EF4-FFF2-40B4-BE49-F238E27FC236}">
                  <a16:creationId xmlns:a16="http://schemas.microsoft.com/office/drawing/2014/main" id="{E3079F11-CA78-FB11-42F8-457DF2F7DCD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746894" y="1316353"/>
              <a:ext cx="1564527" cy="2330494"/>
            </a:xfrm>
            <a:prstGeom prst="rect">
              <a:avLst/>
            </a:prstGeom>
          </p:spPr>
        </p:pic>
        <p:pic>
          <p:nvPicPr>
            <p:cNvPr id="126" name="Рисунок 125">
              <a:extLst>
                <a:ext uri="{FF2B5EF4-FFF2-40B4-BE49-F238E27FC236}">
                  <a16:creationId xmlns:a16="http://schemas.microsoft.com/office/drawing/2014/main" id="{2E4DA317-AF6A-4C4C-B7DD-279BA9C46C3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766203" y="1608873"/>
              <a:ext cx="1474279" cy="2023321"/>
            </a:xfrm>
            <a:prstGeom prst="rect">
              <a:avLst/>
            </a:prstGeom>
          </p:spPr>
        </p:pic>
        <p:sp>
          <p:nvSpPr>
            <p:cNvPr id="127" name="Прямоугольник: скругленные углы 69">
              <a:extLst>
                <a:ext uri="{FF2B5EF4-FFF2-40B4-BE49-F238E27FC236}">
                  <a16:creationId xmlns:a16="http://schemas.microsoft.com/office/drawing/2014/main" id="{8F97E0D8-5259-1442-9794-751FF43EAF97}"/>
                </a:ext>
              </a:extLst>
            </p:cNvPr>
            <p:cNvSpPr/>
            <p:nvPr/>
          </p:nvSpPr>
          <p:spPr>
            <a:xfrm>
              <a:off x="5622966" y="1867607"/>
              <a:ext cx="94330" cy="103698"/>
            </a:xfrm>
            <a:prstGeom prst="roundRect">
              <a:avLst>
                <a:gd name="adj" fmla="val 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00" err="1"/>
            </a:p>
          </p:txBody>
        </p:sp>
        <p:sp>
          <p:nvSpPr>
            <p:cNvPr id="129" name="TextBox 128">
              <a:extLst>
                <a:ext uri="{FF2B5EF4-FFF2-40B4-BE49-F238E27FC236}">
                  <a16:creationId xmlns:a16="http://schemas.microsoft.com/office/drawing/2014/main" id="{CB4CE404-E034-5EA4-6A2F-25540E37FFD6}"/>
                </a:ext>
              </a:extLst>
            </p:cNvPr>
            <p:cNvSpPr txBox="1"/>
            <p:nvPr/>
          </p:nvSpPr>
          <p:spPr>
            <a:xfrm>
              <a:off x="4754328" y="587649"/>
              <a:ext cx="2741705" cy="25329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>
                <a:lnSpc>
                  <a:spcPct val="90000"/>
                </a:lnSpc>
              </a:pPr>
              <a:r>
                <a:rPr lang="ru-RU" b="1" dirty="0"/>
                <a:t>Настройся на цвет</a:t>
              </a:r>
            </a:p>
          </p:txBody>
        </p:sp>
        <p:sp>
          <p:nvSpPr>
            <p:cNvPr id="130" name="TextBox 129">
              <a:extLst>
                <a:ext uri="{FF2B5EF4-FFF2-40B4-BE49-F238E27FC236}">
                  <a16:creationId xmlns:a16="http://schemas.microsoft.com/office/drawing/2014/main" id="{8148D88D-B440-B167-A76A-F041BC960E25}"/>
                </a:ext>
              </a:extLst>
            </p:cNvPr>
            <p:cNvSpPr txBox="1"/>
            <p:nvPr/>
          </p:nvSpPr>
          <p:spPr>
            <a:xfrm>
              <a:off x="4754328" y="927719"/>
              <a:ext cx="3339825" cy="39577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200" dirty="0"/>
                <a:t>Подобрали цвета для разных задач </a:t>
              </a:r>
              <a:br>
                <a:rPr lang="ru-RU" sz="1200" dirty="0"/>
              </a:br>
              <a:r>
                <a:rPr lang="ru-RU" sz="1200" dirty="0"/>
                <a:t>и элементов и вшили их в шаблон.</a:t>
              </a:r>
            </a:p>
          </p:txBody>
        </p:sp>
        <p:sp>
          <p:nvSpPr>
            <p:cNvPr id="131" name="Прямоугольник: скругленные углы 49">
              <a:extLst>
                <a:ext uri="{FF2B5EF4-FFF2-40B4-BE49-F238E27FC236}">
                  <a16:creationId xmlns:a16="http://schemas.microsoft.com/office/drawing/2014/main" id="{0A0F66EF-CFCC-77BD-9275-23172110E19C}"/>
                </a:ext>
              </a:extLst>
            </p:cNvPr>
            <p:cNvSpPr/>
            <p:nvPr/>
          </p:nvSpPr>
          <p:spPr>
            <a:xfrm>
              <a:off x="4786313" y="1846263"/>
              <a:ext cx="128588" cy="129930"/>
            </a:xfrm>
            <a:prstGeom prst="roundRect">
              <a:avLst/>
            </a:prstGeom>
            <a:solidFill>
              <a:schemeClr val="accent6">
                <a:alpha val="10000"/>
              </a:schemeClr>
            </a:solidFill>
            <a:ln w="3175"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ru-RU" sz="800" b="1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132" name="Прямоугольник: скругленные углы 50">
              <a:extLst>
                <a:ext uri="{FF2B5EF4-FFF2-40B4-BE49-F238E27FC236}">
                  <a16:creationId xmlns:a16="http://schemas.microsoft.com/office/drawing/2014/main" id="{BA99DA5C-72A6-76A3-B3AD-0C86E0CE70F7}"/>
                </a:ext>
              </a:extLst>
            </p:cNvPr>
            <p:cNvSpPr/>
            <p:nvPr/>
          </p:nvSpPr>
          <p:spPr>
            <a:xfrm>
              <a:off x="4925305" y="1846263"/>
              <a:ext cx="128588" cy="129930"/>
            </a:xfrm>
            <a:prstGeom prst="roundRect">
              <a:avLst/>
            </a:prstGeom>
            <a:solidFill>
              <a:schemeClr val="accent6">
                <a:alpha val="10000"/>
              </a:schemeClr>
            </a:solidFill>
            <a:ln w="3175"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ru-RU" sz="800" b="1">
                  <a:solidFill>
                    <a:schemeClr val="bg1"/>
                  </a:solidFill>
                </a:rPr>
                <a:t>2</a:t>
              </a:r>
            </a:p>
          </p:txBody>
        </p:sp>
        <p:sp>
          <p:nvSpPr>
            <p:cNvPr id="133" name="Прямоугольник: скругленные углы 51">
              <a:extLst>
                <a:ext uri="{FF2B5EF4-FFF2-40B4-BE49-F238E27FC236}">
                  <a16:creationId xmlns:a16="http://schemas.microsoft.com/office/drawing/2014/main" id="{28146186-D17F-C1E9-4155-AC99C46AE4B3}"/>
                </a:ext>
              </a:extLst>
            </p:cNvPr>
            <p:cNvSpPr/>
            <p:nvPr/>
          </p:nvSpPr>
          <p:spPr>
            <a:xfrm>
              <a:off x="5326083" y="1802649"/>
              <a:ext cx="427511" cy="222730"/>
            </a:xfrm>
            <a:prstGeom prst="roundRect">
              <a:avLst/>
            </a:prstGeom>
            <a:noFill/>
            <a:ln w="3175"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ru-RU" sz="800" b="1" dirty="0">
                  <a:solidFill>
                    <a:schemeClr val="tx1"/>
                  </a:solidFill>
                </a:rPr>
                <a:t>     4</a:t>
              </a:r>
            </a:p>
          </p:txBody>
        </p:sp>
        <p:sp>
          <p:nvSpPr>
            <p:cNvPr id="134" name="Прямоугольник: скругленные углы 52">
              <a:extLst>
                <a:ext uri="{FF2B5EF4-FFF2-40B4-BE49-F238E27FC236}">
                  <a16:creationId xmlns:a16="http://schemas.microsoft.com/office/drawing/2014/main" id="{452F4643-71DB-811F-5C4B-E1C7F21FA06A}"/>
                </a:ext>
              </a:extLst>
            </p:cNvPr>
            <p:cNvSpPr/>
            <p:nvPr/>
          </p:nvSpPr>
          <p:spPr>
            <a:xfrm>
              <a:off x="6031196" y="2052754"/>
              <a:ext cx="128588" cy="129930"/>
            </a:xfrm>
            <a:prstGeom prst="roundRect">
              <a:avLst/>
            </a:prstGeom>
            <a:solidFill>
              <a:schemeClr val="accent6">
                <a:alpha val="10000"/>
              </a:schemeClr>
            </a:solidFill>
            <a:ln w="3175"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ru-RU" sz="800" b="1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135" name="Прямоугольник: скругленные углы 53">
              <a:extLst>
                <a:ext uri="{FF2B5EF4-FFF2-40B4-BE49-F238E27FC236}">
                  <a16:creationId xmlns:a16="http://schemas.microsoft.com/office/drawing/2014/main" id="{691C8B0D-C366-E3A0-3A9D-B0805BF7D526}"/>
                </a:ext>
              </a:extLst>
            </p:cNvPr>
            <p:cNvSpPr/>
            <p:nvPr/>
          </p:nvSpPr>
          <p:spPr>
            <a:xfrm>
              <a:off x="4786312" y="2965276"/>
              <a:ext cx="417647" cy="129930"/>
            </a:xfrm>
            <a:prstGeom prst="roundRect">
              <a:avLst/>
            </a:prstGeom>
            <a:solidFill>
              <a:schemeClr val="bg1">
                <a:alpha val="45000"/>
              </a:schemeClr>
            </a:solidFill>
            <a:ln w="3175"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ru-RU" sz="800" b="1">
                  <a:solidFill>
                    <a:schemeClr val="tx1"/>
                  </a:solidFill>
                </a:rPr>
                <a:t>8</a:t>
              </a:r>
            </a:p>
          </p:txBody>
        </p:sp>
        <p:grpSp>
          <p:nvGrpSpPr>
            <p:cNvPr id="136" name="Группа 135">
              <a:extLst>
                <a:ext uri="{FF2B5EF4-FFF2-40B4-BE49-F238E27FC236}">
                  <a16:creationId xmlns:a16="http://schemas.microsoft.com/office/drawing/2014/main" id="{29F5C26B-646A-5234-1901-00ECB2D410FD}"/>
                </a:ext>
              </a:extLst>
            </p:cNvPr>
            <p:cNvGrpSpPr/>
            <p:nvPr/>
          </p:nvGrpSpPr>
          <p:grpSpPr>
            <a:xfrm>
              <a:off x="4776934" y="3171767"/>
              <a:ext cx="1506353" cy="447322"/>
              <a:chOff x="4776934" y="3171767"/>
              <a:chExt cx="1506353" cy="447322"/>
            </a:xfrm>
          </p:grpSpPr>
          <p:cxnSp>
            <p:nvCxnSpPr>
              <p:cNvPr id="148" name="Прямая соединительная линия 147">
                <a:extLst>
                  <a:ext uri="{FF2B5EF4-FFF2-40B4-BE49-F238E27FC236}">
                    <a16:creationId xmlns:a16="http://schemas.microsoft.com/office/drawing/2014/main" id="{C2B165CD-4755-2151-C4E8-ED92D9BDF1B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776934" y="3171767"/>
                <a:ext cx="1506353" cy="447322"/>
              </a:xfrm>
              <a:prstGeom prst="line">
                <a:avLst/>
              </a:prstGeom>
              <a:ln w="28575" cap="rnd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9" name="Прямая соединительная линия 148">
                <a:extLst>
                  <a:ext uri="{FF2B5EF4-FFF2-40B4-BE49-F238E27FC236}">
                    <a16:creationId xmlns:a16="http://schemas.microsoft.com/office/drawing/2014/main" id="{A67D9A16-BC97-2FB7-364C-E6EFF72F1E9B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4776934" y="3171767"/>
                <a:ext cx="1506353" cy="447322"/>
              </a:xfrm>
              <a:prstGeom prst="line">
                <a:avLst/>
              </a:prstGeom>
              <a:ln w="28575" cap="rnd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37" name="Прямоугольник: скругленные углы 60">
              <a:extLst>
                <a:ext uri="{FF2B5EF4-FFF2-40B4-BE49-F238E27FC236}">
                  <a16:creationId xmlns:a16="http://schemas.microsoft.com/office/drawing/2014/main" id="{F9F2583D-7AC8-9EE4-273C-642B2D503E74}"/>
                </a:ext>
              </a:extLst>
            </p:cNvPr>
            <p:cNvSpPr/>
            <p:nvPr/>
          </p:nvSpPr>
          <p:spPr>
            <a:xfrm>
              <a:off x="5613973" y="1852201"/>
              <a:ext cx="128588" cy="129930"/>
            </a:xfrm>
            <a:prstGeom prst="roundRect">
              <a:avLst/>
            </a:prstGeom>
            <a:noFill/>
            <a:ln w="3175"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ru-RU" sz="800" b="1" dirty="0">
                  <a:solidFill>
                    <a:schemeClr val="bg1"/>
                  </a:solidFill>
                </a:rPr>
                <a:t>7</a:t>
              </a:r>
            </a:p>
          </p:txBody>
        </p:sp>
        <p:sp>
          <p:nvSpPr>
            <p:cNvPr id="138" name="TextBox 137">
              <a:extLst>
                <a:ext uri="{FF2B5EF4-FFF2-40B4-BE49-F238E27FC236}">
                  <a16:creationId xmlns:a16="http://schemas.microsoft.com/office/drawing/2014/main" id="{AE701400-5CBD-252E-038B-DBBC6163029F}"/>
                </a:ext>
              </a:extLst>
            </p:cNvPr>
            <p:cNvSpPr txBox="1"/>
            <p:nvPr/>
          </p:nvSpPr>
          <p:spPr>
            <a:xfrm>
              <a:off x="6446251" y="1591086"/>
              <a:ext cx="1980465" cy="202800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182563" indent="-182563" algn="l">
                <a:spcAft>
                  <a:spcPts val="600"/>
                </a:spcAft>
                <a:buAutoNum type="arabicPeriod"/>
              </a:pPr>
              <a:r>
                <a:rPr lang="ru-RU" sz="1200" dirty="0"/>
                <a:t>Цвет фона светлой темы.</a:t>
              </a:r>
            </a:p>
            <a:p>
              <a:pPr marL="182563" indent="-182563" algn="l">
                <a:spcAft>
                  <a:spcPts val="600"/>
                </a:spcAft>
                <a:buAutoNum type="arabicPeriod"/>
              </a:pPr>
              <a:r>
                <a:rPr lang="ru-RU" sz="1200" dirty="0"/>
                <a:t>Цвет текста для светлой темы.</a:t>
              </a:r>
            </a:p>
            <a:p>
              <a:pPr marL="182563" indent="-182563" algn="l">
                <a:spcAft>
                  <a:spcPts val="600"/>
                </a:spcAft>
                <a:buAutoNum type="arabicPeriod"/>
              </a:pPr>
              <a:r>
                <a:rPr lang="ru-RU" sz="1200" dirty="0"/>
                <a:t>Цвет фона для тёмной темы.</a:t>
              </a:r>
            </a:p>
            <a:p>
              <a:pPr marL="182563" indent="-182563" algn="l">
                <a:spcAft>
                  <a:spcPts val="600"/>
                </a:spcAft>
                <a:buAutoNum type="arabicPeriod"/>
              </a:pPr>
              <a:r>
                <a:rPr lang="ru-RU" sz="1200" dirty="0"/>
                <a:t>Основные акцентные цвета.</a:t>
              </a:r>
            </a:p>
            <a:p>
              <a:pPr marL="182563" indent="-182563" algn="l">
                <a:spcAft>
                  <a:spcPts val="600"/>
                </a:spcAft>
                <a:buAutoNum type="arabicPeriod"/>
              </a:pPr>
              <a:r>
                <a:rPr lang="ru-RU" sz="1200" dirty="0"/>
                <a:t>Цвет для больших плашек в светлой теме.</a:t>
              </a:r>
            </a:p>
            <a:p>
              <a:pPr marL="228600" indent="-228600" algn="l">
                <a:spcAft>
                  <a:spcPts val="600"/>
                </a:spcAft>
                <a:buFont typeface="+mj-lt"/>
                <a:buAutoNum type="arabicPeriod" startAt="3"/>
              </a:pPr>
              <a:endParaRPr lang="ru-RU" sz="1200" dirty="0"/>
            </a:p>
          </p:txBody>
        </p:sp>
        <p:sp>
          <p:nvSpPr>
            <p:cNvPr id="139" name="Прямоугольник: скругленные углы 63">
              <a:extLst>
                <a:ext uri="{FF2B5EF4-FFF2-40B4-BE49-F238E27FC236}">
                  <a16:creationId xmlns:a16="http://schemas.microsoft.com/office/drawing/2014/main" id="{827AC2BC-2F1F-7171-8A32-84E433F38FB6}"/>
                </a:ext>
              </a:extLst>
            </p:cNvPr>
            <p:cNvSpPr/>
            <p:nvPr/>
          </p:nvSpPr>
          <p:spPr>
            <a:xfrm>
              <a:off x="5889228" y="1846263"/>
              <a:ext cx="128588" cy="129930"/>
            </a:xfrm>
            <a:prstGeom prst="roundRect">
              <a:avLst/>
            </a:prstGeom>
            <a:solidFill>
              <a:schemeClr val="accent6">
                <a:alpha val="10000"/>
              </a:schemeClr>
            </a:solidFill>
            <a:ln w="3175"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ru-RU" sz="800" b="1" dirty="0">
                  <a:solidFill>
                    <a:schemeClr val="tx1"/>
                  </a:solidFill>
                </a:rPr>
                <a:t>5</a:t>
              </a:r>
            </a:p>
          </p:txBody>
        </p:sp>
        <p:sp>
          <p:nvSpPr>
            <p:cNvPr id="140" name="Прямоугольник: скругленные углы 64">
              <a:extLst>
                <a:ext uri="{FF2B5EF4-FFF2-40B4-BE49-F238E27FC236}">
                  <a16:creationId xmlns:a16="http://schemas.microsoft.com/office/drawing/2014/main" id="{73190C78-DB36-C915-C2FE-248D4BFEC4D7}"/>
                </a:ext>
              </a:extLst>
            </p:cNvPr>
            <p:cNvSpPr/>
            <p:nvPr/>
          </p:nvSpPr>
          <p:spPr>
            <a:xfrm>
              <a:off x="6029005" y="1848082"/>
              <a:ext cx="128588" cy="129930"/>
            </a:xfrm>
            <a:prstGeom prst="roundRect">
              <a:avLst/>
            </a:prstGeom>
            <a:solidFill>
              <a:schemeClr val="accent6">
                <a:alpha val="10000"/>
              </a:schemeClr>
            </a:solidFill>
            <a:ln w="3175"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ru-RU" sz="800" b="1" dirty="0">
                  <a:solidFill>
                    <a:schemeClr val="bg1"/>
                  </a:solidFill>
                </a:rPr>
                <a:t>5</a:t>
              </a:r>
            </a:p>
          </p:txBody>
        </p:sp>
        <p:sp>
          <p:nvSpPr>
            <p:cNvPr id="141" name="TextBox 140">
              <a:extLst>
                <a:ext uri="{FF2B5EF4-FFF2-40B4-BE49-F238E27FC236}">
                  <a16:creationId xmlns:a16="http://schemas.microsoft.com/office/drawing/2014/main" id="{9EA09BDF-4524-69CB-7A66-6638D40E47CB}"/>
                </a:ext>
              </a:extLst>
            </p:cNvPr>
            <p:cNvSpPr txBox="1"/>
            <p:nvPr/>
          </p:nvSpPr>
          <p:spPr>
            <a:xfrm>
              <a:off x="4754328" y="3908670"/>
              <a:ext cx="3538564" cy="125895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>
              <a:defPPr>
                <a:defRPr lang="ru-RU"/>
              </a:defPPr>
              <a:lvl1pPr marL="228600" indent="-228600">
                <a:spcAft>
                  <a:spcPts val="600"/>
                </a:spcAft>
                <a:buAutoNum type="arabicPeriod"/>
                <a:defRPr sz="1200"/>
              </a:lvl1pPr>
            </a:lstStyle>
            <a:p>
              <a:pPr>
                <a:buFont typeface="+mj-lt"/>
                <a:buAutoNum type="arabicPeriod" startAt="6"/>
              </a:pPr>
              <a:r>
                <a:rPr lang="ru-RU" dirty="0"/>
                <a:t>Цвет вспомогательного текста.</a:t>
              </a:r>
            </a:p>
            <a:p>
              <a:pPr>
                <a:buFont typeface="+mj-lt"/>
                <a:buAutoNum type="arabicPeriod" startAt="6"/>
              </a:pPr>
              <a:r>
                <a:rPr lang="ru-RU" dirty="0"/>
                <a:t>Цвет больших плашек в тёмной теме.</a:t>
              </a:r>
            </a:p>
            <a:p>
              <a:pPr>
                <a:buFont typeface="+mj-lt"/>
                <a:buAutoNum type="arabicPeriod" startAt="6"/>
              </a:pPr>
              <a:r>
                <a:rPr lang="ru-RU" dirty="0"/>
                <a:t>Цвета для маркировки роста/падения показателей в таблицах.</a:t>
              </a:r>
            </a:p>
          </p:txBody>
        </p:sp>
        <p:sp>
          <p:nvSpPr>
            <p:cNvPr id="142" name="Прямоугольник: скругленные углы 66">
              <a:extLst>
                <a:ext uri="{FF2B5EF4-FFF2-40B4-BE49-F238E27FC236}">
                  <a16:creationId xmlns:a16="http://schemas.microsoft.com/office/drawing/2014/main" id="{7F578ABB-86DA-2D28-FB0D-6F26F3F51616}"/>
                </a:ext>
              </a:extLst>
            </p:cNvPr>
            <p:cNvSpPr/>
            <p:nvPr/>
          </p:nvSpPr>
          <p:spPr>
            <a:xfrm>
              <a:off x="4967311" y="5221257"/>
              <a:ext cx="728387" cy="570495"/>
            </a:xfrm>
            <a:prstGeom prst="roundRect">
              <a:avLst>
                <a:gd name="adj" fmla="val 8253"/>
              </a:avLst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900">
                <a:solidFill>
                  <a:schemeClr val="tx2"/>
                </a:solidFill>
              </a:endParaRPr>
            </a:p>
          </p:txBody>
        </p:sp>
        <p:sp>
          <p:nvSpPr>
            <p:cNvPr id="143" name="Прямоугольник: скругленные углы 67">
              <a:extLst>
                <a:ext uri="{FF2B5EF4-FFF2-40B4-BE49-F238E27FC236}">
                  <a16:creationId xmlns:a16="http://schemas.microsoft.com/office/drawing/2014/main" id="{34BA46B6-4EAD-3D49-E4A6-147FE2E4976A}"/>
                </a:ext>
              </a:extLst>
            </p:cNvPr>
            <p:cNvSpPr/>
            <p:nvPr/>
          </p:nvSpPr>
          <p:spPr>
            <a:xfrm>
              <a:off x="4780118" y="5221258"/>
              <a:ext cx="147470" cy="242152"/>
            </a:xfrm>
            <a:prstGeom prst="roundRect">
              <a:avLst>
                <a:gd name="adj" fmla="val 20249"/>
              </a:avLst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00" err="1"/>
            </a:p>
          </p:txBody>
        </p:sp>
        <p:sp>
          <p:nvSpPr>
            <p:cNvPr id="144" name="TextBox 143">
              <a:extLst>
                <a:ext uri="{FF2B5EF4-FFF2-40B4-BE49-F238E27FC236}">
                  <a16:creationId xmlns:a16="http://schemas.microsoft.com/office/drawing/2014/main" id="{3DFF2BDC-351B-9189-BF06-4368E6CFA142}"/>
                </a:ext>
              </a:extLst>
            </p:cNvPr>
            <p:cNvSpPr txBox="1"/>
            <p:nvPr/>
          </p:nvSpPr>
          <p:spPr>
            <a:xfrm>
              <a:off x="5788662" y="5228672"/>
              <a:ext cx="2235410" cy="54717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200" spc="-30" dirty="0"/>
                <a:t>Слева от слайда добавили подсказку по выбору цветов, которая дублирует информацию выше. </a:t>
              </a:r>
            </a:p>
          </p:txBody>
        </p:sp>
        <p:sp>
          <p:nvSpPr>
            <p:cNvPr id="145" name="Прямоугольник: скругленные углы 69">
              <a:extLst>
                <a:ext uri="{FF2B5EF4-FFF2-40B4-BE49-F238E27FC236}">
                  <a16:creationId xmlns:a16="http://schemas.microsoft.com/office/drawing/2014/main" id="{4159EF26-62C4-8B58-ED6B-15706AB0E022}"/>
                </a:ext>
              </a:extLst>
            </p:cNvPr>
            <p:cNvSpPr/>
            <p:nvPr/>
          </p:nvSpPr>
          <p:spPr>
            <a:xfrm>
              <a:off x="4780118" y="5495518"/>
              <a:ext cx="147470" cy="173301"/>
            </a:xfrm>
            <a:prstGeom prst="roundRect">
              <a:avLst>
                <a:gd name="adj" fmla="val 18868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00" err="1"/>
            </a:p>
          </p:txBody>
        </p:sp>
        <p:sp>
          <p:nvSpPr>
            <p:cNvPr id="146" name="Прямоугольник: скругленные углы 70">
              <a:extLst>
                <a:ext uri="{FF2B5EF4-FFF2-40B4-BE49-F238E27FC236}">
                  <a16:creationId xmlns:a16="http://schemas.microsoft.com/office/drawing/2014/main" id="{8ABBFB18-DBBD-2DB9-8A1A-34DF93D1D83D}"/>
                </a:ext>
              </a:extLst>
            </p:cNvPr>
            <p:cNvSpPr/>
            <p:nvPr/>
          </p:nvSpPr>
          <p:spPr>
            <a:xfrm>
              <a:off x="4780118" y="5700927"/>
              <a:ext cx="147470" cy="99462"/>
            </a:xfrm>
            <a:prstGeom prst="roundRect">
              <a:avLst>
                <a:gd name="adj" fmla="val 29916"/>
              </a:avLst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00" err="1"/>
            </a:p>
          </p:txBody>
        </p:sp>
        <p:sp>
          <p:nvSpPr>
            <p:cNvPr id="147" name="Прямоугольник: скругленные углы 50">
              <a:extLst>
                <a:ext uri="{FF2B5EF4-FFF2-40B4-BE49-F238E27FC236}">
                  <a16:creationId xmlns:a16="http://schemas.microsoft.com/office/drawing/2014/main" id="{BA99DA5C-72A6-76A3-B3AD-0C86E0CE70F7}"/>
                </a:ext>
              </a:extLst>
            </p:cNvPr>
            <p:cNvSpPr/>
            <p:nvPr/>
          </p:nvSpPr>
          <p:spPr>
            <a:xfrm>
              <a:off x="5197495" y="1846263"/>
              <a:ext cx="128588" cy="129930"/>
            </a:xfrm>
            <a:prstGeom prst="roundRect">
              <a:avLst/>
            </a:prstGeom>
            <a:solidFill>
              <a:schemeClr val="accent6">
                <a:alpha val="10000"/>
              </a:schemeClr>
            </a:solidFill>
            <a:ln w="3175"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ru-RU" sz="800" b="1" dirty="0">
                  <a:solidFill>
                    <a:schemeClr val="bg1"/>
                  </a:solidFill>
                </a:rPr>
                <a:t>3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399650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_ligh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2E22186C-4B12-E0C1-79B2-480F2CD086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80477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33" imgH="233" progId="TCLayout.ActiveDocument.1">
                  <p:embed/>
                </p:oleObj>
              </mc:Choice>
              <mc:Fallback>
                <p:oleObj name="Слайд think-cell" r:id="rId3" imgW="233" imgH="233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id="{2E22186C-4B12-E0C1-79B2-480F2CD086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Текст 5">
            <a:extLst>
              <a:ext uri="{FF2B5EF4-FFF2-40B4-BE49-F238E27FC236}">
                <a16:creationId xmlns:a16="http://schemas.microsoft.com/office/drawing/2014/main" id="{1A5E7A27-B406-F04E-B3D1-269B3686E51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48215" y="2442368"/>
            <a:ext cx="1350017" cy="1293915"/>
          </a:xfrm>
        </p:spPr>
        <p:txBody>
          <a:bodyPr anchor="t"/>
          <a:lstStyle>
            <a:lvl1pPr algn="l">
              <a:defRPr sz="8000" b="0" spc="-20" baseline="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00</a:t>
            </a:r>
            <a:endParaRPr lang="ru-RU" dirty="0"/>
          </a:p>
        </p:txBody>
      </p:sp>
      <p:sp>
        <p:nvSpPr>
          <p:cNvPr id="10" name="Текст 8">
            <a:extLst>
              <a:ext uri="{FF2B5EF4-FFF2-40B4-BE49-F238E27FC236}">
                <a16:creationId xmlns:a16="http://schemas.microsoft.com/office/drawing/2014/main" id="{57C6829E-406F-964B-B3A2-72F9D90500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58321" y="2580370"/>
            <a:ext cx="6784279" cy="2341562"/>
          </a:xfrm>
        </p:spPr>
        <p:txBody>
          <a:bodyPr/>
          <a:lstStyle>
            <a:lvl1pPr>
              <a:spcAft>
                <a:spcPts val="0"/>
              </a:spcAft>
              <a:defRPr sz="4000" b="0" spc="-5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Напиши смысловой заголовок раздела </a:t>
            </a:r>
            <a:br>
              <a:rPr lang="ru-RU" dirty="0"/>
            </a:br>
            <a:r>
              <a:rPr lang="ru-RU" dirty="0"/>
              <a:t>в 2–3 строки</a:t>
            </a:r>
          </a:p>
        </p:txBody>
      </p:sp>
      <p:sp>
        <p:nvSpPr>
          <p:cNvPr id="3" name="Рисунок 1">
            <a:extLst>
              <a:ext uri="{FF2B5EF4-FFF2-40B4-BE49-F238E27FC236}">
                <a16:creationId xmlns:a16="http://schemas.microsoft.com/office/drawing/2014/main" id="{38A28D30-1C03-579F-359E-5FA2F710804E}"/>
              </a:ext>
            </a:extLst>
          </p:cNvPr>
          <p:cNvSpPr>
            <a:spLocks noChangeAspect="1"/>
          </p:cNvSpPr>
          <p:nvPr/>
        </p:nvSpPr>
        <p:spPr>
          <a:xfrm>
            <a:off x="2463428" y="1866339"/>
            <a:ext cx="1440844" cy="3492800"/>
          </a:xfrm>
          <a:custGeom>
            <a:avLst/>
            <a:gdLst>
              <a:gd name="connsiteX0" fmla="*/ 0 w 1440844"/>
              <a:gd name="connsiteY0" fmla="*/ 1367312 h 3492800"/>
              <a:gd name="connsiteX1" fmla="*/ 0 w 1440844"/>
              <a:gd name="connsiteY1" fmla="*/ 1354351 h 3492800"/>
              <a:gd name="connsiteX2" fmla="*/ 0 w 1440844"/>
              <a:gd name="connsiteY2" fmla="*/ 1030344 h 3492800"/>
              <a:gd name="connsiteX3" fmla="*/ 52157 w 1440844"/>
              <a:gd name="connsiteY3" fmla="*/ 965542 h 3492800"/>
              <a:gd name="connsiteX4" fmla="*/ 176031 w 1440844"/>
              <a:gd name="connsiteY4" fmla="*/ 946102 h 3492800"/>
              <a:gd name="connsiteX5" fmla="*/ 495494 w 1440844"/>
              <a:gd name="connsiteY5" fmla="*/ 524892 h 3492800"/>
              <a:gd name="connsiteX6" fmla="*/ 495494 w 1440844"/>
              <a:gd name="connsiteY6" fmla="*/ 64801 h 3492800"/>
              <a:gd name="connsiteX7" fmla="*/ 554171 w 1440844"/>
              <a:gd name="connsiteY7" fmla="*/ 0 h 3492800"/>
              <a:gd name="connsiteX8" fmla="*/ 867115 w 1440844"/>
              <a:gd name="connsiteY8" fmla="*/ 0 h 3492800"/>
              <a:gd name="connsiteX9" fmla="*/ 925792 w 1440844"/>
              <a:gd name="connsiteY9" fmla="*/ 64801 h 3492800"/>
              <a:gd name="connsiteX10" fmla="*/ 925792 w 1440844"/>
              <a:gd name="connsiteY10" fmla="*/ 524892 h 3492800"/>
              <a:gd name="connsiteX11" fmla="*/ 573730 w 1440844"/>
              <a:gd name="connsiteY11" fmla="*/ 1192347 h 3492800"/>
              <a:gd name="connsiteX12" fmla="*/ 925792 w 1440844"/>
              <a:gd name="connsiteY12" fmla="*/ 1827402 h 3492800"/>
              <a:gd name="connsiteX13" fmla="*/ 925792 w 1440844"/>
              <a:gd name="connsiteY13" fmla="*/ 2838305 h 3492800"/>
              <a:gd name="connsiteX14" fmla="*/ 1147460 w 1440844"/>
              <a:gd name="connsiteY14" fmla="*/ 3058630 h 3492800"/>
              <a:gd name="connsiteX15" fmla="*/ 1375648 w 1440844"/>
              <a:gd name="connsiteY15" fmla="*/ 3058630 h 3492800"/>
              <a:gd name="connsiteX16" fmla="*/ 1434325 w 1440844"/>
              <a:gd name="connsiteY16" fmla="*/ 3123432 h 3492800"/>
              <a:gd name="connsiteX17" fmla="*/ 1440845 w 1440844"/>
              <a:gd name="connsiteY17" fmla="*/ 3427999 h 3492800"/>
              <a:gd name="connsiteX18" fmla="*/ 1375648 w 1440844"/>
              <a:gd name="connsiteY18" fmla="*/ 3492800 h 3492800"/>
              <a:gd name="connsiteX19" fmla="*/ 1193097 w 1440844"/>
              <a:gd name="connsiteY19" fmla="*/ 3492800 h 3492800"/>
              <a:gd name="connsiteX20" fmla="*/ 697603 w 1440844"/>
              <a:gd name="connsiteY20" fmla="*/ 3291916 h 3492800"/>
              <a:gd name="connsiteX21" fmla="*/ 488974 w 1440844"/>
              <a:gd name="connsiteY21" fmla="*/ 2792944 h 3492800"/>
              <a:gd name="connsiteX22" fmla="*/ 488974 w 1440844"/>
              <a:gd name="connsiteY22" fmla="*/ 1846843 h 3492800"/>
              <a:gd name="connsiteX23" fmla="*/ 169511 w 1440844"/>
              <a:gd name="connsiteY23" fmla="*/ 1451553 h 3492800"/>
              <a:gd name="connsiteX24" fmla="*/ 45638 w 1440844"/>
              <a:gd name="connsiteY24" fmla="*/ 1432113 h 3492800"/>
              <a:gd name="connsiteX25" fmla="*/ 0 w 1440844"/>
              <a:gd name="connsiteY25" fmla="*/ 1367312 h 3492800"/>
              <a:gd name="connsiteX26" fmla="*/ 0 w 1440844"/>
              <a:gd name="connsiteY26" fmla="*/ 1367312 h 3492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1440844" h="3492800">
                <a:moveTo>
                  <a:pt x="0" y="1367312"/>
                </a:moveTo>
                <a:cubicBezTo>
                  <a:pt x="0" y="1360831"/>
                  <a:pt x="0" y="1360831"/>
                  <a:pt x="0" y="1354351"/>
                </a:cubicBezTo>
                <a:lnTo>
                  <a:pt x="0" y="1030344"/>
                </a:lnTo>
                <a:cubicBezTo>
                  <a:pt x="0" y="997943"/>
                  <a:pt x="19559" y="972022"/>
                  <a:pt x="52157" y="965542"/>
                </a:cubicBezTo>
                <a:cubicBezTo>
                  <a:pt x="97795" y="959062"/>
                  <a:pt x="156472" y="946102"/>
                  <a:pt x="176031" y="946102"/>
                </a:cubicBezTo>
                <a:cubicBezTo>
                  <a:pt x="247747" y="926661"/>
                  <a:pt x="495494" y="868340"/>
                  <a:pt x="495494" y="524892"/>
                </a:cubicBezTo>
                <a:lnTo>
                  <a:pt x="495494" y="64801"/>
                </a:lnTo>
                <a:cubicBezTo>
                  <a:pt x="495494" y="32401"/>
                  <a:pt x="521573" y="0"/>
                  <a:pt x="554171" y="0"/>
                </a:cubicBezTo>
                <a:lnTo>
                  <a:pt x="867115" y="0"/>
                </a:lnTo>
                <a:cubicBezTo>
                  <a:pt x="906233" y="0"/>
                  <a:pt x="925792" y="25921"/>
                  <a:pt x="925792" y="64801"/>
                </a:cubicBezTo>
                <a:lnTo>
                  <a:pt x="925792" y="524892"/>
                </a:lnTo>
                <a:cubicBezTo>
                  <a:pt x="925792" y="991463"/>
                  <a:pt x="593289" y="1179387"/>
                  <a:pt x="573730" y="1192347"/>
                </a:cubicBezTo>
                <a:cubicBezTo>
                  <a:pt x="593289" y="1205308"/>
                  <a:pt x="912752" y="1380272"/>
                  <a:pt x="925792" y="1827402"/>
                </a:cubicBezTo>
                <a:cubicBezTo>
                  <a:pt x="925792" y="1840362"/>
                  <a:pt x="925792" y="2617980"/>
                  <a:pt x="925792" y="2838305"/>
                </a:cubicBezTo>
                <a:cubicBezTo>
                  <a:pt x="925792" y="2961428"/>
                  <a:pt x="1030106" y="3058630"/>
                  <a:pt x="1147460" y="3058630"/>
                </a:cubicBezTo>
                <a:cubicBezTo>
                  <a:pt x="1232215" y="3058630"/>
                  <a:pt x="1316971" y="3058630"/>
                  <a:pt x="1375648" y="3058630"/>
                </a:cubicBezTo>
                <a:cubicBezTo>
                  <a:pt x="1408246" y="3058630"/>
                  <a:pt x="1434325" y="3091031"/>
                  <a:pt x="1434325" y="3123432"/>
                </a:cubicBezTo>
                <a:cubicBezTo>
                  <a:pt x="1434325" y="3207674"/>
                  <a:pt x="1440845" y="3311356"/>
                  <a:pt x="1440845" y="3427999"/>
                </a:cubicBezTo>
                <a:cubicBezTo>
                  <a:pt x="1440845" y="3466880"/>
                  <a:pt x="1408246" y="3492800"/>
                  <a:pt x="1375648" y="3492800"/>
                </a:cubicBezTo>
                <a:lnTo>
                  <a:pt x="1193097" y="3492800"/>
                </a:lnTo>
                <a:cubicBezTo>
                  <a:pt x="1010547" y="3492800"/>
                  <a:pt x="827997" y="3421519"/>
                  <a:pt x="697603" y="3291916"/>
                </a:cubicBezTo>
                <a:cubicBezTo>
                  <a:pt x="560691" y="3162313"/>
                  <a:pt x="488974" y="2980869"/>
                  <a:pt x="488974" y="2792944"/>
                </a:cubicBezTo>
                <a:cubicBezTo>
                  <a:pt x="488974" y="2792944"/>
                  <a:pt x="488974" y="1853323"/>
                  <a:pt x="488974" y="1846843"/>
                </a:cubicBezTo>
                <a:cubicBezTo>
                  <a:pt x="482455" y="1522835"/>
                  <a:pt x="241227" y="1470994"/>
                  <a:pt x="169511" y="1451553"/>
                </a:cubicBezTo>
                <a:cubicBezTo>
                  <a:pt x="149952" y="1445073"/>
                  <a:pt x="91275" y="1438593"/>
                  <a:pt x="45638" y="1432113"/>
                </a:cubicBezTo>
                <a:cubicBezTo>
                  <a:pt x="13039" y="1432113"/>
                  <a:pt x="0" y="1399712"/>
                  <a:pt x="0" y="1367312"/>
                </a:cubicBezTo>
                <a:lnTo>
                  <a:pt x="0" y="1367312"/>
                </a:lnTo>
                <a:close/>
              </a:path>
            </a:pathLst>
          </a:custGeom>
          <a:solidFill>
            <a:srgbClr val="3ADF68"/>
          </a:solidFill>
          <a:ln w="65088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230293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_ligh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Группа 5">
            <a:extLst>
              <a:ext uri="{FF2B5EF4-FFF2-40B4-BE49-F238E27FC236}">
                <a16:creationId xmlns:a16="http://schemas.microsoft.com/office/drawing/2014/main" id="{4670823B-F74E-8791-1532-CF98E8BECBE4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549398" y="883609"/>
            <a:ext cx="2131200" cy="473348"/>
            <a:chOff x="8489504" y="910877"/>
            <a:chExt cx="2734509" cy="606592"/>
          </a:xfrm>
          <a:solidFill>
            <a:schemeClr val="bg1"/>
          </a:solidFill>
        </p:grpSpPr>
        <p:sp>
          <p:nvSpPr>
            <p:cNvPr id="10" name="Полилиния 9">
              <a:extLst>
                <a:ext uri="{FF2B5EF4-FFF2-40B4-BE49-F238E27FC236}">
                  <a16:creationId xmlns:a16="http://schemas.microsoft.com/office/drawing/2014/main" id="{5B2F7226-4181-51B3-0BF7-C4B60DE629FE}"/>
                </a:ext>
              </a:extLst>
            </p:cNvPr>
            <p:cNvSpPr/>
            <p:nvPr/>
          </p:nvSpPr>
          <p:spPr>
            <a:xfrm>
              <a:off x="10064626" y="910877"/>
              <a:ext cx="1159387" cy="606592"/>
            </a:xfrm>
            <a:custGeom>
              <a:avLst/>
              <a:gdLst>
                <a:gd name="connsiteX0" fmla="*/ 0 w 1159387"/>
                <a:gd name="connsiteY0" fmla="*/ 178242 h 606592"/>
                <a:gd name="connsiteX1" fmla="*/ 0 w 1159387"/>
                <a:gd name="connsiteY1" fmla="*/ 237024 h 606592"/>
                <a:gd name="connsiteX2" fmla="*/ 9135 w 1159387"/>
                <a:gd name="connsiteY2" fmla="*/ 246098 h 606592"/>
                <a:gd name="connsiteX3" fmla="*/ 30214 w 1159387"/>
                <a:gd name="connsiteY3" fmla="*/ 250009 h 606592"/>
                <a:gd name="connsiteX4" fmla="*/ 32261 w 1159387"/>
                <a:gd name="connsiteY4" fmla="*/ 250607 h 606592"/>
                <a:gd name="connsiteX5" fmla="*/ 85030 w 1159387"/>
                <a:gd name="connsiteY5" fmla="*/ 319338 h 606592"/>
                <a:gd name="connsiteX6" fmla="*/ 85030 w 1159387"/>
                <a:gd name="connsiteY6" fmla="*/ 483817 h 606592"/>
                <a:gd name="connsiteX7" fmla="*/ 120863 w 1159387"/>
                <a:gd name="connsiteY7" fmla="*/ 570989 h 606592"/>
                <a:gd name="connsiteX8" fmla="*/ 205874 w 1159387"/>
                <a:gd name="connsiteY8" fmla="*/ 606364 h 606592"/>
                <a:gd name="connsiteX9" fmla="*/ 207284 w 1159387"/>
                <a:gd name="connsiteY9" fmla="*/ 606364 h 606592"/>
                <a:gd name="connsiteX10" fmla="*/ 235964 w 1159387"/>
                <a:gd name="connsiteY10" fmla="*/ 606364 h 606592"/>
                <a:gd name="connsiteX11" fmla="*/ 247356 w 1159387"/>
                <a:gd name="connsiteY11" fmla="*/ 593268 h 606592"/>
                <a:gd name="connsiteX12" fmla="*/ 247337 w 1159387"/>
                <a:gd name="connsiteY12" fmla="*/ 563750 h 606592"/>
                <a:gd name="connsiteX13" fmla="*/ 247337 w 1159387"/>
                <a:gd name="connsiteY13" fmla="*/ 541928 h 606592"/>
                <a:gd name="connsiteX14" fmla="*/ 236802 w 1159387"/>
                <a:gd name="connsiteY14" fmla="*/ 530565 h 606592"/>
                <a:gd name="connsiteX15" fmla="*/ 197454 w 1159387"/>
                <a:gd name="connsiteY15" fmla="*/ 530527 h 606592"/>
                <a:gd name="connsiteX16" fmla="*/ 159506 w 1159387"/>
                <a:gd name="connsiteY16" fmla="*/ 492285 h 606592"/>
                <a:gd name="connsiteX17" fmla="*/ 159506 w 1159387"/>
                <a:gd name="connsiteY17" fmla="*/ 403084 h 606592"/>
                <a:gd name="connsiteX18" fmla="*/ 159506 w 1159387"/>
                <a:gd name="connsiteY18" fmla="*/ 316772 h 606592"/>
                <a:gd name="connsiteX19" fmla="*/ 100365 w 1159387"/>
                <a:gd name="connsiteY19" fmla="*/ 207274 h 606592"/>
                <a:gd name="connsiteX20" fmla="*/ 99080 w 1159387"/>
                <a:gd name="connsiteY20" fmla="*/ 206423 h 606592"/>
                <a:gd name="connsiteX21" fmla="*/ 100356 w 1159387"/>
                <a:gd name="connsiteY21" fmla="*/ 205547 h 606592"/>
                <a:gd name="connsiteX22" fmla="*/ 159506 w 1159387"/>
                <a:gd name="connsiteY22" fmla="*/ 90665 h 606592"/>
                <a:gd name="connsiteX23" fmla="*/ 159506 w 1159387"/>
                <a:gd name="connsiteY23" fmla="*/ 10992 h 606592"/>
                <a:gd name="connsiteX24" fmla="*/ 148962 w 1159387"/>
                <a:gd name="connsiteY24" fmla="*/ 0 h 606592"/>
                <a:gd name="connsiteX25" fmla="*/ 95565 w 1159387"/>
                <a:gd name="connsiteY25" fmla="*/ 0 h 606592"/>
                <a:gd name="connsiteX26" fmla="*/ 85030 w 1159387"/>
                <a:gd name="connsiteY26" fmla="*/ 10992 h 606592"/>
                <a:gd name="connsiteX27" fmla="*/ 85030 w 1159387"/>
                <a:gd name="connsiteY27" fmla="*/ 90665 h 606592"/>
                <a:gd name="connsiteX28" fmla="*/ 32366 w 1159387"/>
                <a:gd name="connsiteY28" fmla="*/ 162761 h 606592"/>
                <a:gd name="connsiteX29" fmla="*/ 30214 w 1159387"/>
                <a:gd name="connsiteY29" fmla="*/ 163402 h 606592"/>
                <a:gd name="connsiteX30" fmla="*/ 9135 w 1159387"/>
                <a:gd name="connsiteY30" fmla="*/ 167302 h 606592"/>
                <a:gd name="connsiteX31" fmla="*/ 0 w 1159387"/>
                <a:gd name="connsiteY31" fmla="*/ 178242 h 606592"/>
                <a:gd name="connsiteX32" fmla="*/ 933768 w 1159387"/>
                <a:gd name="connsiteY32" fmla="*/ 313343 h 606592"/>
                <a:gd name="connsiteX33" fmla="*/ 933768 w 1159387"/>
                <a:gd name="connsiteY33" fmla="*/ 468558 h 606592"/>
                <a:gd name="connsiteX34" fmla="*/ 930749 w 1159387"/>
                <a:gd name="connsiteY34" fmla="*/ 475902 h 606592"/>
                <a:gd name="connsiteX35" fmla="*/ 923472 w 1159387"/>
                <a:gd name="connsiteY35" fmla="*/ 478940 h 606592"/>
                <a:gd name="connsiteX36" fmla="*/ 869627 w 1159387"/>
                <a:gd name="connsiteY36" fmla="*/ 478902 h 606592"/>
                <a:gd name="connsiteX37" fmla="*/ 859349 w 1159387"/>
                <a:gd name="connsiteY37" fmla="*/ 468530 h 606592"/>
                <a:gd name="connsiteX38" fmla="*/ 859349 w 1159387"/>
                <a:gd name="connsiteY38" fmla="*/ 10375 h 606592"/>
                <a:gd name="connsiteX39" fmla="*/ 869636 w 1159387"/>
                <a:gd name="connsiteY39" fmla="*/ 0 h 606592"/>
                <a:gd name="connsiteX40" fmla="*/ 923472 w 1159387"/>
                <a:gd name="connsiteY40" fmla="*/ 0 h 606592"/>
                <a:gd name="connsiteX41" fmla="*/ 933768 w 1159387"/>
                <a:gd name="connsiteY41" fmla="*/ 10375 h 606592"/>
                <a:gd name="connsiteX42" fmla="*/ 933768 w 1159387"/>
                <a:gd name="connsiteY42" fmla="*/ 193355 h 606592"/>
                <a:gd name="connsiteX43" fmla="*/ 1159388 w 1159387"/>
                <a:gd name="connsiteY43" fmla="*/ 312995 h 606592"/>
                <a:gd name="connsiteX44" fmla="*/ 1159388 w 1159387"/>
                <a:gd name="connsiteY44" fmla="*/ 468520 h 606592"/>
                <a:gd name="connsiteX45" fmla="*/ 1156378 w 1159387"/>
                <a:gd name="connsiteY45" fmla="*/ 475854 h 606592"/>
                <a:gd name="connsiteX46" fmla="*/ 1149101 w 1159387"/>
                <a:gd name="connsiteY46" fmla="*/ 478893 h 606592"/>
                <a:gd name="connsiteX47" fmla="*/ 1095199 w 1159387"/>
                <a:gd name="connsiteY47" fmla="*/ 478893 h 606592"/>
                <a:gd name="connsiteX48" fmla="*/ 1087922 w 1159387"/>
                <a:gd name="connsiteY48" fmla="*/ 475854 h 606592"/>
                <a:gd name="connsiteX49" fmla="*/ 1084912 w 1159387"/>
                <a:gd name="connsiteY49" fmla="*/ 468520 h 606592"/>
                <a:gd name="connsiteX50" fmla="*/ 1084912 w 1159387"/>
                <a:gd name="connsiteY50" fmla="*/ 312995 h 606592"/>
                <a:gd name="connsiteX51" fmla="*/ 966868 w 1159387"/>
                <a:gd name="connsiteY51" fmla="*/ 246504 h 606592"/>
                <a:gd name="connsiteX52" fmla="*/ 933768 w 1159387"/>
                <a:gd name="connsiteY52" fmla="*/ 313343 h 606592"/>
                <a:gd name="connsiteX53" fmla="*/ 596563 w 1159387"/>
                <a:gd name="connsiteY53" fmla="*/ 207040 h 606592"/>
                <a:gd name="connsiteX54" fmla="*/ 549471 w 1159387"/>
                <a:gd name="connsiteY54" fmla="*/ 323084 h 606592"/>
                <a:gd name="connsiteX55" fmla="*/ 596563 w 1159387"/>
                <a:gd name="connsiteY55" fmla="*/ 439145 h 606592"/>
                <a:gd name="connsiteX56" fmla="*/ 797522 w 1159387"/>
                <a:gd name="connsiteY56" fmla="*/ 460995 h 606592"/>
                <a:gd name="connsiteX57" fmla="*/ 799923 w 1159387"/>
                <a:gd name="connsiteY57" fmla="*/ 459357 h 606592"/>
                <a:gd name="connsiteX58" fmla="*/ 805247 w 1159387"/>
                <a:gd name="connsiteY58" fmla="*/ 455385 h 606592"/>
                <a:gd name="connsiteX59" fmla="*/ 806018 w 1159387"/>
                <a:gd name="connsiteY59" fmla="*/ 438745 h 606592"/>
                <a:gd name="connsiteX60" fmla="*/ 790226 w 1159387"/>
                <a:gd name="connsiteY60" fmla="*/ 417067 h 606592"/>
                <a:gd name="connsiteX61" fmla="*/ 776110 w 1159387"/>
                <a:gd name="connsiteY61" fmla="*/ 397747 h 606592"/>
                <a:gd name="connsiteX62" fmla="*/ 760975 w 1159387"/>
                <a:gd name="connsiteY62" fmla="*/ 394585 h 606592"/>
                <a:gd name="connsiteX63" fmla="*/ 757003 w 1159387"/>
                <a:gd name="connsiteY63" fmla="*/ 397067 h 606592"/>
                <a:gd name="connsiteX64" fmla="*/ 619737 w 1159387"/>
                <a:gd name="connsiteY64" fmla="*/ 323084 h 606592"/>
                <a:gd name="connsiteX65" fmla="*/ 756945 w 1159387"/>
                <a:gd name="connsiteY65" fmla="*/ 249203 h 606592"/>
                <a:gd name="connsiteX66" fmla="*/ 760975 w 1159387"/>
                <a:gd name="connsiteY66" fmla="*/ 251591 h 606592"/>
                <a:gd name="connsiteX67" fmla="*/ 776148 w 1159387"/>
                <a:gd name="connsiteY67" fmla="*/ 248416 h 606592"/>
                <a:gd name="connsiteX68" fmla="*/ 790207 w 1159387"/>
                <a:gd name="connsiteY68" fmla="*/ 229138 h 606592"/>
                <a:gd name="connsiteX69" fmla="*/ 804618 w 1159387"/>
                <a:gd name="connsiteY69" fmla="*/ 209395 h 606592"/>
                <a:gd name="connsiteX70" fmla="*/ 799903 w 1159387"/>
                <a:gd name="connsiteY70" fmla="*/ 186809 h 606592"/>
                <a:gd name="connsiteX71" fmla="*/ 797522 w 1159387"/>
                <a:gd name="connsiteY71" fmla="*/ 185195 h 606592"/>
                <a:gd name="connsiteX72" fmla="*/ 596563 w 1159387"/>
                <a:gd name="connsiteY72" fmla="*/ 207040 h 606592"/>
                <a:gd name="connsiteX73" fmla="*/ 293714 w 1159387"/>
                <a:gd name="connsiteY73" fmla="*/ 350313 h 606592"/>
                <a:gd name="connsiteX74" fmla="*/ 469385 w 1159387"/>
                <a:gd name="connsiteY74" fmla="*/ 350313 h 606592"/>
                <a:gd name="connsiteX75" fmla="*/ 507323 w 1159387"/>
                <a:gd name="connsiteY75" fmla="*/ 312290 h 606592"/>
                <a:gd name="connsiteX76" fmla="*/ 472890 w 1159387"/>
                <a:gd name="connsiteY76" fmla="*/ 208836 h 606592"/>
                <a:gd name="connsiteX77" fmla="*/ 368190 w 1159387"/>
                <a:gd name="connsiteY77" fmla="*/ 159530 h 606592"/>
                <a:gd name="connsiteX78" fmla="*/ 219228 w 1159387"/>
                <a:gd name="connsiteY78" fmla="*/ 323103 h 606592"/>
                <a:gd name="connsiteX79" fmla="*/ 375915 w 1159387"/>
                <a:gd name="connsiteY79" fmla="*/ 486674 h 606592"/>
                <a:gd name="connsiteX80" fmla="*/ 502398 w 1159387"/>
                <a:gd name="connsiteY80" fmla="*/ 450623 h 606592"/>
                <a:gd name="connsiteX81" fmla="*/ 505913 w 1159387"/>
                <a:gd name="connsiteY81" fmla="*/ 435907 h 606592"/>
                <a:gd name="connsiteX82" fmla="*/ 504818 w 1159387"/>
                <a:gd name="connsiteY82" fmla="*/ 434088 h 606592"/>
                <a:gd name="connsiteX83" fmla="*/ 478519 w 1159387"/>
                <a:gd name="connsiteY83" fmla="*/ 391689 h 606592"/>
                <a:gd name="connsiteX84" fmla="*/ 464460 w 1159387"/>
                <a:gd name="connsiteY84" fmla="*/ 388476 h 606592"/>
                <a:gd name="connsiteX85" fmla="*/ 377335 w 1159387"/>
                <a:gd name="connsiteY85" fmla="*/ 414990 h 606592"/>
                <a:gd name="connsiteX86" fmla="*/ 293714 w 1159387"/>
                <a:gd name="connsiteY86" fmla="*/ 350313 h 606592"/>
                <a:gd name="connsiteX87" fmla="*/ 430732 w 1159387"/>
                <a:gd name="connsiteY87" fmla="*/ 287912 h 606592"/>
                <a:gd name="connsiteX88" fmla="*/ 368190 w 1159387"/>
                <a:gd name="connsiteY88" fmla="*/ 232071 h 606592"/>
                <a:gd name="connsiteX89" fmla="*/ 296524 w 1159387"/>
                <a:gd name="connsiteY89" fmla="*/ 287912 h 606592"/>
                <a:gd name="connsiteX90" fmla="*/ 430732 w 1159387"/>
                <a:gd name="connsiteY90" fmla="*/ 287912 h 606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</a:cxnLst>
              <a:rect l="l" t="t" r="r" b="b"/>
              <a:pathLst>
                <a:path w="1159387" h="606592">
                  <a:moveTo>
                    <a:pt x="0" y="178242"/>
                  </a:moveTo>
                  <a:lnTo>
                    <a:pt x="0" y="237024"/>
                  </a:lnTo>
                  <a:cubicBezTo>
                    <a:pt x="695" y="241577"/>
                    <a:pt x="4220" y="245266"/>
                    <a:pt x="9135" y="246098"/>
                  </a:cubicBezTo>
                  <a:cubicBezTo>
                    <a:pt x="16869" y="247387"/>
                    <a:pt x="27404" y="249197"/>
                    <a:pt x="30214" y="250009"/>
                  </a:cubicBezTo>
                  <a:cubicBezTo>
                    <a:pt x="30833" y="250193"/>
                    <a:pt x="31518" y="250390"/>
                    <a:pt x="32261" y="250607"/>
                  </a:cubicBezTo>
                  <a:cubicBezTo>
                    <a:pt x="46749" y="254784"/>
                    <a:pt x="83697" y="265433"/>
                    <a:pt x="85030" y="319338"/>
                  </a:cubicBezTo>
                  <a:lnTo>
                    <a:pt x="85030" y="483817"/>
                  </a:lnTo>
                  <a:cubicBezTo>
                    <a:pt x="85030" y="516573"/>
                    <a:pt x="97670" y="547958"/>
                    <a:pt x="120863" y="570989"/>
                  </a:cubicBezTo>
                  <a:cubicBezTo>
                    <a:pt x="143342" y="593696"/>
                    <a:pt x="174261" y="606402"/>
                    <a:pt x="205874" y="606364"/>
                  </a:cubicBezTo>
                  <a:lnTo>
                    <a:pt x="207284" y="606364"/>
                  </a:lnTo>
                  <a:cubicBezTo>
                    <a:pt x="207284" y="606364"/>
                    <a:pt x="207284" y="606879"/>
                    <a:pt x="235964" y="606364"/>
                  </a:cubicBezTo>
                  <a:cubicBezTo>
                    <a:pt x="243232" y="606231"/>
                    <a:pt x="247461" y="601383"/>
                    <a:pt x="247356" y="593268"/>
                  </a:cubicBezTo>
                  <a:cubicBezTo>
                    <a:pt x="247222" y="582028"/>
                    <a:pt x="247527" y="573246"/>
                    <a:pt x="247337" y="563750"/>
                  </a:cubicBezTo>
                  <a:cubicBezTo>
                    <a:pt x="247184" y="555816"/>
                    <a:pt x="247337" y="548520"/>
                    <a:pt x="247337" y="541928"/>
                  </a:cubicBezTo>
                  <a:cubicBezTo>
                    <a:pt x="247337" y="535804"/>
                    <a:pt x="242422" y="530794"/>
                    <a:pt x="236802" y="530565"/>
                  </a:cubicBezTo>
                  <a:cubicBezTo>
                    <a:pt x="226258" y="530527"/>
                    <a:pt x="211504" y="530527"/>
                    <a:pt x="197454" y="530527"/>
                  </a:cubicBezTo>
                  <a:cubicBezTo>
                    <a:pt x="177071" y="530527"/>
                    <a:pt x="159506" y="513401"/>
                    <a:pt x="159506" y="492285"/>
                  </a:cubicBezTo>
                  <a:lnTo>
                    <a:pt x="159506" y="403084"/>
                  </a:lnTo>
                  <a:cubicBezTo>
                    <a:pt x="160202" y="402874"/>
                    <a:pt x="159506" y="317750"/>
                    <a:pt x="159506" y="316772"/>
                  </a:cubicBezTo>
                  <a:cubicBezTo>
                    <a:pt x="157544" y="243958"/>
                    <a:pt x="109233" y="212964"/>
                    <a:pt x="100365" y="207274"/>
                  </a:cubicBezTo>
                  <a:cubicBezTo>
                    <a:pt x="99708" y="206855"/>
                    <a:pt x="99270" y="206569"/>
                    <a:pt x="99080" y="206423"/>
                  </a:cubicBezTo>
                  <a:cubicBezTo>
                    <a:pt x="99270" y="206264"/>
                    <a:pt x="99708" y="205979"/>
                    <a:pt x="100356" y="205547"/>
                  </a:cubicBezTo>
                  <a:cubicBezTo>
                    <a:pt x="109395" y="199604"/>
                    <a:pt x="159506" y="166622"/>
                    <a:pt x="159506" y="90665"/>
                  </a:cubicBezTo>
                  <a:lnTo>
                    <a:pt x="159506" y="10992"/>
                  </a:lnTo>
                  <a:cubicBezTo>
                    <a:pt x="159506" y="4922"/>
                    <a:pt x="155287" y="0"/>
                    <a:pt x="148962" y="0"/>
                  </a:cubicBezTo>
                  <a:lnTo>
                    <a:pt x="95565" y="0"/>
                  </a:lnTo>
                  <a:cubicBezTo>
                    <a:pt x="89945" y="0"/>
                    <a:pt x="85030" y="4922"/>
                    <a:pt x="85030" y="10992"/>
                  </a:cubicBezTo>
                  <a:lnTo>
                    <a:pt x="85030" y="90665"/>
                  </a:lnTo>
                  <a:cubicBezTo>
                    <a:pt x="85030" y="147350"/>
                    <a:pt x="47054" y="158469"/>
                    <a:pt x="32366" y="162761"/>
                  </a:cubicBezTo>
                  <a:cubicBezTo>
                    <a:pt x="31576" y="162997"/>
                    <a:pt x="30861" y="163206"/>
                    <a:pt x="30214" y="163402"/>
                  </a:cubicBezTo>
                  <a:cubicBezTo>
                    <a:pt x="27404" y="164209"/>
                    <a:pt x="16869" y="166026"/>
                    <a:pt x="9135" y="167302"/>
                  </a:cubicBezTo>
                  <a:cubicBezTo>
                    <a:pt x="3515" y="168248"/>
                    <a:pt x="0" y="172858"/>
                    <a:pt x="0" y="178242"/>
                  </a:cubicBezTo>
                  <a:close/>
                  <a:moveTo>
                    <a:pt x="933768" y="313343"/>
                  </a:moveTo>
                  <a:lnTo>
                    <a:pt x="933768" y="468558"/>
                  </a:lnTo>
                  <a:cubicBezTo>
                    <a:pt x="933768" y="471320"/>
                    <a:pt x="932682" y="473949"/>
                    <a:pt x="930749" y="475902"/>
                  </a:cubicBezTo>
                  <a:cubicBezTo>
                    <a:pt x="928825" y="477845"/>
                    <a:pt x="926206" y="478940"/>
                    <a:pt x="923472" y="478940"/>
                  </a:cubicBezTo>
                  <a:cubicBezTo>
                    <a:pt x="909270" y="478921"/>
                    <a:pt x="883819" y="478912"/>
                    <a:pt x="869627" y="478902"/>
                  </a:cubicBezTo>
                  <a:cubicBezTo>
                    <a:pt x="863950" y="478893"/>
                    <a:pt x="859349" y="474254"/>
                    <a:pt x="859349" y="468530"/>
                  </a:cubicBezTo>
                  <a:cubicBezTo>
                    <a:pt x="859349" y="405427"/>
                    <a:pt x="859349" y="73513"/>
                    <a:pt x="859349" y="10375"/>
                  </a:cubicBezTo>
                  <a:cubicBezTo>
                    <a:pt x="859349" y="4648"/>
                    <a:pt x="863959" y="0"/>
                    <a:pt x="869636" y="0"/>
                  </a:cubicBezTo>
                  <a:cubicBezTo>
                    <a:pt x="883838" y="0"/>
                    <a:pt x="909279" y="0"/>
                    <a:pt x="923472" y="0"/>
                  </a:cubicBezTo>
                  <a:cubicBezTo>
                    <a:pt x="929158" y="0"/>
                    <a:pt x="933768" y="4648"/>
                    <a:pt x="933768" y="10375"/>
                  </a:cubicBezTo>
                  <a:cubicBezTo>
                    <a:pt x="933768" y="50513"/>
                    <a:pt x="933768" y="193355"/>
                    <a:pt x="933768" y="193355"/>
                  </a:cubicBezTo>
                  <a:cubicBezTo>
                    <a:pt x="1013169" y="118433"/>
                    <a:pt x="1159388" y="172318"/>
                    <a:pt x="1159388" y="312995"/>
                  </a:cubicBezTo>
                  <a:lnTo>
                    <a:pt x="1159388" y="468520"/>
                  </a:lnTo>
                  <a:cubicBezTo>
                    <a:pt x="1159388" y="471273"/>
                    <a:pt x="1158302" y="473911"/>
                    <a:pt x="1156378" y="475854"/>
                  </a:cubicBezTo>
                  <a:cubicBezTo>
                    <a:pt x="1154445" y="477797"/>
                    <a:pt x="1151835" y="478893"/>
                    <a:pt x="1149101" y="478893"/>
                  </a:cubicBezTo>
                  <a:cubicBezTo>
                    <a:pt x="1134899" y="478893"/>
                    <a:pt x="1109401" y="478893"/>
                    <a:pt x="1095199" y="478893"/>
                  </a:cubicBezTo>
                  <a:cubicBezTo>
                    <a:pt x="1092465" y="478893"/>
                    <a:pt x="1089855" y="477797"/>
                    <a:pt x="1087922" y="475854"/>
                  </a:cubicBezTo>
                  <a:cubicBezTo>
                    <a:pt x="1085998" y="473911"/>
                    <a:pt x="1084912" y="471273"/>
                    <a:pt x="1084912" y="468520"/>
                  </a:cubicBezTo>
                  <a:cubicBezTo>
                    <a:pt x="1084912" y="432211"/>
                    <a:pt x="1084912" y="312995"/>
                    <a:pt x="1084912" y="312995"/>
                  </a:cubicBezTo>
                  <a:cubicBezTo>
                    <a:pt x="1084912" y="239513"/>
                    <a:pt x="1011121" y="217047"/>
                    <a:pt x="966868" y="246504"/>
                  </a:cubicBezTo>
                  <a:cubicBezTo>
                    <a:pt x="947885" y="259141"/>
                    <a:pt x="933768" y="281804"/>
                    <a:pt x="933768" y="313343"/>
                  </a:cubicBezTo>
                  <a:close/>
                  <a:moveTo>
                    <a:pt x="596563" y="207040"/>
                  </a:moveTo>
                  <a:cubicBezTo>
                    <a:pt x="564235" y="238922"/>
                    <a:pt x="549471" y="280953"/>
                    <a:pt x="549471" y="323084"/>
                  </a:cubicBezTo>
                  <a:cubicBezTo>
                    <a:pt x="549471" y="365223"/>
                    <a:pt x="564235" y="407246"/>
                    <a:pt x="596563" y="439145"/>
                  </a:cubicBezTo>
                  <a:cubicBezTo>
                    <a:pt x="650665" y="494085"/>
                    <a:pt x="734285" y="501400"/>
                    <a:pt x="797522" y="460995"/>
                  </a:cubicBezTo>
                  <a:cubicBezTo>
                    <a:pt x="798208" y="460481"/>
                    <a:pt x="799037" y="459938"/>
                    <a:pt x="799923" y="459357"/>
                  </a:cubicBezTo>
                  <a:cubicBezTo>
                    <a:pt x="801761" y="458147"/>
                    <a:pt x="803828" y="456795"/>
                    <a:pt x="805247" y="455385"/>
                  </a:cubicBezTo>
                  <a:cubicBezTo>
                    <a:pt x="808762" y="451909"/>
                    <a:pt x="810762" y="445470"/>
                    <a:pt x="806018" y="438745"/>
                  </a:cubicBezTo>
                  <a:cubicBezTo>
                    <a:pt x="801761" y="432697"/>
                    <a:pt x="796170" y="425153"/>
                    <a:pt x="790226" y="417067"/>
                  </a:cubicBezTo>
                  <a:cubicBezTo>
                    <a:pt x="785121" y="410132"/>
                    <a:pt x="780339" y="403665"/>
                    <a:pt x="776110" y="397747"/>
                  </a:cubicBezTo>
                  <a:cubicBezTo>
                    <a:pt x="772671" y="392947"/>
                    <a:pt x="765890" y="391664"/>
                    <a:pt x="760975" y="394585"/>
                  </a:cubicBezTo>
                  <a:cubicBezTo>
                    <a:pt x="759565" y="395461"/>
                    <a:pt x="758393" y="396172"/>
                    <a:pt x="757003" y="397067"/>
                  </a:cubicBezTo>
                  <a:cubicBezTo>
                    <a:pt x="686032" y="442936"/>
                    <a:pt x="619737" y="382374"/>
                    <a:pt x="619737" y="323084"/>
                  </a:cubicBezTo>
                  <a:cubicBezTo>
                    <a:pt x="619737" y="263795"/>
                    <a:pt x="687384" y="203573"/>
                    <a:pt x="756945" y="249203"/>
                  </a:cubicBezTo>
                  <a:cubicBezTo>
                    <a:pt x="758308" y="250105"/>
                    <a:pt x="759565" y="250708"/>
                    <a:pt x="760975" y="251591"/>
                  </a:cubicBezTo>
                  <a:cubicBezTo>
                    <a:pt x="765890" y="254512"/>
                    <a:pt x="772805" y="253115"/>
                    <a:pt x="776148" y="248416"/>
                  </a:cubicBezTo>
                  <a:cubicBezTo>
                    <a:pt x="780377" y="242497"/>
                    <a:pt x="785102" y="236065"/>
                    <a:pt x="790207" y="229138"/>
                  </a:cubicBezTo>
                  <a:cubicBezTo>
                    <a:pt x="795560" y="221854"/>
                    <a:pt x="800580" y="215072"/>
                    <a:pt x="804618" y="209395"/>
                  </a:cubicBezTo>
                  <a:cubicBezTo>
                    <a:pt x="811362" y="199928"/>
                    <a:pt x="809571" y="193191"/>
                    <a:pt x="799903" y="186809"/>
                  </a:cubicBezTo>
                  <a:cubicBezTo>
                    <a:pt x="799027" y="186231"/>
                    <a:pt x="798199" y="185691"/>
                    <a:pt x="797522" y="185195"/>
                  </a:cubicBezTo>
                  <a:cubicBezTo>
                    <a:pt x="734285" y="144778"/>
                    <a:pt x="650665" y="152087"/>
                    <a:pt x="596563" y="207040"/>
                  </a:cubicBezTo>
                  <a:close/>
                  <a:moveTo>
                    <a:pt x="293714" y="350313"/>
                  </a:moveTo>
                  <a:lnTo>
                    <a:pt x="469385" y="350313"/>
                  </a:lnTo>
                  <a:cubicBezTo>
                    <a:pt x="490463" y="350313"/>
                    <a:pt x="507323" y="333283"/>
                    <a:pt x="507323" y="312290"/>
                  </a:cubicBezTo>
                  <a:cubicBezTo>
                    <a:pt x="507323" y="265561"/>
                    <a:pt x="499588" y="240644"/>
                    <a:pt x="472890" y="208836"/>
                  </a:cubicBezTo>
                  <a:cubicBezTo>
                    <a:pt x="445486" y="176865"/>
                    <a:pt x="401919" y="159530"/>
                    <a:pt x="368190" y="159530"/>
                  </a:cubicBezTo>
                  <a:cubicBezTo>
                    <a:pt x="283875" y="159530"/>
                    <a:pt x="219228" y="231722"/>
                    <a:pt x="219228" y="323103"/>
                  </a:cubicBezTo>
                  <a:cubicBezTo>
                    <a:pt x="219228" y="435697"/>
                    <a:pt x="306354" y="486674"/>
                    <a:pt x="375915" y="486674"/>
                  </a:cubicBezTo>
                  <a:cubicBezTo>
                    <a:pt x="425807" y="486674"/>
                    <a:pt x="464460" y="474616"/>
                    <a:pt x="502398" y="450623"/>
                  </a:cubicBezTo>
                  <a:cubicBezTo>
                    <a:pt x="506618" y="447470"/>
                    <a:pt x="508723" y="441003"/>
                    <a:pt x="505913" y="435907"/>
                  </a:cubicBezTo>
                  <a:lnTo>
                    <a:pt x="504818" y="434088"/>
                  </a:lnTo>
                  <a:cubicBezTo>
                    <a:pt x="497150" y="421362"/>
                    <a:pt x="486558" y="403789"/>
                    <a:pt x="478519" y="391689"/>
                  </a:cubicBezTo>
                  <a:cubicBezTo>
                    <a:pt x="475709" y="386901"/>
                    <a:pt x="469385" y="385492"/>
                    <a:pt x="464460" y="388476"/>
                  </a:cubicBezTo>
                  <a:cubicBezTo>
                    <a:pt x="440571" y="402722"/>
                    <a:pt x="415273" y="415266"/>
                    <a:pt x="377335" y="414990"/>
                  </a:cubicBezTo>
                  <a:cubicBezTo>
                    <a:pt x="342197" y="414742"/>
                    <a:pt x="304954" y="392280"/>
                    <a:pt x="293714" y="350313"/>
                  </a:cubicBezTo>
                  <a:close/>
                  <a:moveTo>
                    <a:pt x="430732" y="287912"/>
                  </a:moveTo>
                  <a:cubicBezTo>
                    <a:pt x="424407" y="240694"/>
                    <a:pt x="392079" y="232071"/>
                    <a:pt x="368190" y="232071"/>
                  </a:cubicBezTo>
                  <a:cubicBezTo>
                    <a:pt x="335872" y="232071"/>
                    <a:pt x="308478" y="256182"/>
                    <a:pt x="296524" y="287912"/>
                  </a:cubicBezTo>
                  <a:lnTo>
                    <a:pt x="430732" y="287912"/>
                  </a:lnTo>
                  <a:close/>
                </a:path>
              </a:pathLst>
            </a:custGeom>
            <a:solidFill>
              <a:schemeClr val="accent2"/>
            </a:solidFill>
            <a:ln w="76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16" name="Полилиния 15">
              <a:extLst>
                <a:ext uri="{FF2B5EF4-FFF2-40B4-BE49-F238E27FC236}">
                  <a16:creationId xmlns:a16="http://schemas.microsoft.com/office/drawing/2014/main" id="{03433882-C03B-C000-C623-A6053301C5C7}"/>
                </a:ext>
              </a:extLst>
            </p:cNvPr>
            <p:cNvSpPr/>
            <p:nvPr/>
          </p:nvSpPr>
          <p:spPr>
            <a:xfrm>
              <a:off x="8489504" y="1070894"/>
              <a:ext cx="1492273" cy="326563"/>
            </a:xfrm>
            <a:custGeom>
              <a:avLst/>
              <a:gdLst>
                <a:gd name="connsiteX0" fmla="*/ 180273 w 1492273"/>
                <a:gd name="connsiteY0" fmla="*/ 900 h 326563"/>
                <a:gd name="connsiteX1" fmla="*/ 83526 w 1492273"/>
                <a:gd name="connsiteY1" fmla="*/ 20775 h 326563"/>
                <a:gd name="connsiteX2" fmla="*/ 15954 w 1492273"/>
                <a:gd name="connsiteY2" fmla="*/ 92853 h 326563"/>
                <a:gd name="connsiteX3" fmla="*/ 2323 w 1492273"/>
                <a:gd name="connsiteY3" fmla="*/ 190737 h 326563"/>
                <a:gd name="connsiteX4" fmla="*/ 47618 w 1492273"/>
                <a:gd name="connsiteY4" fmla="*/ 278557 h 326563"/>
                <a:gd name="connsiteX5" fmla="*/ 135243 w 1492273"/>
                <a:gd name="connsiteY5" fmla="*/ 324153 h 326563"/>
                <a:gd name="connsiteX6" fmla="*/ 233098 w 1492273"/>
                <a:gd name="connsiteY6" fmla="*/ 310818 h 326563"/>
                <a:gd name="connsiteX7" fmla="*/ 305341 w 1492273"/>
                <a:gd name="connsiteY7" fmla="*/ 243429 h 326563"/>
                <a:gd name="connsiteX8" fmla="*/ 325507 w 1492273"/>
                <a:gd name="connsiteY8" fmla="*/ 146675 h 326563"/>
                <a:gd name="connsiteX9" fmla="*/ 278778 w 1492273"/>
                <a:gd name="connsiteY9" fmla="*/ 47965 h 326563"/>
                <a:gd name="connsiteX10" fmla="*/ 180273 w 1492273"/>
                <a:gd name="connsiteY10" fmla="*/ 900 h 326563"/>
                <a:gd name="connsiteX11" fmla="*/ 174984 w 1492273"/>
                <a:gd name="connsiteY11" fmla="*/ 249697 h 326563"/>
                <a:gd name="connsiteX12" fmla="*/ 122555 w 1492273"/>
                <a:gd name="connsiteY12" fmla="*/ 240277 h 326563"/>
                <a:gd name="connsiteX13" fmla="*/ 85427 w 1492273"/>
                <a:gd name="connsiteY13" fmla="*/ 202047 h 326563"/>
                <a:gd name="connsiteX14" fmla="*/ 77507 w 1492273"/>
                <a:gd name="connsiteY14" fmla="*/ 149329 h 326563"/>
                <a:gd name="connsiteX15" fmla="*/ 101766 w 1492273"/>
                <a:gd name="connsiteY15" fmla="*/ 101883 h 326563"/>
                <a:gd name="connsiteX16" fmla="*/ 149113 w 1492273"/>
                <a:gd name="connsiteY16" fmla="*/ 77461 h 326563"/>
                <a:gd name="connsiteX17" fmla="*/ 201825 w 1492273"/>
                <a:gd name="connsiteY17" fmla="*/ 85220 h 326563"/>
                <a:gd name="connsiteX18" fmla="*/ 240132 w 1492273"/>
                <a:gd name="connsiteY18" fmla="*/ 122247 h 326563"/>
                <a:gd name="connsiteX19" fmla="*/ 249714 w 1492273"/>
                <a:gd name="connsiteY19" fmla="*/ 174684 h 326563"/>
                <a:gd name="connsiteX20" fmla="*/ 225058 w 1492273"/>
                <a:gd name="connsiteY20" fmla="*/ 224868 h 326563"/>
                <a:gd name="connsiteX21" fmla="*/ 174984 w 1492273"/>
                <a:gd name="connsiteY21" fmla="*/ 249697 h 326563"/>
                <a:gd name="connsiteX22" fmla="*/ 412780 w 1492273"/>
                <a:gd name="connsiteY22" fmla="*/ 7358 h 326563"/>
                <a:gd name="connsiteX23" fmla="*/ 396435 w 1492273"/>
                <a:gd name="connsiteY23" fmla="*/ 11091 h 326563"/>
                <a:gd name="connsiteX24" fmla="*/ 383276 w 1492273"/>
                <a:gd name="connsiteY24" fmla="*/ 21498 h 326563"/>
                <a:gd name="connsiteX25" fmla="*/ 375859 w 1492273"/>
                <a:gd name="connsiteY25" fmla="*/ 36548 h 326563"/>
                <a:gd name="connsiteX26" fmla="*/ 375620 w 1492273"/>
                <a:gd name="connsiteY26" fmla="*/ 53325 h 326563"/>
                <a:gd name="connsiteX27" fmla="*/ 414209 w 1492273"/>
                <a:gd name="connsiteY27" fmla="*/ 83537 h 326563"/>
                <a:gd name="connsiteX28" fmla="*/ 520143 w 1492273"/>
                <a:gd name="connsiteY28" fmla="*/ 83537 h 326563"/>
                <a:gd name="connsiteX29" fmla="*/ 355289 w 1492273"/>
                <a:gd name="connsiteY29" fmla="*/ 301846 h 326563"/>
                <a:gd name="connsiteX30" fmla="*/ 353136 w 1492273"/>
                <a:gd name="connsiteY30" fmla="*/ 307389 h 326563"/>
                <a:gd name="connsiteX31" fmla="*/ 354212 w 1492273"/>
                <a:gd name="connsiteY31" fmla="*/ 313237 h 326563"/>
                <a:gd name="connsiteX32" fmla="*/ 358204 w 1492273"/>
                <a:gd name="connsiteY32" fmla="*/ 317647 h 326563"/>
                <a:gd name="connsiteX33" fmla="*/ 363921 w 1492273"/>
                <a:gd name="connsiteY33" fmla="*/ 319295 h 326563"/>
                <a:gd name="connsiteX34" fmla="*/ 622504 w 1492273"/>
                <a:gd name="connsiteY34" fmla="*/ 319295 h 326563"/>
                <a:gd name="connsiteX35" fmla="*/ 661099 w 1492273"/>
                <a:gd name="connsiteY35" fmla="*/ 289082 h 326563"/>
                <a:gd name="connsiteX36" fmla="*/ 660861 w 1492273"/>
                <a:gd name="connsiteY36" fmla="*/ 272299 h 326563"/>
                <a:gd name="connsiteX37" fmla="*/ 653451 w 1492273"/>
                <a:gd name="connsiteY37" fmla="*/ 257250 h 326563"/>
                <a:gd name="connsiteX38" fmla="*/ 640297 w 1492273"/>
                <a:gd name="connsiteY38" fmla="*/ 246849 h 326563"/>
                <a:gd name="connsiteX39" fmla="*/ 623952 w 1492273"/>
                <a:gd name="connsiteY39" fmla="*/ 243105 h 326563"/>
                <a:gd name="connsiteX40" fmla="*/ 494883 w 1492273"/>
                <a:gd name="connsiteY40" fmla="*/ 243105 h 326563"/>
                <a:gd name="connsiteX41" fmla="*/ 659613 w 1492273"/>
                <a:gd name="connsiteY41" fmla="*/ 24972 h 326563"/>
                <a:gd name="connsiteX42" fmla="*/ 661785 w 1492273"/>
                <a:gd name="connsiteY42" fmla="*/ 19371 h 326563"/>
                <a:gd name="connsiteX43" fmla="*/ 660690 w 1492273"/>
                <a:gd name="connsiteY43" fmla="*/ 13473 h 326563"/>
                <a:gd name="connsiteX44" fmla="*/ 656661 w 1492273"/>
                <a:gd name="connsiteY44" fmla="*/ 9021 h 326563"/>
                <a:gd name="connsiteX45" fmla="*/ 650888 w 1492273"/>
                <a:gd name="connsiteY45" fmla="*/ 7358 h 326563"/>
                <a:gd name="connsiteX46" fmla="*/ 412780 w 1492273"/>
                <a:gd name="connsiteY46" fmla="*/ 7358 h 326563"/>
                <a:gd name="connsiteX47" fmla="*/ 1446105 w 1492273"/>
                <a:gd name="connsiteY47" fmla="*/ 8240 h 326563"/>
                <a:gd name="connsiteX48" fmla="*/ 1424484 w 1492273"/>
                <a:gd name="connsiteY48" fmla="*/ 22127 h 326563"/>
                <a:gd name="connsiteX49" fmla="*/ 1416378 w 1492273"/>
                <a:gd name="connsiteY49" fmla="*/ 46473 h 326563"/>
                <a:gd name="connsiteX50" fmla="*/ 1416378 w 1492273"/>
                <a:gd name="connsiteY50" fmla="*/ 173313 h 326563"/>
                <a:gd name="connsiteX51" fmla="*/ 1210980 w 1492273"/>
                <a:gd name="connsiteY51" fmla="*/ 9758 h 326563"/>
                <a:gd name="connsiteX52" fmla="*/ 1205389 w 1492273"/>
                <a:gd name="connsiteY52" fmla="*/ 7453 h 326563"/>
                <a:gd name="connsiteX53" fmla="*/ 1199426 w 1492273"/>
                <a:gd name="connsiteY53" fmla="*/ 8482 h 326563"/>
                <a:gd name="connsiteX54" fmla="*/ 1194921 w 1492273"/>
                <a:gd name="connsiteY54" fmla="*/ 12520 h 326563"/>
                <a:gd name="connsiteX55" fmla="*/ 1193263 w 1492273"/>
                <a:gd name="connsiteY55" fmla="*/ 18343 h 326563"/>
                <a:gd name="connsiteX56" fmla="*/ 1193263 w 1492273"/>
                <a:gd name="connsiteY56" fmla="*/ 280243 h 326563"/>
                <a:gd name="connsiteX57" fmla="*/ 1201388 w 1492273"/>
                <a:gd name="connsiteY57" fmla="*/ 304589 h 326563"/>
                <a:gd name="connsiteX58" fmla="*/ 1222962 w 1492273"/>
                <a:gd name="connsiteY58" fmla="*/ 318486 h 326563"/>
                <a:gd name="connsiteX59" fmla="*/ 1239803 w 1492273"/>
                <a:gd name="connsiteY59" fmla="*/ 318362 h 326563"/>
                <a:gd name="connsiteX60" fmla="*/ 1254966 w 1492273"/>
                <a:gd name="connsiteY60" fmla="*/ 310961 h 326563"/>
                <a:gd name="connsiteX61" fmla="*/ 1265444 w 1492273"/>
                <a:gd name="connsiteY61" fmla="*/ 297721 h 326563"/>
                <a:gd name="connsiteX62" fmla="*/ 1269159 w 1492273"/>
                <a:gd name="connsiteY62" fmla="*/ 281272 h 326563"/>
                <a:gd name="connsiteX63" fmla="*/ 1269159 w 1492273"/>
                <a:gd name="connsiteY63" fmla="*/ 153323 h 326563"/>
                <a:gd name="connsiteX64" fmla="*/ 1474538 w 1492273"/>
                <a:gd name="connsiteY64" fmla="*/ 316885 h 326563"/>
                <a:gd name="connsiteX65" fmla="*/ 1480148 w 1492273"/>
                <a:gd name="connsiteY65" fmla="*/ 319190 h 326563"/>
                <a:gd name="connsiteX66" fmla="*/ 1486120 w 1492273"/>
                <a:gd name="connsiteY66" fmla="*/ 318162 h 326563"/>
                <a:gd name="connsiteX67" fmla="*/ 1490625 w 1492273"/>
                <a:gd name="connsiteY67" fmla="*/ 314123 h 326563"/>
                <a:gd name="connsiteX68" fmla="*/ 1492273 w 1492273"/>
                <a:gd name="connsiteY68" fmla="*/ 308303 h 326563"/>
                <a:gd name="connsiteX69" fmla="*/ 1492273 w 1492273"/>
                <a:gd name="connsiteY69" fmla="*/ 45444 h 326563"/>
                <a:gd name="connsiteX70" fmla="*/ 1488559 w 1492273"/>
                <a:gd name="connsiteY70" fmla="*/ 28985 h 326563"/>
                <a:gd name="connsiteX71" fmla="*/ 1478081 w 1492273"/>
                <a:gd name="connsiteY71" fmla="*/ 15759 h 326563"/>
                <a:gd name="connsiteX72" fmla="*/ 1462908 w 1492273"/>
                <a:gd name="connsiteY72" fmla="*/ 8354 h 326563"/>
                <a:gd name="connsiteX73" fmla="*/ 1446105 w 1492273"/>
                <a:gd name="connsiteY73" fmla="*/ 8240 h 326563"/>
                <a:gd name="connsiteX74" fmla="*/ 911265 w 1492273"/>
                <a:gd name="connsiteY74" fmla="*/ 76254 h 326563"/>
                <a:gd name="connsiteX75" fmla="*/ 1063066 w 1492273"/>
                <a:gd name="connsiteY75" fmla="*/ 163286 h 326563"/>
                <a:gd name="connsiteX76" fmla="*/ 911265 w 1492273"/>
                <a:gd name="connsiteY76" fmla="*/ 250325 h 326563"/>
                <a:gd name="connsiteX77" fmla="*/ 759483 w 1492273"/>
                <a:gd name="connsiteY77" fmla="*/ 163286 h 326563"/>
                <a:gd name="connsiteX78" fmla="*/ 911265 w 1492273"/>
                <a:gd name="connsiteY78" fmla="*/ 76254 h 326563"/>
                <a:gd name="connsiteX79" fmla="*/ 911265 w 1492273"/>
                <a:gd name="connsiteY79" fmla="*/ 67 h 326563"/>
                <a:gd name="connsiteX80" fmla="*/ 683578 w 1492273"/>
                <a:gd name="connsiteY80" fmla="*/ 163286 h 326563"/>
                <a:gd name="connsiteX81" fmla="*/ 911265 w 1492273"/>
                <a:gd name="connsiteY81" fmla="*/ 326506 h 326563"/>
                <a:gd name="connsiteX82" fmla="*/ 1138961 w 1492273"/>
                <a:gd name="connsiteY82" fmla="*/ 163286 h 326563"/>
                <a:gd name="connsiteX83" fmla="*/ 911265 w 1492273"/>
                <a:gd name="connsiteY83" fmla="*/ 67 h 3265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</a:cxnLst>
              <a:rect l="l" t="t" r="r" b="b"/>
              <a:pathLst>
                <a:path w="1492273" h="326563">
                  <a:moveTo>
                    <a:pt x="180273" y="900"/>
                  </a:moveTo>
                  <a:cubicBezTo>
                    <a:pt x="146739" y="-2638"/>
                    <a:pt x="112948" y="4310"/>
                    <a:pt x="83526" y="20775"/>
                  </a:cubicBezTo>
                  <a:cubicBezTo>
                    <a:pt x="54104" y="37240"/>
                    <a:pt x="30499" y="62424"/>
                    <a:pt x="15954" y="92853"/>
                  </a:cubicBezTo>
                  <a:cubicBezTo>
                    <a:pt x="1417" y="123295"/>
                    <a:pt x="-3344" y="157489"/>
                    <a:pt x="2323" y="190737"/>
                  </a:cubicBezTo>
                  <a:cubicBezTo>
                    <a:pt x="7990" y="223998"/>
                    <a:pt x="23812" y="254669"/>
                    <a:pt x="47618" y="278557"/>
                  </a:cubicBezTo>
                  <a:cubicBezTo>
                    <a:pt x="71412" y="302455"/>
                    <a:pt x="102030" y="318381"/>
                    <a:pt x="135243" y="324153"/>
                  </a:cubicBezTo>
                  <a:cubicBezTo>
                    <a:pt x="168455" y="329925"/>
                    <a:pt x="202644" y="325277"/>
                    <a:pt x="233098" y="310818"/>
                  </a:cubicBezTo>
                  <a:cubicBezTo>
                    <a:pt x="263559" y="296359"/>
                    <a:pt x="288801" y="272814"/>
                    <a:pt x="305341" y="243429"/>
                  </a:cubicBezTo>
                  <a:cubicBezTo>
                    <a:pt x="321894" y="214035"/>
                    <a:pt x="328933" y="180240"/>
                    <a:pt x="325507" y="146675"/>
                  </a:cubicBezTo>
                  <a:cubicBezTo>
                    <a:pt x="321736" y="109375"/>
                    <a:pt x="305234" y="74514"/>
                    <a:pt x="278778" y="47965"/>
                  </a:cubicBezTo>
                  <a:cubicBezTo>
                    <a:pt x="252327" y="21410"/>
                    <a:pt x="217534" y="4786"/>
                    <a:pt x="180273" y="900"/>
                  </a:cubicBezTo>
                  <a:close/>
                  <a:moveTo>
                    <a:pt x="174984" y="249697"/>
                  </a:moveTo>
                  <a:cubicBezTo>
                    <a:pt x="156946" y="252116"/>
                    <a:pt x="138617" y="248820"/>
                    <a:pt x="122555" y="240277"/>
                  </a:cubicBezTo>
                  <a:cubicBezTo>
                    <a:pt x="106488" y="231725"/>
                    <a:pt x="93505" y="218366"/>
                    <a:pt x="85427" y="202047"/>
                  </a:cubicBezTo>
                  <a:cubicBezTo>
                    <a:pt x="77349" y="185733"/>
                    <a:pt x="74579" y="167300"/>
                    <a:pt x="77507" y="149329"/>
                  </a:cubicBezTo>
                  <a:cubicBezTo>
                    <a:pt x="80440" y="131372"/>
                    <a:pt x="88922" y="114773"/>
                    <a:pt x="101766" y="101883"/>
                  </a:cubicBezTo>
                  <a:cubicBezTo>
                    <a:pt x="114610" y="88986"/>
                    <a:pt x="131176" y="80452"/>
                    <a:pt x="149113" y="77461"/>
                  </a:cubicBezTo>
                  <a:cubicBezTo>
                    <a:pt x="167057" y="74470"/>
                    <a:pt x="185493" y="77181"/>
                    <a:pt x="201825" y="85220"/>
                  </a:cubicBezTo>
                  <a:cubicBezTo>
                    <a:pt x="218145" y="93247"/>
                    <a:pt x="231543" y="106194"/>
                    <a:pt x="240132" y="122247"/>
                  </a:cubicBezTo>
                  <a:cubicBezTo>
                    <a:pt x="248725" y="138293"/>
                    <a:pt x="252068" y="156625"/>
                    <a:pt x="249714" y="174684"/>
                  </a:cubicBezTo>
                  <a:cubicBezTo>
                    <a:pt x="247233" y="193670"/>
                    <a:pt x="238569" y="211305"/>
                    <a:pt x="225058" y="224868"/>
                  </a:cubicBezTo>
                  <a:cubicBezTo>
                    <a:pt x="211546" y="238425"/>
                    <a:pt x="193948" y="247154"/>
                    <a:pt x="174984" y="249697"/>
                  </a:cubicBezTo>
                  <a:close/>
                  <a:moveTo>
                    <a:pt x="412780" y="7358"/>
                  </a:moveTo>
                  <a:cubicBezTo>
                    <a:pt x="407126" y="7370"/>
                    <a:pt x="401534" y="8646"/>
                    <a:pt x="396435" y="11091"/>
                  </a:cubicBezTo>
                  <a:cubicBezTo>
                    <a:pt x="391328" y="13536"/>
                    <a:pt x="386833" y="17092"/>
                    <a:pt x="383276" y="21498"/>
                  </a:cubicBezTo>
                  <a:cubicBezTo>
                    <a:pt x="379712" y="25899"/>
                    <a:pt x="377174" y="31042"/>
                    <a:pt x="375859" y="36548"/>
                  </a:cubicBezTo>
                  <a:cubicBezTo>
                    <a:pt x="374537" y="42053"/>
                    <a:pt x="374448" y="47787"/>
                    <a:pt x="375620" y="53325"/>
                  </a:cubicBezTo>
                  <a:cubicBezTo>
                    <a:pt x="379202" y="71282"/>
                    <a:pt x="395956" y="83537"/>
                    <a:pt x="414209" y="83537"/>
                  </a:cubicBezTo>
                  <a:lnTo>
                    <a:pt x="520143" y="83537"/>
                  </a:lnTo>
                  <a:lnTo>
                    <a:pt x="355289" y="301846"/>
                  </a:lnTo>
                  <a:cubicBezTo>
                    <a:pt x="354067" y="303455"/>
                    <a:pt x="353324" y="305379"/>
                    <a:pt x="353136" y="307389"/>
                  </a:cubicBezTo>
                  <a:cubicBezTo>
                    <a:pt x="352940" y="309399"/>
                    <a:pt x="353319" y="311428"/>
                    <a:pt x="354212" y="313237"/>
                  </a:cubicBezTo>
                  <a:cubicBezTo>
                    <a:pt x="355113" y="315047"/>
                    <a:pt x="356491" y="316581"/>
                    <a:pt x="358204" y="317647"/>
                  </a:cubicBezTo>
                  <a:cubicBezTo>
                    <a:pt x="359923" y="318714"/>
                    <a:pt x="361900" y="319286"/>
                    <a:pt x="363921" y="319295"/>
                  </a:cubicBezTo>
                  <a:lnTo>
                    <a:pt x="622504" y="319295"/>
                  </a:lnTo>
                  <a:cubicBezTo>
                    <a:pt x="640744" y="319295"/>
                    <a:pt x="657518" y="307037"/>
                    <a:pt x="661099" y="289082"/>
                  </a:cubicBezTo>
                  <a:cubicBezTo>
                    <a:pt x="662271" y="283539"/>
                    <a:pt x="662185" y="277805"/>
                    <a:pt x="660861" y="272299"/>
                  </a:cubicBezTo>
                  <a:cubicBezTo>
                    <a:pt x="659537" y="266794"/>
                    <a:pt x="657004" y="261650"/>
                    <a:pt x="653451" y="257250"/>
                  </a:cubicBezTo>
                  <a:cubicBezTo>
                    <a:pt x="649898" y="252849"/>
                    <a:pt x="645402" y="249297"/>
                    <a:pt x="640297" y="246849"/>
                  </a:cubicBezTo>
                  <a:cubicBezTo>
                    <a:pt x="635191" y="244391"/>
                    <a:pt x="629610" y="243115"/>
                    <a:pt x="623952" y="243105"/>
                  </a:cubicBezTo>
                  <a:lnTo>
                    <a:pt x="494883" y="243105"/>
                  </a:lnTo>
                  <a:lnTo>
                    <a:pt x="659613" y="24972"/>
                  </a:lnTo>
                  <a:cubicBezTo>
                    <a:pt x="660842" y="23340"/>
                    <a:pt x="661595" y="21403"/>
                    <a:pt x="661785" y="19371"/>
                  </a:cubicBezTo>
                  <a:cubicBezTo>
                    <a:pt x="661976" y="17340"/>
                    <a:pt x="661604" y="15295"/>
                    <a:pt x="660690" y="13473"/>
                  </a:cubicBezTo>
                  <a:cubicBezTo>
                    <a:pt x="659785" y="11637"/>
                    <a:pt x="658385" y="10101"/>
                    <a:pt x="656661" y="9021"/>
                  </a:cubicBezTo>
                  <a:cubicBezTo>
                    <a:pt x="654937" y="7942"/>
                    <a:pt x="652927" y="7363"/>
                    <a:pt x="650888" y="7358"/>
                  </a:cubicBezTo>
                  <a:lnTo>
                    <a:pt x="412780" y="7358"/>
                  </a:lnTo>
                  <a:close/>
                  <a:moveTo>
                    <a:pt x="1446105" y="8240"/>
                  </a:moveTo>
                  <a:cubicBezTo>
                    <a:pt x="1437514" y="10272"/>
                    <a:pt x="1429894" y="15174"/>
                    <a:pt x="1424484" y="22127"/>
                  </a:cubicBezTo>
                  <a:cubicBezTo>
                    <a:pt x="1419112" y="29080"/>
                    <a:pt x="1416254" y="37666"/>
                    <a:pt x="1416378" y="46473"/>
                  </a:cubicBezTo>
                  <a:lnTo>
                    <a:pt x="1416378" y="173313"/>
                  </a:lnTo>
                  <a:lnTo>
                    <a:pt x="1210980" y="9758"/>
                  </a:lnTo>
                  <a:cubicBezTo>
                    <a:pt x="1209361" y="8475"/>
                    <a:pt x="1207427" y="7675"/>
                    <a:pt x="1205389" y="7453"/>
                  </a:cubicBezTo>
                  <a:cubicBezTo>
                    <a:pt x="1203341" y="7230"/>
                    <a:pt x="1201274" y="7580"/>
                    <a:pt x="1199426" y="8482"/>
                  </a:cubicBezTo>
                  <a:cubicBezTo>
                    <a:pt x="1197569" y="9377"/>
                    <a:pt x="1196006" y="10773"/>
                    <a:pt x="1194921" y="12520"/>
                  </a:cubicBezTo>
                  <a:cubicBezTo>
                    <a:pt x="1193835" y="14273"/>
                    <a:pt x="1193254" y="16285"/>
                    <a:pt x="1193263" y="18343"/>
                  </a:cubicBezTo>
                  <a:lnTo>
                    <a:pt x="1193263" y="280243"/>
                  </a:lnTo>
                  <a:cubicBezTo>
                    <a:pt x="1193120" y="289054"/>
                    <a:pt x="1195987" y="297645"/>
                    <a:pt x="1201388" y="304589"/>
                  </a:cubicBezTo>
                  <a:cubicBezTo>
                    <a:pt x="1206789" y="311542"/>
                    <a:pt x="1214409" y="316447"/>
                    <a:pt x="1222962" y="318486"/>
                  </a:cubicBezTo>
                  <a:cubicBezTo>
                    <a:pt x="1228525" y="319714"/>
                    <a:pt x="1234288" y="319667"/>
                    <a:pt x="1239803" y="318362"/>
                  </a:cubicBezTo>
                  <a:cubicBezTo>
                    <a:pt x="1245346" y="317066"/>
                    <a:pt x="1250518" y="314533"/>
                    <a:pt x="1254966" y="310961"/>
                  </a:cubicBezTo>
                  <a:cubicBezTo>
                    <a:pt x="1259415" y="307389"/>
                    <a:pt x="1263006" y="302874"/>
                    <a:pt x="1265444" y="297721"/>
                  </a:cubicBezTo>
                  <a:cubicBezTo>
                    <a:pt x="1267882" y="292587"/>
                    <a:pt x="1269159" y="286958"/>
                    <a:pt x="1269159" y="281272"/>
                  </a:cubicBezTo>
                  <a:lnTo>
                    <a:pt x="1269159" y="153323"/>
                  </a:lnTo>
                  <a:lnTo>
                    <a:pt x="1474538" y="316885"/>
                  </a:lnTo>
                  <a:cubicBezTo>
                    <a:pt x="1476195" y="318171"/>
                    <a:pt x="1478138" y="318962"/>
                    <a:pt x="1480148" y="319190"/>
                  </a:cubicBezTo>
                  <a:cubicBezTo>
                    <a:pt x="1482224" y="319419"/>
                    <a:pt x="1484291" y="319057"/>
                    <a:pt x="1486120" y="318162"/>
                  </a:cubicBezTo>
                  <a:cubicBezTo>
                    <a:pt x="1487949" y="317266"/>
                    <a:pt x="1489530" y="315866"/>
                    <a:pt x="1490625" y="314123"/>
                  </a:cubicBezTo>
                  <a:cubicBezTo>
                    <a:pt x="1491721" y="312380"/>
                    <a:pt x="1492273" y="310361"/>
                    <a:pt x="1492273" y="308303"/>
                  </a:cubicBezTo>
                  <a:lnTo>
                    <a:pt x="1492273" y="45444"/>
                  </a:lnTo>
                  <a:cubicBezTo>
                    <a:pt x="1492273" y="39748"/>
                    <a:pt x="1490997" y="34123"/>
                    <a:pt x="1488559" y="28985"/>
                  </a:cubicBezTo>
                  <a:cubicBezTo>
                    <a:pt x="1486120" y="23848"/>
                    <a:pt x="1482529" y="19327"/>
                    <a:pt x="1478081" y="15759"/>
                  </a:cubicBezTo>
                  <a:cubicBezTo>
                    <a:pt x="1473633" y="12190"/>
                    <a:pt x="1468461" y="9656"/>
                    <a:pt x="1462908" y="8354"/>
                  </a:cubicBezTo>
                  <a:cubicBezTo>
                    <a:pt x="1457364" y="7059"/>
                    <a:pt x="1451649" y="7015"/>
                    <a:pt x="1446105" y="8240"/>
                  </a:cubicBezTo>
                  <a:close/>
                  <a:moveTo>
                    <a:pt x="911265" y="76254"/>
                  </a:moveTo>
                  <a:cubicBezTo>
                    <a:pt x="998152" y="76254"/>
                    <a:pt x="1063066" y="122196"/>
                    <a:pt x="1063066" y="163286"/>
                  </a:cubicBezTo>
                  <a:cubicBezTo>
                    <a:pt x="1063066" y="204383"/>
                    <a:pt x="998152" y="250325"/>
                    <a:pt x="911265" y="250325"/>
                  </a:cubicBezTo>
                  <a:cubicBezTo>
                    <a:pt x="824397" y="250325"/>
                    <a:pt x="759483" y="204383"/>
                    <a:pt x="759483" y="163286"/>
                  </a:cubicBezTo>
                  <a:cubicBezTo>
                    <a:pt x="759483" y="122196"/>
                    <a:pt x="824397" y="76254"/>
                    <a:pt x="911265" y="76254"/>
                  </a:cubicBezTo>
                  <a:close/>
                  <a:moveTo>
                    <a:pt x="911265" y="67"/>
                  </a:moveTo>
                  <a:cubicBezTo>
                    <a:pt x="785515" y="67"/>
                    <a:pt x="683578" y="73142"/>
                    <a:pt x="683578" y="163286"/>
                  </a:cubicBezTo>
                  <a:cubicBezTo>
                    <a:pt x="683578" y="253421"/>
                    <a:pt x="785515" y="326506"/>
                    <a:pt x="911265" y="326506"/>
                  </a:cubicBezTo>
                  <a:cubicBezTo>
                    <a:pt x="1037024" y="326506"/>
                    <a:pt x="1138961" y="253421"/>
                    <a:pt x="1138961" y="163286"/>
                  </a:cubicBezTo>
                  <a:cubicBezTo>
                    <a:pt x="1138961" y="73142"/>
                    <a:pt x="1037024" y="67"/>
                    <a:pt x="911265" y="67"/>
                  </a:cubicBezTo>
                  <a:close/>
                </a:path>
              </a:pathLst>
            </a:custGeom>
            <a:solidFill>
              <a:schemeClr val="tx2"/>
            </a:solidFill>
            <a:ln w="76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</p:grpSp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2E22186C-4B12-E0C1-79B2-480F2CD086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52414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3" imgW="233" imgH="233" progId="TCLayout.ActiveDocument.1">
                  <p:embed/>
                </p:oleObj>
              </mc:Choice>
              <mc:Fallback>
                <p:oleObj name="Слайд think-cell" r:id="rId13" imgW="233" imgH="233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id="{2E22186C-4B12-E0C1-79B2-480F2CD086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EF11FA05-DC06-B340-2031-0DB23FEF24A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49400" y="4705255"/>
            <a:ext cx="8174332" cy="817562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Напиши подзаголовок презентации, имя спикера </a:t>
            </a:r>
            <a:br>
              <a:rPr lang="ru-RU" dirty="0"/>
            </a:br>
            <a:r>
              <a:rPr lang="ru-RU" dirty="0"/>
              <a:t>и другую дополнительную информацию</a:t>
            </a:r>
          </a:p>
        </p:txBody>
      </p:sp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5AD7914A-6F7A-0AB4-0320-8B0610322AB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52414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3" imgW="233" imgH="233" progId="TCLayout.ActiveDocument.1">
                  <p:embed/>
                </p:oleObj>
              </mc:Choice>
              <mc:Fallback>
                <p:oleObj name="Слайд think-cell" r:id="rId13" imgW="233" imgH="233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5AD7914A-6F7A-0AB4-0320-8B0610322A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Объект 8" hidden="1">
            <a:extLst>
              <a:ext uri="{FF2B5EF4-FFF2-40B4-BE49-F238E27FC236}">
                <a16:creationId xmlns:a16="http://schemas.microsoft.com/office/drawing/2014/main" id="{15B33EE8-2A0C-A289-E633-0C1A78BC22FA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752414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3" imgW="233" imgH="233" progId="TCLayout.ActiveDocument.1">
                  <p:embed/>
                </p:oleObj>
              </mc:Choice>
              <mc:Fallback>
                <p:oleObj name="Слайд think-cell" r:id="rId13" imgW="233" imgH="233" progId="TCLayout.ActiveDocument.1">
                  <p:embed/>
                  <p:pic>
                    <p:nvPicPr>
                      <p:cNvPr id="9" name="Объект 8" hidden="1">
                        <a:extLst>
                          <a:ext uri="{FF2B5EF4-FFF2-40B4-BE49-F238E27FC236}">
                            <a16:creationId xmlns:a16="http://schemas.microsoft.com/office/drawing/2014/main" id="{15B33EE8-2A0C-A289-E633-0C1A78BC22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2" name="Объект 11" hidden="1">
            <a:extLst>
              <a:ext uri="{FF2B5EF4-FFF2-40B4-BE49-F238E27FC236}">
                <a16:creationId xmlns:a16="http://schemas.microsoft.com/office/drawing/2014/main" id="{EDB5745A-EB00-381B-6668-493769E30B62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752414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3" imgW="233" imgH="233" progId="TCLayout.ActiveDocument.1">
                  <p:embed/>
                </p:oleObj>
              </mc:Choice>
              <mc:Fallback>
                <p:oleObj name="Слайд think-cell" r:id="rId13" imgW="233" imgH="233" progId="TCLayout.ActiveDocument.1">
                  <p:embed/>
                  <p:pic>
                    <p:nvPicPr>
                      <p:cNvPr id="12" name="Объект 11" hidden="1">
                        <a:extLst>
                          <a:ext uri="{FF2B5EF4-FFF2-40B4-BE49-F238E27FC236}">
                            <a16:creationId xmlns:a16="http://schemas.microsoft.com/office/drawing/2014/main" id="{EDB5745A-EB00-381B-6668-493769E30B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5" name="Объект 14" hidden="1">
            <a:extLst>
              <a:ext uri="{FF2B5EF4-FFF2-40B4-BE49-F238E27FC236}">
                <a16:creationId xmlns:a16="http://schemas.microsoft.com/office/drawing/2014/main" id="{1A29F7CF-5EA7-385D-A6B8-3F74846ECFA0}"/>
              </a:ext>
            </a:extLst>
          </p:cNvPr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752414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3" imgW="233" imgH="233" progId="TCLayout.ActiveDocument.1">
                  <p:embed/>
                </p:oleObj>
              </mc:Choice>
              <mc:Fallback>
                <p:oleObj name="Слайд think-cell" r:id="rId13" imgW="233" imgH="233" progId="TCLayout.ActiveDocument.1">
                  <p:embed/>
                  <p:pic>
                    <p:nvPicPr>
                      <p:cNvPr id="15" name="Объект 14" hidden="1">
                        <a:extLst>
                          <a:ext uri="{FF2B5EF4-FFF2-40B4-BE49-F238E27FC236}">
                            <a16:creationId xmlns:a16="http://schemas.microsoft.com/office/drawing/2014/main" id="{1A29F7CF-5EA7-385D-A6B8-3F74846ECF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id="{69EB17E6-0D76-E72E-817B-D0C2F75924C4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752414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3" imgW="233" imgH="233" progId="TCLayout.ActiveDocument.1">
                  <p:embed/>
                </p:oleObj>
              </mc:Choice>
              <mc:Fallback>
                <p:oleObj name="Слайд think-cell" r:id="rId13" imgW="233" imgH="233" progId="TCLayout.ActiveDocument.1">
                  <p:embed/>
                  <p:pic>
                    <p:nvPicPr>
                      <p:cNvPr id="18" name="Объект 17" hidden="1">
                        <a:extLst>
                          <a:ext uri="{FF2B5EF4-FFF2-40B4-BE49-F238E27FC236}">
                            <a16:creationId xmlns:a16="http://schemas.microsoft.com/office/drawing/2014/main" id="{69EB17E6-0D76-E72E-817B-D0C2F75924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EE0D4A2C-56C5-17DB-0E5E-7516F66FD05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6718" y="2152745"/>
            <a:ext cx="8206245" cy="2277549"/>
          </a:xfrm>
        </p:spPr>
        <p:txBody>
          <a:bodyPr vert="horz" anchor="b">
            <a:noAutofit/>
          </a:bodyPr>
          <a:lstStyle>
            <a:lvl1pPr algn="l">
              <a:lnSpc>
                <a:spcPct val="90000"/>
              </a:lnSpc>
              <a:defRPr sz="4800" spc="-50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ru-RU" dirty="0"/>
              <a:t>Напиши смысловой заголовок презентации </a:t>
            </a:r>
            <a:br>
              <a:rPr lang="ru-RU" dirty="0"/>
            </a:br>
            <a:r>
              <a:rPr lang="ru-RU" dirty="0"/>
              <a:t>в 2–3 строки</a:t>
            </a:r>
          </a:p>
        </p:txBody>
      </p:sp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1D77E8B5-7B50-6479-7248-130A739ECA38}"/>
              </a:ext>
            </a:extLst>
          </p:cNvPr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752414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3" imgW="233" imgH="233" progId="TCLayout.ActiveDocument.1">
                  <p:embed/>
                </p:oleObj>
              </mc:Choice>
              <mc:Fallback>
                <p:oleObj name="Слайд think-cell" r:id="rId13" imgW="233" imgH="233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1D77E8B5-7B50-6479-7248-130A739ECA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4E5DA3C2-0A7F-674E-A5B0-30B7E3A95F0E}"/>
              </a:ext>
            </a:extLst>
          </p:cNvPr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752414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3" imgW="233" imgH="233" progId="TCLayout.ActiveDocument.1">
                  <p:embed/>
                </p:oleObj>
              </mc:Choice>
              <mc:Fallback>
                <p:oleObj name="Слайд think-cell" r:id="rId13" imgW="233" imgH="233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4E5DA3C2-0A7F-674E-A5B0-30B7E3A95F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" name="Объект 10" hidden="1">
            <a:extLst>
              <a:ext uri="{FF2B5EF4-FFF2-40B4-BE49-F238E27FC236}">
                <a16:creationId xmlns:a16="http://schemas.microsoft.com/office/drawing/2014/main" id="{6F240980-E205-E34B-560B-418ADE4D2190}"/>
              </a:ext>
            </a:extLst>
          </p:cNvPr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752414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3" imgW="233" imgH="233" progId="TCLayout.ActiveDocument.1">
                  <p:embed/>
                </p:oleObj>
              </mc:Choice>
              <mc:Fallback>
                <p:oleObj name="Слайд think-cell" r:id="rId13" imgW="233" imgH="233" progId="TCLayout.ActiveDocument.1">
                  <p:embed/>
                  <p:pic>
                    <p:nvPicPr>
                      <p:cNvPr id="11" name="Объект 10" hidden="1">
                        <a:extLst>
                          <a:ext uri="{FF2B5EF4-FFF2-40B4-BE49-F238E27FC236}">
                            <a16:creationId xmlns:a16="http://schemas.microsoft.com/office/drawing/2014/main" id="{6F240980-E205-E34B-560B-418ADE4D21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" name="Объект 12" hidden="1">
            <a:extLst>
              <a:ext uri="{FF2B5EF4-FFF2-40B4-BE49-F238E27FC236}">
                <a16:creationId xmlns:a16="http://schemas.microsoft.com/office/drawing/2014/main" id="{AE319448-558B-6C3F-A87B-6F88A75AA87B}"/>
              </a:ext>
            </a:extLst>
          </p:cNvPr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752414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3" imgW="233" imgH="233" progId="TCLayout.ActiveDocument.1">
                  <p:embed/>
                </p:oleObj>
              </mc:Choice>
              <mc:Fallback>
                <p:oleObj name="Слайд think-cell" r:id="rId13" imgW="233" imgH="233" progId="TCLayout.ActiveDocument.1">
                  <p:embed/>
                  <p:pic>
                    <p:nvPicPr>
                      <p:cNvPr id="13" name="Объект 12" hidden="1">
                        <a:extLst>
                          <a:ext uri="{FF2B5EF4-FFF2-40B4-BE49-F238E27FC236}">
                            <a16:creationId xmlns:a16="http://schemas.microsoft.com/office/drawing/2014/main" id="{AE319448-558B-6C3F-A87B-6F88A75AA8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4" name="Объект 13" hidden="1">
            <a:extLst>
              <a:ext uri="{FF2B5EF4-FFF2-40B4-BE49-F238E27FC236}">
                <a16:creationId xmlns:a16="http://schemas.microsoft.com/office/drawing/2014/main" id="{4AA46163-C0B9-4B45-7146-A7012B609A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752414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3" imgW="233" imgH="233" progId="TCLayout.ActiveDocument.1">
                  <p:embed/>
                </p:oleObj>
              </mc:Choice>
              <mc:Fallback>
                <p:oleObj name="Слайд think-cell" r:id="rId13" imgW="233" imgH="233" progId="TCLayout.ActiveDocument.1">
                  <p:embed/>
                  <p:pic>
                    <p:nvPicPr>
                      <p:cNvPr id="14" name="Объект 13" hidden="1">
                        <a:extLst>
                          <a:ext uri="{FF2B5EF4-FFF2-40B4-BE49-F238E27FC236}">
                            <a16:creationId xmlns:a16="http://schemas.microsoft.com/office/drawing/2014/main" id="{4AA46163-C0B9-4B45-7146-A7012B609A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4231936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_ligh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2E22186C-4B12-E0C1-79B2-480F2CD086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80477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33" imgH="233" progId="TCLayout.ActiveDocument.1">
                  <p:embed/>
                </p:oleObj>
              </mc:Choice>
              <mc:Fallback>
                <p:oleObj name="Слайд think-cell" r:id="rId3" imgW="233" imgH="233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id="{2E22186C-4B12-E0C1-79B2-480F2CD086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Текст 5">
            <a:extLst>
              <a:ext uri="{FF2B5EF4-FFF2-40B4-BE49-F238E27FC236}">
                <a16:creationId xmlns:a16="http://schemas.microsoft.com/office/drawing/2014/main" id="{1A5E7A27-B406-F04E-B3D1-269B3686E51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48215" y="2442368"/>
            <a:ext cx="1350017" cy="1293915"/>
          </a:xfrm>
        </p:spPr>
        <p:txBody>
          <a:bodyPr anchor="t"/>
          <a:lstStyle>
            <a:lvl1pPr algn="l">
              <a:defRPr sz="8000" b="0" spc="-20" baseline="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00</a:t>
            </a:r>
            <a:endParaRPr lang="ru-RU" dirty="0"/>
          </a:p>
        </p:txBody>
      </p:sp>
      <p:sp>
        <p:nvSpPr>
          <p:cNvPr id="10" name="Текст 8">
            <a:extLst>
              <a:ext uri="{FF2B5EF4-FFF2-40B4-BE49-F238E27FC236}">
                <a16:creationId xmlns:a16="http://schemas.microsoft.com/office/drawing/2014/main" id="{57C6829E-406F-964B-B3A2-72F9D90500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58321" y="2580370"/>
            <a:ext cx="6784279" cy="2341562"/>
          </a:xfrm>
        </p:spPr>
        <p:txBody>
          <a:bodyPr/>
          <a:lstStyle>
            <a:lvl1pPr>
              <a:spcAft>
                <a:spcPts val="0"/>
              </a:spcAft>
              <a:defRPr sz="4000" b="0" spc="-5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Напиши смысловой заголовок раздела </a:t>
            </a:r>
            <a:br>
              <a:rPr lang="ru-RU" dirty="0"/>
            </a:br>
            <a:r>
              <a:rPr lang="ru-RU" dirty="0"/>
              <a:t>в 2–3 строки</a:t>
            </a:r>
          </a:p>
        </p:txBody>
      </p:sp>
      <p:sp>
        <p:nvSpPr>
          <p:cNvPr id="3" name="Рисунок 1">
            <a:extLst>
              <a:ext uri="{FF2B5EF4-FFF2-40B4-BE49-F238E27FC236}">
                <a16:creationId xmlns:a16="http://schemas.microsoft.com/office/drawing/2014/main" id="{38A28D30-1C03-579F-359E-5FA2F710804E}"/>
              </a:ext>
            </a:extLst>
          </p:cNvPr>
          <p:cNvSpPr>
            <a:spLocks noChangeAspect="1"/>
          </p:cNvSpPr>
          <p:nvPr/>
        </p:nvSpPr>
        <p:spPr>
          <a:xfrm>
            <a:off x="2463428" y="1866339"/>
            <a:ext cx="1440844" cy="3492800"/>
          </a:xfrm>
          <a:custGeom>
            <a:avLst/>
            <a:gdLst>
              <a:gd name="connsiteX0" fmla="*/ 0 w 1440844"/>
              <a:gd name="connsiteY0" fmla="*/ 1367312 h 3492800"/>
              <a:gd name="connsiteX1" fmla="*/ 0 w 1440844"/>
              <a:gd name="connsiteY1" fmla="*/ 1354351 h 3492800"/>
              <a:gd name="connsiteX2" fmla="*/ 0 w 1440844"/>
              <a:gd name="connsiteY2" fmla="*/ 1030344 h 3492800"/>
              <a:gd name="connsiteX3" fmla="*/ 52157 w 1440844"/>
              <a:gd name="connsiteY3" fmla="*/ 965542 h 3492800"/>
              <a:gd name="connsiteX4" fmla="*/ 176031 w 1440844"/>
              <a:gd name="connsiteY4" fmla="*/ 946102 h 3492800"/>
              <a:gd name="connsiteX5" fmla="*/ 495494 w 1440844"/>
              <a:gd name="connsiteY5" fmla="*/ 524892 h 3492800"/>
              <a:gd name="connsiteX6" fmla="*/ 495494 w 1440844"/>
              <a:gd name="connsiteY6" fmla="*/ 64801 h 3492800"/>
              <a:gd name="connsiteX7" fmla="*/ 554171 w 1440844"/>
              <a:gd name="connsiteY7" fmla="*/ 0 h 3492800"/>
              <a:gd name="connsiteX8" fmla="*/ 867115 w 1440844"/>
              <a:gd name="connsiteY8" fmla="*/ 0 h 3492800"/>
              <a:gd name="connsiteX9" fmla="*/ 925792 w 1440844"/>
              <a:gd name="connsiteY9" fmla="*/ 64801 h 3492800"/>
              <a:gd name="connsiteX10" fmla="*/ 925792 w 1440844"/>
              <a:gd name="connsiteY10" fmla="*/ 524892 h 3492800"/>
              <a:gd name="connsiteX11" fmla="*/ 573730 w 1440844"/>
              <a:gd name="connsiteY11" fmla="*/ 1192347 h 3492800"/>
              <a:gd name="connsiteX12" fmla="*/ 925792 w 1440844"/>
              <a:gd name="connsiteY12" fmla="*/ 1827402 h 3492800"/>
              <a:gd name="connsiteX13" fmla="*/ 925792 w 1440844"/>
              <a:gd name="connsiteY13" fmla="*/ 2838305 h 3492800"/>
              <a:gd name="connsiteX14" fmla="*/ 1147460 w 1440844"/>
              <a:gd name="connsiteY14" fmla="*/ 3058630 h 3492800"/>
              <a:gd name="connsiteX15" fmla="*/ 1375648 w 1440844"/>
              <a:gd name="connsiteY15" fmla="*/ 3058630 h 3492800"/>
              <a:gd name="connsiteX16" fmla="*/ 1434325 w 1440844"/>
              <a:gd name="connsiteY16" fmla="*/ 3123432 h 3492800"/>
              <a:gd name="connsiteX17" fmla="*/ 1440845 w 1440844"/>
              <a:gd name="connsiteY17" fmla="*/ 3427999 h 3492800"/>
              <a:gd name="connsiteX18" fmla="*/ 1375648 w 1440844"/>
              <a:gd name="connsiteY18" fmla="*/ 3492800 h 3492800"/>
              <a:gd name="connsiteX19" fmla="*/ 1193097 w 1440844"/>
              <a:gd name="connsiteY19" fmla="*/ 3492800 h 3492800"/>
              <a:gd name="connsiteX20" fmla="*/ 697603 w 1440844"/>
              <a:gd name="connsiteY20" fmla="*/ 3291916 h 3492800"/>
              <a:gd name="connsiteX21" fmla="*/ 488974 w 1440844"/>
              <a:gd name="connsiteY21" fmla="*/ 2792944 h 3492800"/>
              <a:gd name="connsiteX22" fmla="*/ 488974 w 1440844"/>
              <a:gd name="connsiteY22" fmla="*/ 1846843 h 3492800"/>
              <a:gd name="connsiteX23" fmla="*/ 169511 w 1440844"/>
              <a:gd name="connsiteY23" fmla="*/ 1451553 h 3492800"/>
              <a:gd name="connsiteX24" fmla="*/ 45638 w 1440844"/>
              <a:gd name="connsiteY24" fmla="*/ 1432113 h 3492800"/>
              <a:gd name="connsiteX25" fmla="*/ 0 w 1440844"/>
              <a:gd name="connsiteY25" fmla="*/ 1367312 h 3492800"/>
              <a:gd name="connsiteX26" fmla="*/ 0 w 1440844"/>
              <a:gd name="connsiteY26" fmla="*/ 1367312 h 3492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1440844" h="3492800">
                <a:moveTo>
                  <a:pt x="0" y="1367312"/>
                </a:moveTo>
                <a:cubicBezTo>
                  <a:pt x="0" y="1360831"/>
                  <a:pt x="0" y="1360831"/>
                  <a:pt x="0" y="1354351"/>
                </a:cubicBezTo>
                <a:lnTo>
                  <a:pt x="0" y="1030344"/>
                </a:lnTo>
                <a:cubicBezTo>
                  <a:pt x="0" y="997943"/>
                  <a:pt x="19559" y="972022"/>
                  <a:pt x="52157" y="965542"/>
                </a:cubicBezTo>
                <a:cubicBezTo>
                  <a:pt x="97795" y="959062"/>
                  <a:pt x="156472" y="946102"/>
                  <a:pt x="176031" y="946102"/>
                </a:cubicBezTo>
                <a:cubicBezTo>
                  <a:pt x="247747" y="926661"/>
                  <a:pt x="495494" y="868340"/>
                  <a:pt x="495494" y="524892"/>
                </a:cubicBezTo>
                <a:lnTo>
                  <a:pt x="495494" y="64801"/>
                </a:lnTo>
                <a:cubicBezTo>
                  <a:pt x="495494" y="32401"/>
                  <a:pt x="521573" y="0"/>
                  <a:pt x="554171" y="0"/>
                </a:cubicBezTo>
                <a:lnTo>
                  <a:pt x="867115" y="0"/>
                </a:lnTo>
                <a:cubicBezTo>
                  <a:pt x="906233" y="0"/>
                  <a:pt x="925792" y="25921"/>
                  <a:pt x="925792" y="64801"/>
                </a:cubicBezTo>
                <a:lnTo>
                  <a:pt x="925792" y="524892"/>
                </a:lnTo>
                <a:cubicBezTo>
                  <a:pt x="925792" y="991463"/>
                  <a:pt x="593289" y="1179387"/>
                  <a:pt x="573730" y="1192347"/>
                </a:cubicBezTo>
                <a:cubicBezTo>
                  <a:pt x="593289" y="1205308"/>
                  <a:pt x="912752" y="1380272"/>
                  <a:pt x="925792" y="1827402"/>
                </a:cubicBezTo>
                <a:cubicBezTo>
                  <a:pt x="925792" y="1840362"/>
                  <a:pt x="925792" y="2617980"/>
                  <a:pt x="925792" y="2838305"/>
                </a:cubicBezTo>
                <a:cubicBezTo>
                  <a:pt x="925792" y="2961428"/>
                  <a:pt x="1030106" y="3058630"/>
                  <a:pt x="1147460" y="3058630"/>
                </a:cubicBezTo>
                <a:cubicBezTo>
                  <a:pt x="1232215" y="3058630"/>
                  <a:pt x="1316971" y="3058630"/>
                  <a:pt x="1375648" y="3058630"/>
                </a:cubicBezTo>
                <a:cubicBezTo>
                  <a:pt x="1408246" y="3058630"/>
                  <a:pt x="1434325" y="3091031"/>
                  <a:pt x="1434325" y="3123432"/>
                </a:cubicBezTo>
                <a:cubicBezTo>
                  <a:pt x="1434325" y="3207674"/>
                  <a:pt x="1440845" y="3311356"/>
                  <a:pt x="1440845" y="3427999"/>
                </a:cubicBezTo>
                <a:cubicBezTo>
                  <a:pt x="1440845" y="3466880"/>
                  <a:pt x="1408246" y="3492800"/>
                  <a:pt x="1375648" y="3492800"/>
                </a:cubicBezTo>
                <a:lnTo>
                  <a:pt x="1193097" y="3492800"/>
                </a:lnTo>
                <a:cubicBezTo>
                  <a:pt x="1010547" y="3492800"/>
                  <a:pt x="827997" y="3421519"/>
                  <a:pt x="697603" y="3291916"/>
                </a:cubicBezTo>
                <a:cubicBezTo>
                  <a:pt x="560691" y="3162313"/>
                  <a:pt x="488974" y="2980869"/>
                  <a:pt x="488974" y="2792944"/>
                </a:cubicBezTo>
                <a:cubicBezTo>
                  <a:pt x="488974" y="2792944"/>
                  <a:pt x="488974" y="1853323"/>
                  <a:pt x="488974" y="1846843"/>
                </a:cubicBezTo>
                <a:cubicBezTo>
                  <a:pt x="482455" y="1522835"/>
                  <a:pt x="241227" y="1470994"/>
                  <a:pt x="169511" y="1451553"/>
                </a:cubicBezTo>
                <a:cubicBezTo>
                  <a:pt x="149952" y="1445073"/>
                  <a:pt x="91275" y="1438593"/>
                  <a:pt x="45638" y="1432113"/>
                </a:cubicBezTo>
                <a:cubicBezTo>
                  <a:pt x="13039" y="1432113"/>
                  <a:pt x="0" y="1399712"/>
                  <a:pt x="0" y="1367312"/>
                </a:cubicBezTo>
                <a:lnTo>
                  <a:pt x="0" y="1367312"/>
                </a:lnTo>
                <a:close/>
              </a:path>
            </a:pathLst>
          </a:custGeom>
          <a:solidFill>
            <a:srgbClr val="3ADF68"/>
          </a:solidFill>
          <a:ln w="65088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343189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sic_ligh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Группа 29">
            <a:extLst>
              <a:ext uri="{FF2B5EF4-FFF2-40B4-BE49-F238E27FC236}">
                <a16:creationId xmlns:a16="http://schemas.microsoft.com/office/drawing/2014/main" id="{10D6F415-5971-D713-010A-984685CE43F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641985" y="6415289"/>
            <a:ext cx="1044575" cy="231716"/>
            <a:chOff x="8489504" y="910877"/>
            <a:chExt cx="2734509" cy="606592"/>
          </a:xfrm>
          <a:solidFill>
            <a:schemeClr val="tx1"/>
          </a:solidFill>
        </p:grpSpPr>
        <p:sp>
          <p:nvSpPr>
            <p:cNvPr id="26" name="Полилиния 25">
              <a:extLst>
                <a:ext uri="{FF2B5EF4-FFF2-40B4-BE49-F238E27FC236}">
                  <a16:creationId xmlns:a16="http://schemas.microsoft.com/office/drawing/2014/main" id="{D40097E2-2B5C-8101-60E7-30D795E30DCA}"/>
                </a:ext>
              </a:extLst>
            </p:cNvPr>
            <p:cNvSpPr/>
            <p:nvPr/>
          </p:nvSpPr>
          <p:spPr>
            <a:xfrm>
              <a:off x="10064626" y="910877"/>
              <a:ext cx="1159387" cy="606592"/>
            </a:xfrm>
            <a:custGeom>
              <a:avLst/>
              <a:gdLst>
                <a:gd name="connsiteX0" fmla="*/ 0 w 1159387"/>
                <a:gd name="connsiteY0" fmla="*/ 178242 h 606592"/>
                <a:gd name="connsiteX1" fmla="*/ 0 w 1159387"/>
                <a:gd name="connsiteY1" fmla="*/ 237024 h 606592"/>
                <a:gd name="connsiteX2" fmla="*/ 9135 w 1159387"/>
                <a:gd name="connsiteY2" fmla="*/ 246098 h 606592"/>
                <a:gd name="connsiteX3" fmla="*/ 30214 w 1159387"/>
                <a:gd name="connsiteY3" fmla="*/ 250009 h 606592"/>
                <a:gd name="connsiteX4" fmla="*/ 32261 w 1159387"/>
                <a:gd name="connsiteY4" fmla="*/ 250607 h 606592"/>
                <a:gd name="connsiteX5" fmla="*/ 85030 w 1159387"/>
                <a:gd name="connsiteY5" fmla="*/ 319338 h 606592"/>
                <a:gd name="connsiteX6" fmla="*/ 85030 w 1159387"/>
                <a:gd name="connsiteY6" fmla="*/ 483817 h 606592"/>
                <a:gd name="connsiteX7" fmla="*/ 120863 w 1159387"/>
                <a:gd name="connsiteY7" fmla="*/ 570989 h 606592"/>
                <a:gd name="connsiteX8" fmla="*/ 205874 w 1159387"/>
                <a:gd name="connsiteY8" fmla="*/ 606364 h 606592"/>
                <a:gd name="connsiteX9" fmla="*/ 207284 w 1159387"/>
                <a:gd name="connsiteY9" fmla="*/ 606364 h 606592"/>
                <a:gd name="connsiteX10" fmla="*/ 235964 w 1159387"/>
                <a:gd name="connsiteY10" fmla="*/ 606364 h 606592"/>
                <a:gd name="connsiteX11" fmla="*/ 247356 w 1159387"/>
                <a:gd name="connsiteY11" fmla="*/ 593268 h 606592"/>
                <a:gd name="connsiteX12" fmla="*/ 247337 w 1159387"/>
                <a:gd name="connsiteY12" fmla="*/ 563750 h 606592"/>
                <a:gd name="connsiteX13" fmla="*/ 247337 w 1159387"/>
                <a:gd name="connsiteY13" fmla="*/ 541928 h 606592"/>
                <a:gd name="connsiteX14" fmla="*/ 236802 w 1159387"/>
                <a:gd name="connsiteY14" fmla="*/ 530565 h 606592"/>
                <a:gd name="connsiteX15" fmla="*/ 197454 w 1159387"/>
                <a:gd name="connsiteY15" fmla="*/ 530527 h 606592"/>
                <a:gd name="connsiteX16" fmla="*/ 159506 w 1159387"/>
                <a:gd name="connsiteY16" fmla="*/ 492285 h 606592"/>
                <a:gd name="connsiteX17" fmla="*/ 159506 w 1159387"/>
                <a:gd name="connsiteY17" fmla="*/ 403084 h 606592"/>
                <a:gd name="connsiteX18" fmla="*/ 159506 w 1159387"/>
                <a:gd name="connsiteY18" fmla="*/ 316772 h 606592"/>
                <a:gd name="connsiteX19" fmla="*/ 100365 w 1159387"/>
                <a:gd name="connsiteY19" fmla="*/ 207274 h 606592"/>
                <a:gd name="connsiteX20" fmla="*/ 99080 w 1159387"/>
                <a:gd name="connsiteY20" fmla="*/ 206423 h 606592"/>
                <a:gd name="connsiteX21" fmla="*/ 100356 w 1159387"/>
                <a:gd name="connsiteY21" fmla="*/ 205547 h 606592"/>
                <a:gd name="connsiteX22" fmla="*/ 159506 w 1159387"/>
                <a:gd name="connsiteY22" fmla="*/ 90665 h 606592"/>
                <a:gd name="connsiteX23" fmla="*/ 159506 w 1159387"/>
                <a:gd name="connsiteY23" fmla="*/ 10992 h 606592"/>
                <a:gd name="connsiteX24" fmla="*/ 148962 w 1159387"/>
                <a:gd name="connsiteY24" fmla="*/ 0 h 606592"/>
                <a:gd name="connsiteX25" fmla="*/ 95565 w 1159387"/>
                <a:gd name="connsiteY25" fmla="*/ 0 h 606592"/>
                <a:gd name="connsiteX26" fmla="*/ 85030 w 1159387"/>
                <a:gd name="connsiteY26" fmla="*/ 10992 h 606592"/>
                <a:gd name="connsiteX27" fmla="*/ 85030 w 1159387"/>
                <a:gd name="connsiteY27" fmla="*/ 90665 h 606592"/>
                <a:gd name="connsiteX28" fmla="*/ 32366 w 1159387"/>
                <a:gd name="connsiteY28" fmla="*/ 162761 h 606592"/>
                <a:gd name="connsiteX29" fmla="*/ 30214 w 1159387"/>
                <a:gd name="connsiteY29" fmla="*/ 163402 h 606592"/>
                <a:gd name="connsiteX30" fmla="*/ 9135 w 1159387"/>
                <a:gd name="connsiteY30" fmla="*/ 167302 h 606592"/>
                <a:gd name="connsiteX31" fmla="*/ 0 w 1159387"/>
                <a:gd name="connsiteY31" fmla="*/ 178242 h 606592"/>
                <a:gd name="connsiteX32" fmla="*/ 933768 w 1159387"/>
                <a:gd name="connsiteY32" fmla="*/ 313343 h 606592"/>
                <a:gd name="connsiteX33" fmla="*/ 933768 w 1159387"/>
                <a:gd name="connsiteY33" fmla="*/ 468558 h 606592"/>
                <a:gd name="connsiteX34" fmla="*/ 930749 w 1159387"/>
                <a:gd name="connsiteY34" fmla="*/ 475902 h 606592"/>
                <a:gd name="connsiteX35" fmla="*/ 923472 w 1159387"/>
                <a:gd name="connsiteY35" fmla="*/ 478940 h 606592"/>
                <a:gd name="connsiteX36" fmla="*/ 869627 w 1159387"/>
                <a:gd name="connsiteY36" fmla="*/ 478902 h 606592"/>
                <a:gd name="connsiteX37" fmla="*/ 859349 w 1159387"/>
                <a:gd name="connsiteY37" fmla="*/ 468530 h 606592"/>
                <a:gd name="connsiteX38" fmla="*/ 859349 w 1159387"/>
                <a:gd name="connsiteY38" fmla="*/ 10375 h 606592"/>
                <a:gd name="connsiteX39" fmla="*/ 869636 w 1159387"/>
                <a:gd name="connsiteY39" fmla="*/ 0 h 606592"/>
                <a:gd name="connsiteX40" fmla="*/ 923472 w 1159387"/>
                <a:gd name="connsiteY40" fmla="*/ 0 h 606592"/>
                <a:gd name="connsiteX41" fmla="*/ 933768 w 1159387"/>
                <a:gd name="connsiteY41" fmla="*/ 10375 h 606592"/>
                <a:gd name="connsiteX42" fmla="*/ 933768 w 1159387"/>
                <a:gd name="connsiteY42" fmla="*/ 193355 h 606592"/>
                <a:gd name="connsiteX43" fmla="*/ 1159388 w 1159387"/>
                <a:gd name="connsiteY43" fmla="*/ 312995 h 606592"/>
                <a:gd name="connsiteX44" fmla="*/ 1159388 w 1159387"/>
                <a:gd name="connsiteY44" fmla="*/ 468520 h 606592"/>
                <a:gd name="connsiteX45" fmla="*/ 1156378 w 1159387"/>
                <a:gd name="connsiteY45" fmla="*/ 475854 h 606592"/>
                <a:gd name="connsiteX46" fmla="*/ 1149101 w 1159387"/>
                <a:gd name="connsiteY46" fmla="*/ 478893 h 606592"/>
                <a:gd name="connsiteX47" fmla="*/ 1095199 w 1159387"/>
                <a:gd name="connsiteY47" fmla="*/ 478893 h 606592"/>
                <a:gd name="connsiteX48" fmla="*/ 1087922 w 1159387"/>
                <a:gd name="connsiteY48" fmla="*/ 475854 h 606592"/>
                <a:gd name="connsiteX49" fmla="*/ 1084912 w 1159387"/>
                <a:gd name="connsiteY49" fmla="*/ 468520 h 606592"/>
                <a:gd name="connsiteX50" fmla="*/ 1084912 w 1159387"/>
                <a:gd name="connsiteY50" fmla="*/ 312995 h 606592"/>
                <a:gd name="connsiteX51" fmla="*/ 966868 w 1159387"/>
                <a:gd name="connsiteY51" fmla="*/ 246504 h 606592"/>
                <a:gd name="connsiteX52" fmla="*/ 933768 w 1159387"/>
                <a:gd name="connsiteY52" fmla="*/ 313343 h 606592"/>
                <a:gd name="connsiteX53" fmla="*/ 596563 w 1159387"/>
                <a:gd name="connsiteY53" fmla="*/ 207040 h 606592"/>
                <a:gd name="connsiteX54" fmla="*/ 549471 w 1159387"/>
                <a:gd name="connsiteY54" fmla="*/ 323084 h 606592"/>
                <a:gd name="connsiteX55" fmla="*/ 596563 w 1159387"/>
                <a:gd name="connsiteY55" fmla="*/ 439145 h 606592"/>
                <a:gd name="connsiteX56" fmla="*/ 797522 w 1159387"/>
                <a:gd name="connsiteY56" fmla="*/ 460995 h 606592"/>
                <a:gd name="connsiteX57" fmla="*/ 799923 w 1159387"/>
                <a:gd name="connsiteY57" fmla="*/ 459357 h 606592"/>
                <a:gd name="connsiteX58" fmla="*/ 805247 w 1159387"/>
                <a:gd name="connsiteY58" fmla="*/ 455385 h 606592"/>
                <a:gd name="connsiteX59" fmla="*/ 806018 w 1159387"/>
                <a:gd name="connsiteY59" fmla="*/ 438745 h 606592"/>
                <a:gd name="connsiteX60" fmla="*/ 790226 w 1159387"/>
                <a:gd name="connsiteY60" fmla="*/ 417067 h 606592"/>
                <a:gd name="connsiteX61" fmla="*/ 776110 w 1159387"/>
                <a:gd name="connsiteY61" fmla="*/ 397747 h 606592"/>
                <a:gd name="connsiteX62" fmla="*/ 760975 w 1159387"/>
                <a:gd name="connsiteY62" fmla="*/ 394585 h 606592"/>
                <a:gd name="connsiteX63" fmla="*/ 757003 w 1159387"/>
                <a:gd name="connsiteY63" fmla="*/ 397067 h 606592"/>
                <a:gd name="connsiteX64" fmla="*/ 619737 w 1159387"/>
                <a:gd name="connsiteY64" fmla="*/ 323084 h 606592"/>
                <a:gd name="connsiteX65" fmla="*/ 756945 w 1159387"/>
                <a:gd name="connsiteY65" fmla="*/ 249203 h 606592"/>
                <a:gd name="connsiteX66" fmla="*/ 760975 w 1159387"/>
                <a:gd name="connsiteY66" fmla="*/ 251591 h 606592"/>
                <a:gd name="connsiteX67" fmla="*/ 776148 w 1159387"/>
                <a:gd name="connsiteY67" fmla="*/ 248416 h 606592"/>
                <a:gd name="connsiteX68" fmla="*/ 790207 w 1159387"/>
                <a:gd name="connsiteY68" fmla="*/ 229138 h 606592"/>
                <a:gd name="connsiteX69" fmla="*/ 804618 w 1159387"/>
                <a:gd name="connsiteY69" fmla="*/ 209395 h 606592"/>
                <a:gd name="connsiteX70" fmla="*/ 799903 w 1159387"/>
                <a:gd name="connsiteY70" fmla="*/ 186809 h 606592"/>
                <a:gd name="connsiteX71" fmla="*/ 797522 w 1159387"/>
                <a:gd name="connsiteY71" fmla="*/ 185195 h 606592"/>
                <a:gd name="connsiteX72" fmla="*/ 596563 w 1159387"/>
                <a:gd name="connsiteY72" fmla="*/ 207040 h 606592"/>
                <a:gd name="connsiteX73" fmla="*/ 293714 w 1159387"/>
                <a:gd name="connsiteY73" fmla="*/ 350313 h 606592"/>
                <a:gd name="connsiteX74" fmla="*/ 469385 w 1159387"/>
                <a:gd name="connsiteY74" fmla="*/ 350313 h 606592"/>
                <a:gd name="connsiteX75" fmla="*/ 507323 w 1159387"/>
                <a:gd name="connsiteY75" fmla="*/ 312290 h 606592"/>
                <a:gd name="connsiteX76" fmla="*/ 472890 w 1159387"/>
                <a:gd name="connsiteY76" fmla="*/ 208836 h 606592"/>
                <a:gd name="connsiteX77" fmla="*/ 368190 w 1159387"/>
                <a:gd name="connsiteY77" fmla="*/ 159530 h 606592"/>
                <a:gd name="connsiteX78" fmla="*/ 219228 w 1159387"/>
                <a:gd name="connsiteY78" fmla="*/ 323103 h 606592"/>
                <a:gd name="connsiteX79" fmla="*/ 375915 w 1159387"/>
                <a:gd name="connsiteY79" fmla="*/ 486674 h 606592"/>
                <a:gd name="connsiteX80" fmla="*/ 502398 w 1159387"/>
                <a:gd name="connsiteY80" fmla="*/ 450623 h 606592"/>
                <a:gd name="connsiteX81" fmla="*/ 505913 w 1159387"/>
                <a:gd name="connsiteY81" fmla="*/ 435907 h 606592"/>
                <a:gd name="connsiteX82" fmla="*/ 504818 w 1159387"/>
                <a:gd name="connsiteY82" fmla="*/ 434088 h 606592"/>
                <a:gd name="connsiteX83" fmla="*/ 478519 w 1159387"/>
                <a:gd name="connsiteY83" fmla="*/ 391689 h 606592"/>
                <a:gd name="connsiteX84" fmla="*/ 464460 w 1159387"/>
                <a:gd name="connsiteY84" fmla="*/ 388476 h 606592"/>
                <a:gd name="connsiteX85" fmla="*/ 377335 w 1159387"/>
                <a:gd name="connsiteY85" fmla="*/ 414990 h 606592"/>
                <a:gd name="connsiteX86" fmla="*/ 293714 w 1159387"/>
                <a:gd name="connsiteY86" fmla="*/ 350313 h 606592"/>
                <a:gd name="connsiteX87" fmla="*/ 430732 w 1159387"/>
                <a:gd name="connsiteY87" fmla="*/ 287912 h 606592"/>
                <a:gd name="connsiteX88" fmla="*/ 368190 w 1159387"/>
                <a:gd name="connsiteY88" fmla="*/ 232071 h 606592"/>
                <a:gd name="connsiteX89" fmla="*/ 296524 w 1159387"/>
                <a:gd name="connsiteY89" fmla="*/ 287912 h 606592"/>
                <a:gd name="connsiteX90" fmla="*/ 430732 w 1159387"/>
                <a:gd name="connsiteY90" fmla="*/ 287912 h 606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</a:cxnLst>
              <a:rect l="l" t="t" r="r" b="b"/>
              <a:pathLst>
                <a:path w="1159387" h="606592">
                  <a:moveTo>
                    <a:pt x="0" y="178242"/>
                  </a:moveTo>
                  <a:lnTo>
                    <a:pt x="0" y="237024"/>
                  </a:lnTo>
                  <a:cubicBezTo>
                    <a:pt x="695" y="241577"/>
                    <a:pt x="4220" y="245266"/>
                    <a:pt x="9135" y="246098"/>
                  </a:cubicBezTo>
                  <a:cubicBezTo>
                    <a:pt x="16869" y="247387"/>
                    <a:pt x="27404" y="249197"/>
                    <a:pt x="30214" y="250009"/>
                  </a:cubicBezTo>
                  <a:cubicBezTo>
                    <a:pt x="30833" y="250193"/>
                    <a:pt x="31518" y="250390"/>
                    <a:pt x="32261" y="250607"/>
                  </a:cubicBezTo>
                  <a:cubicBezTo>
                    <a:pt x="46749" y="254784"/>
                    <a:pt x="83697" y="265433"/>
                    <a:pt x="85030" y="319338"/>
                  </a:cubicBezTo>
                  <a:lnTo>
                    <a:pt x="85030" y="483817"/>
                  </a:lnTo>
                  <a:cubicBezTo>
                    <a:pt x="85030" y="516573"/>
                    <a:pt x="97670" y="547958"/>
                    <a:pt x="120863" y="570989"/>
                  </a:cubicBezTo>
                  <a:cubicBezTo>
                    <a:pt x="143342" y="593696"/>
                    <a:pt x="174261" y="606402"/>
                    <a:pt x="205874" y="606364"/>
                  </a:cubicBezTo>
                  <a:lnTo>
                    <a:pt x="207284" y="606364"/>
                  </a:lnTo>
                  <a:cubicBezTo>
                    <a:pt x="207284" y="606364"/>
                    <a:pt x="207284" y="606879"/>
                    <a:pt x="235964" y="606364"/>
                  </a:cubicBezTo>
                  <a:cubicBezTo>
                    <a:pt x="243232" y="606231"/>
                    <a:pt x="247461" y="601383"/>
                    <a:pt x="247356" y="593268"/>
                  </a:cubicBezTo>
                  <a:cubicBezTo>
                    <a:pt x="247222" y="582028"/>
                    <a:pt x="247527" y="573246"/>
                    <a:pt x="247337" y="563750"/>
                  </a:cubicBezTo>
                  <a:cubicBezTo>
                    <a:pt x="247184" y="555816"/>
                    <a:pt x="247337" y="548520"/>
                    <a:pt x="247337" y="541928"/>
                  </a:cubicBezTo>
                  <a:cubicBezTo>
                    <a:pt x="247337" y="535804"/>
                    <a:pt x="242422" y="530794"/>
                    <a:pt x="236802" y="530565"/>
                  </a:cubicBezTo>
                  <a:cubicBezTo>
                    <a:pt x="226258" y="530527"/>
                    <a:pt x="211504" y="530527"/>
                    <a:pt x="197454" y="530527"/>
                  </a:cubicBezTo>
                  <a:cubicBezTo>
                    <a:pt x="177071" y="530527"/>
                    <a:pt x="159506" y="513401"/>
                    <a:pt x="159506" y="492285"/>
                  </a:cubicBezTo>
                  <a:lnTo>
                    <a:pt x="159506" y="403084"/>
                  </a:lnTo>
                  <a:cubicBezTo>
                    <a:pt x="160202" y="402874"/>
                    <a:pt x="159506" y="317750"/>
                    <a:pt x="159506" y="316772"/>
                  </a:cubicBezTo>
                  <a:cubicBezTo>
                    <a:pt x="157544" y="243958"/>
                    <a:pt x="109233" y="212964"/>
                    <a:pt x="100365" y="207274"/>
                  </a:cubicBezTo>
                  <a:cubicBezTo>
                    <a:pt x="99708" y="206855"/>
                    <a:pt x="99270" y="206569"/>
                    <a:pt x="99080" y="206423"/>
                  </a:cubicBezTo>
                  <a:cubicBezTo>
                    <a:pt x="99270" y="206264"/>
                    <a:pt x="99708" y="205979"/>
                    <a:pt x="100356" y="205547"/>
                  </a:cubicBezTo>
                  <a:cubicBezTo>
                    <a:pt x="109395" y="199604"/>
                    <a:pt x="159506" y="166622"/>
                    <a:pt x="159506" y="90665"/>
                  </a:cubicBezTo>
                  <a:lnTo>
                    <a:pt x="159506" y="10992"/>
                  </a:lnTo>
                  <a:cubicBezTo>
                    <a:pt x="159506" y="4922"/>
                    <a:pt x="155287" y="0"/>
                    <a:pt x="148962" y="0"/>
                  </a:cubicBezTo>
                  <a:lnTo>
                    <a:pt x="95565" y="0"/>
                  </a:lnTo>
                  <a:cubicBezTo>
                    <a:pt x="89945" y="0"/>
                    <a:pt x="85030" y="4922"/>
                    <a:pt x="85030" y="10992"/>
                  </a:cubicBezTo>
                  <a:lnTo>
                    <a:pt x="85030" y="90665"/>
                  </a:lnTo>
                  <a:cubicBezTo>
                    <a:pt x="85030" y="147350"/>
                    <a:pt x="47054" y="158469"/>
                    <a:pt x="32366" y="162761"/>
                  </a:cubicBezTo>
                  <a:cubicBezTo>
                    <a:pt x="31576" y="162997"/>
                    <a:pt x="30861" y="163206"/>
                    <a:pt x="30214" y="163402"/>
                  </a:cubicBezTo>
                  <a:cubicBezTo>
                    <a:pt x="27404" y="164209"/>
                    <a:pt x="16869" y="166026"/>
                    <a:pt x="9135" y="167302"/>
                  </a:cubicBezTo>
                  <a:cubicBezTo>
                    <a:pt x="3515" y="168248"/>
                    <a:pt x="0" y="172858"/>
                    <a:pt x="0" y="178242"/>
                  </a:cubicBezTo>
                  <a:close/>
                  <a:moveTo>
                    <a:pt x="933768" y="313343"/>
                  </a:moveTo>
                  <a:lnTo>
                    <a:pt x="933768" y="468558"/>
                  </a:lnTo>
                  <a:cubicBezTo>
                    <a:pt x="933768" y="471320"/>
                    <a:pt x="932682" y="473949"/>
                    <a:pt x="930749" y="475902"/>
                  </a:cubicBezTo>
                  <a:cubicBezTo>
                    <a:pt x="928825" y="477845"/>
                    <a:pt x="926206" y="478940"/>
                    <a:pt x="923472" y="478940"/>
                  </a:cubicBezTo>
                  <a:cubicBezTo>
                    <a:pt x="909270" y="478921"/>
                    <a:pt x="883819" y="478912"/>
                    <a:pt x="869627" y="478902"/>
                  </a:cubicBezTo>
                  <a:cubicBezTo>
                    <a:pt x="863950" y="478893"/>
                    <a:pt x="859349" y="474254"/>
                    <a:pt x="859349" y="468530"/>
                  </a:cubicBezTo>
                  <a:cubicBezTo>
                    <a:pt x="859349" y="405427"/>
                    <a:pt x="859349" y="73513"/>
                    <a:pt x="859349" y="10375"/>
                  </a:cubicBezTo>
                  <a:cubicBezTo>
                    <a:pt x="859349" y="4648"/>
                    <a:pt x="863959" y="0"/>
                    <a:pt x="869636" y="0"/>
                  </a:cubicBezTo>
                  <a:cubicBezTo>
                    <a:pt x="883838" y="0"/>
                    <a:pt x="909279" y="0"/>
                    <a:pt x="923472" y="0"/>
                  </a:cubicBezTo>
                  <a:cubicBezTo>
                    <a:pt x="929158" y="0"/>
                    <a:pt x="933768" y="4648"/>
                    <a:pt x="933768" y="10375"/>
                  </a:cubicBezTo>
                  <a:cubicBezTo>
                    <a:pt x="933768" y="50513"/>
                    <a:pt x="933768" y="193355"/>
                    <a:pt x="933768" y="193355"/>
                  </a:cubicBezTo>
                  <a:cubicBezTo>
                    <a:pt x="1013169" y="118433"/>
                    <a:pt x="1159388" y="172318"/>
                    <a:pt x="1159388" y="312995"/>
                  </a:cubicBezTo>
                  <a:lnTo>
                    <a:pt x="1159388" y="468520"/>
                  </a:lnTo>
                  <a:cubicBezTo>
                    <a:pt x="1159388" y="471273"/>
                    <a:pt x="1158302" y="473911"/>
                    <a:pt x="1156378" y="475854"/>
                  </a:cubicBezTo>
                  <a:cubicBezTo>
                    <a:pt x="1154445" y="477797"/>
                    <a:pt x="1151835" y="478893"/>
                    <a:pt x="1149101" y="478893"/>
                  </a:cubicBezTo>
                  <a:cubicBezTo>
                    <a:pt x="1134899" y="478893"/>
                    <a:pt x="1109401" y="478893"/>
                    <a:pt x="1095199" y="478893"/>
                  </a:cubicBezTo>
                  <a:cubicBezTo>
                    <a:pt x="1092465" y="478893"/>
                    <a:pt x="1089855" y="477797"/>
                    <a:pt x="1087922" y="475854"/>
                  </a:cubicBezTo>
                  <a:cubicBezTo>
                    <a:pt x="1085998" y="473911"/>
                    <a:pt x="1084912" y="471273"/>
                    <a:pt x="1084912" y="468520"/>
                  </a:cubicBezTo>
                  <a:cubicBezTo>
                    <a:pt x="1084912" y="432211"/>
                    <a:pt x="1084912" y="312995"/>
                    <a:pt x="1084912" y="312995"/>
                  </a:cubicBezTo>
                  <a:cubicBezTo>
                    <a:pt x="1084912" y="239513"/>
                    <a:pt x="1011121" y="217047"/>
                    <a:pt x="966868" y="246504"/>
                  </a:cubicBezTo>
                  <a:cubicBezTo>
                    <a:pt x="947885" y="259141"/>
                    <a:pt x="933768" y="281804"/>
                    <a:pt x="933768" y="313343"/>
                  </a:cubicBezTo>
                  <a:close/>
                  <a:moveTo>
                    <a:pt x="596563" y="207040"/>
                  </a:moveTo>
                  <a:cubicBezTo>
                    <a:pt x="564235" y="238922"/>
                    <a:pt x="549471" y="280953"/>
                    <a:pt x="549471" y="323084"/>
                  </a:cubicBezTo>
                  <a:cubicBezTo>
                    <a:pt x="549471" y="365223"/>
                    <a:pt x="564235" y="407246"/>
                    <a:pt x="596563" y="439145"/>
                  </a:cubicBezTo>
                  <a:cubicBezTo>
                    <a:pt x="650665" y="494085"/>
                    <a:pt x="734285" y="501400"/>
                    <a:pt x="797522" y="460995"/>
                  </a:cubicBezTo>
                  <a:cubicBezTo>
                    <a:pt x="798208" y="460481"/>
                    <a:pt x="799037" y="459938"/>
                    <a:pt x="799923" y="459357"/>
                  </a:cubicBezTo>
                  <a:cubicBezTo>
                    <a:pt x="801761" y="458147"/>
                    <a:pt x="803828" y="456795"/>
                    <a:pt x="805247" y="455385"/>
                  </a:cubicBezTo>
                  <a:cubicBezTo>
                    <a:pt x="808762" y="451909"/>
                    <a:pt x="810762" y="445470"/>
                    <a:pt x="806018" y="438745"/>
                  </a:cubicBezTo>
                  <a:cubicBezTo>
                    <a:pt x="801761" y="432697"/>
                    <a:pt x="796170" y="425153"/>
                    <a:pt x="790226" y="417067"/>
                  </a:cubicBezTo>
                  <a:cubicBezTo>
                    <a:pt x="785121" y="410132"/>
                    <a:pt x="780339" y="403665"/>
                    <a:pt x="776110" y="397747"/>
                  </a:cubicBezTo>
                  <a:cubicBezTo>
                    <a:pt x="772671" y="392947"/>
                    <a:pt x="765890" y="391664"/>
                    <a:pt x="760975" y="394585"/>
                  </a:cubicBezTo>
                  <a:cubicBezTo>
                    <a:pt x="759565" y="395461"/>
                    <a:pt x="758393" y="396172"/>
                    <a:pt x="757003" y="397067"/>
                  </a:cubicBezTo>
                  <a:cubicBezTo>
                    <a:pt x="686032" y="442936"/>
                    <a:pt x="619737" y="382374"/>
                    <a:pt x="619737" y="323084"/>
                  </a:cubicBezTo>
                  <a:cubicBezTo>
                    <a:pt x="619737" y="263795"/>
                    <a:pt x="687384" y="203573"/>
                    <a:pt x="756945" y="249203"/>
                  </a:cubicBezTo>
                  <a:cubicBezTo>
                    <a:pt x="758308" y="250105"/>
                    <a:pt x="759565" y="250708"/>
                    <a:pt x="760975" y="251591"/>
                  </a:cubicBezTo>
                  <a:cubicBezTo>
                    <a:pt x="765890" y="254512"/>
                    <a:pt x="772805" y="253115"/>
                    <a:pt x="776148" y="248416"/>
                  </a:cubicBezTo>
                  <a:cubicBezTo>
                    <a:pt x="780377" y="242497"/>
                    <a:pt x="785102" y="236065"/>
                    <a:pt x="790207" y="229138"/>
                  </a:cubicBezTo>
                  <a:cubicBezTo>
                    <a:pt x="795560" y="221854"/>
                    <a:pt x="800580" y="215072"/>
                    <a:pt x="804618" y="209395"/>
                  </a:cubicBezTo>
                  <a:cubicBezTo>
                    <a:pt x="811362" y="199928"/>
                    <a:pt x="809571" y="193191"/>
                    <a:pt x="799903" y="186809"/>
                  </a:cubicBezTo>
                  <a:cubicBezTo>
                    <a:pt x="799027" y="186231"/>
                    <a:pt x="798199" y="185691"/>
                    <a:pt x="797522" y="185195"/>
                  </a:cubicBezTo>
                  <a:cubicBezTo>
                    <a:pt x="734285" y="144778"/>
                    <a:pt x="650665" y="152087"/>
                    <a:pt x="596563" y="207040"/>
                  </a:cubicBezTo>
                  <a:close/>
                  <a:moveTo>
                    <a:pt x="293714" y="350313"/>
                  </a:moveTo>
                  <a:lnTo>
                    <a:pt x="469385" y="350313"/>
                  </a:lnTo>
                  <a:cubicBezTo>
                    <a:pt x="490463" y="350313"/>
                    <a:pt x="507323" y="333283"/>
                    <a:pt x="507323" y="312290"/>
                  </a:cubicBezTo>
                  <a:cubicBezTo>
                    <a:pt x="507323" y="265561"/>
                    <a:pt x="499588" y="240644"/>
                    <a:pt x="472890" y="208836"/>
                  </a:cubicBezTo>
                  <a:cubicBezTo>
                    <a:pt x="445486" y="176865"/>
                    <a:pt x="401919" y="159530"/>
                    <a:pt x="368190" y="159530"/>
                  </a:cubicBezTo>
                  <a:cubicBezTo>
                    <a:pt x="283875" y="159530"/>
                    <a:pt x="219228" y="231722"/>
                    <a:pt x="219228" y="323103"/>
                  </a:cubicBezTo>
                  <a:cubicBezTo>
                    <a:pt x="219228" y="435697"/>
                    <a:pt x="306354" y="486674"/>
                    <a:pt x="375915" y="486674"/>
                  </a:cubicBezTo>
                  <a:cubicBezTo>
                    <a:pt x="425807" y="486674"/>
                    <a:pt x="464460" y="474616"/>
                    <a:pt x="502398" y="450623"/>
                  </a:cubicBezTo>
                  <a:cubicBezTo>
                    <a:pt x="506618" y="447470"/>
                    <a:pt x="508723" y="441003"/>
                    <a:pt x="505913" y="435907"/>
                  </a:cubicBezTo>
                  <a:lnTo>
                    <a:pt x="504818" y="434088"/>
                  </a:lnTo>
                  <a:cubicBezTo>
                    <a:pt x="497150" y="421362"/>
                    <a:pt x="486558" y="403789"/>
                    <a:pt x="478519" y="391689"/>
                  </a:cubicBezTo>
                  <a:cubicBezTo>
                    <a:pt x="475709" y="386901"/>
                    <a:pt x="469385" y="385492"/>
                    <a:pt x="464460" y="388476"/>
                  </a:cubicBezTo>
                  <a:cubicBezTo>
                    <a:pt x="440571" y="402722"/>
                    <a:pt x="415273" y="415266"/>
                    <a:pt x="377335" y="414990"/>
                  </a:cubicBezTo>
                  <a:cubicBezTo>
                    <a:pt x="342197" y="414742"/>
                    <a:pt x="304954" y="392280"/>
                    <a:pt x="293714" y="350313"/>
                  </a:cubicBezTo>
                  <a:close/>
                  <a:moveTo>
                    <a:pt x="430732" y="287912"/>
                  </a:moveTo>
                  <a:cubicBezTo>
                    <a:pt x="424407" y="240694"/>
                    <a:pt x="392079" y="232071"/>
                    <a:pt x="368190" y="232071"/>
                  </a:cubicBezTo>
                  <a:cubicBezTo>
                    <a:pt x="335872" y="232071"/>
                    <a:pt x="308478" y="256182"/>
                    <a:pt x="296524" y="287912"/>
                  </a:cubicBezTo>
                  <a:lnTo>
                    <a:pt x="430732" y="287912"/>
                  </a:lnTo>
                  <a:close/>
                </a:path>
              </a:pathLst>
            </a:custGeom>
            <a:grpFill/>
            <a:ln w="76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" name="Полилиния 28">
              <a:extLst>
                <a:ext uri="{FF2B5EF4-FFF2-40B4-BE49-F238E27FC236}">
                  <a16:creationId xmlns:a16="http://schemas.microsoft.com/office/drawing/2014/main" id="{94702B16-41DB-EC61-7FA5-51AE8CA2BA17}"/>
                </a:ext>
              </a:extLst>
            </p:cNvPr>
            <p:cNvSpPr/>
            <p:nvPr/>
          </p:nvSpPr>
          <p:spPr>
            <a:xfrm>
              <a:off x="8489504" y="1070894"/>
              <a:ext cx="1492273" cy="326563"/>
            </a:xfrm>
            <a:custGeom>
              <a:avLst/>
              <a:gdLst>
                <a:gd name="connsiteX0" fmla="*/ 180273 w 1492273"/>
                <a:gd name="connsiteY0" fmla="*/ 900 h 326563"/>
                <a:gd name="connsiteX1" fmla="*/ 83526 w 1492273"/>
                <a:gd name="connsiteY1" fmla="*/ 20775 h 326563"/>
                <a:gd name="connsiteX2" fmla="*/ 15954 w 1492273"/>
                <a:gd name="connsiteY2" fmla="*/ 92853 h 326563"/>
                <a:gd name="connsiteX3" fmla="*/ 2323 w 1492273"/>
                <a:gd name="connsiteY3" fmla="*/ 190737 h 326563"/>
                <a:gd name="connsiteX4" fmla="*/ 47618 w 1492273"/>
                <a:gd name="connsiteY4" fmla="*/ 278557 h 326563"/>
                <a:gd name="connsiteX5" fmla="*/ 135243 w 1492273"/>
                <a:gd name="connsiteY5" fmla="*/ 324153 h 326563"/>
                <a:gd name="connsiteX6" fmla="*/ 233098 w 1492273"/>
                <a:gd name="connsiteY6" fmla="*/ 310818 h 326563"/>
                <a:gd name="connsiteX7" fmla="*/ 305341 w 1492273"/>
                <a:gd name="connsiteY7" fmla="*/ 243429 h 326563"/>
                <a:gd name="connsiteX8" fmla="*/ 325507 w 1492273"/>
                <a:gd name="connsiteY8" fmla="*/ 146675 h 326563"/>
                <a:gd name="connsiteX9" fmla="*/ 278778 w 1492273"/>
                <a:gd name="connsiteY9" fmla="*/ 47965 h 326563"/>
                <a:gd name="connsiteX10" fmla="*/ 180273 w 1492273"/>
                <a:gd name="connsiteY10" fmla="*/ 900 h 326563"/>
                <a:gd name="connsiteX11" fmla="*/ 174984 w 1492273"/>
                <a:gd name="connsiteY11" fmla="*/ 249697 h 326563"/>
                <a:gd name="connsiteX12" fmla="*/ 122555 w 1492273"/>
                <a:gd name="connsiteY12" fmla="*/ 240277 h 326563"/>
                <a:gd name="connsiteX13" fmla="*/ 85427 w 1492273"/>
                <a:gd name="connsiteY13" fmla="*/ 202047 h 326563"/>
                <a:gd name="connsiteX14" fmla="*/ 77507 w 1492273"/>
                <a:gd name="connsiteY14" fmla="*/ 149329 h 326563"/>
                <a:gd name="connsiteX15" fmla="*/ 101766 w 1492273"/>
                <a:gd name="connsiteY15" fmla="*/ 101883 h 326563"/>
                <a:gd name="connsiteX16" fmla="*/ 149113 w 1492273"/>
                <a:gd name="connsiteY16" fmla="*/ 77461 h 326563"/>
                <a:gd name="connsiteX17" fmla="*/ 201825 w 1492273"/>
                <a:gd name="connsiteY17" fmla="*/ 85220 h 326563"/>
                <a:gd name="connsiteX18" fmla="*/ 240132 w 1492273"/>
                <a:gd name="connsiteY18" fmla="*/ 122247 h 326563"/>
                <a:gd name="connsiteX19" fmla="*/ 249714 w 1492273"/>
                <a:gd name="connsiteY19" fmla="*/ 174684 h 326563"/>
                <a:gd name="connsiteX20" fmla="*/ 225058 w 1492273"/>
                <a:gd name="connsiteY20" fmla="*/ 224868 h 326563"/>
                <a:gd name="connsiteX21" fmla="*/ 174984 w 1492273"/>
                <a:gd name="connsiteY21" fmla="*/ 249697 h 326563"/>
                <a:gd name="connsiteX22" fmla="*/ 412780 w 1492273"/>
                <a:gd name="connsiteY22" fmla="*/ 7358 h 326563"/>
                <a:gd name="connsiteX23" fmla="*/ 396435 w 1492273"/>
                <a:gd name="connsiteY23" fmla="*/ 11091 h 326563"/>
                <a:gd name="connsiteX24" fmla="*/ 383276 w 1492273"/>
                <a:gd name="connsiteY24" fmla="*/ 21498 h 326563"/>
                <a:gd name="connsiteX25" fmla="*/ 375859 w 1492273"/>
                <a:gd name="connsiteY25" fmla="*/ 36548 h 326563"/>
                <a:gd name="connsiteX26" fmla="*/ 375620 w 1492273"/>
                <a:gd name="connsiteY26" fmla="*/ 53325 h 326563"/>
                <a:gd name="connsiteX27" fmla="*/ 414209 w 1492273"/>
                <a:gd name="connsiteY27" fmla="*/ 83537 h 326563"/>
                <a:gd name="connsiteX28" fmla="*/ 520143 w 1492273"/>
                <a:gd name="connsiteY28" fmla="*/ 83537 h 326563"/>
                <a:gd name="connsiteX29" fmla="*/ 355289 w 1492273"/>
                <a:gd name="connsiteY29" fmla="*/ 301846 h 326563"/>
                <a:gd name="connsiteX30" fmla="*/ 353136 w 1492273"/>
                <a:gd name="connsiteY30" fmla="*/ 307389 h 326563"/>
                <a:gd name="connsiteX31" fmla="*/ 354212 w 1492273"/>
                <a:gd name="connsiteY31" fmla="*/ 313237 h 326563"/>
                <a:gd name="connsiteX32" fmla="*/ 358204 w 1492273"/>
                <a:gd name="connsiteY32" fmla="*/ 317647 h 326563"/>
                <a:gd name="connsiteX33" fmla="*/ 363921 w 1492273"/>
                <a:gd name="connsiteY33" fmla="*/ 319295 h 326563"/>
                <a:gd name="connsiteX34" fmla="*/ 622504 w 1492273"/>
                <a:gd name="connsiteY34" fmla="*/ 319295 h 326563"/>
                <a:gd name="connsiteX35" fmla="*/ 661099 w 1492273"/>
                <a:gd name="connsiteY35" fmla="*/ 289082 h 326563"/>
                <a:gd name="connsiteX36" fmla="*/ 660861 w 1492273"/>
                <a:gd name="connsiteY36" fmla="*/ 272299 h 326563"/>
                <a:gd name="connsiteX37" fmla="*/ 653451 w 1492273"/>
                <a:gd name="connsiteY37" fmla="*/ 257250 h 326563"/>
                <a:gd name="connsiteX38" fmla="*/ 640297 w 1492273"/>
                <a:gd name="connsiteY38" fmla="*/ 246849 h 326563"/>
                <a:gd name="connsiteX39" fmla="*/ 623952 w 1492273"/>
                <a:gd name="connsiteY39" fmla="*/ 243105 h 326563"/>
                <a:gd name="connsiteX40" fmla="*/ 494883 w 1492273"/>
                <a:gd name="connsiteY40" fmla="*/ 243105 h 326563"/>
                <a:gd name="connsiteX41" fmla="*/ 659613 w 1492273"/>
                <a:gd name="connsiteY41" fmla="*/ 24972 h 326563"/>
                <a:gd name="connsiteX42" fmla="*/ 661785 w 1492273"/>
                <a:gd name="connsiteY42" fmla="*/ 19371 h 326563"/>
                <a:gd name="connsiteX43" fmla="*/ 660690 w 1492273"/>
                <a:gd name="connsiteY43" fmla="*/ 13473 h 326563"/>
                <a:gd name="connsiteX44" fmla="*/ 656661 w 1492273"/>
                <a:gd name="connsiteY44" fmla="*/ 9021 h 326563"/>
                <a:gd name="connsiteX45" fmla="*/ 650888 w 1492273"/>
                <a:gd name="connsiteY45" fmla="*/ 7358 h 326563"/>
                <a:gd name="connsiteX46" fmla="*/ 412780 w 1492273"/>
                <a:gd name="connsiteY46" fmla="*/ 7358 h 326563"/>
                <a:gd name="connsiteX47" fmla="*/ 1446105 w 1492273"/>
                <a:gd name="connsiteY47" fmla="*/ 8240 h 326563"/>
                <a:gd name="connsiteX48" fmla="*/ 1424484 w 1492273"/>
                <a:gd name="connsiteY48" fmla="*/ 22127 h 326563"/>
                <a:gd name="connsiteX49" fmla="*/ 1416378 w 1492273"/>
                <a:gd name="connsiteY49" fmla="*/ 46473 h 326563"/>
                <a:gd name="connsiteX50" fmla="*/ 1416378 w 1492273"/>
                <a:gd name="connsiteY50" fmla="*/ 173313 h 326563"/>
                <a:gd name="connsiteX51" fmla="*/ 1210980 w 1492273"/>
                <a:gd name="connsiteY51" fmla="*/ 9758 h 326563"/>
                <a:gd name="connsiteX52" fmla="*/ 1205389 w 1492273"/>
                <a:gd name="connsiteY52" fmla="*/ 7453 h 326563"/>
                <a:gd name="connsiteX53" fmla="*/ 1199426 w 1492273"/>
                <a:gd name="connsiteY53" fmla="*/ 8482 h 326563"/>
                <a:gd name="connsiteX54" fmla="*/ 1194921 w 1492273"/>
                <a:gd name="connsiteY54" fmla="*/ 12520 h 326563"/>
                <a:gd name="connsiteX55" fmla="*/ 1193263 w 1492273"/>
                <a:gd name="connsiteY55" fmla="*/ 18343 h 326563"/>
                <a:gd name="connsiteX56" fmla="*/ 1193263 w 1492273"/>
                <a:gd name="connsiteY56" fmla="*/ 280243 h 326563"/>
                <a:gd name="connsiteX57" fmla="*/ 1201388 w 1492273"/>
                <a:gd name="connsiteY57" fmla="*/ 304589 h 326563"/>
                <a:gd name="connsiteX58" fmla="*/ 1222962 w 1492273"/>
                <a:gd name="connsiteY58" fmla="*/ 318486 h 326563"/>
                <a:gd name="connsiteX59" fmla="*/ 1239803 w 1492273"/>
                <a:gd name="connsiteY59" fmla="*/ 318362 h 326563"/>
                <a:gd name="connsiteX60" fmla="*/ 1254966 w 1492273"/>
                <a:gd name="connsiteY60" fmla="*/ 310961 h 326563"/>
                <a:gd name="connsiteX61" fmla="*/ 1265444 w 1492273"/>
                <a:gd name="connsiteY61" fmla="*/ 297721 h 326563"/>
                <a:gd name="connsiteX62" fmla="*/ 1269159 w 1492273"/>
                <a:gd name="connsiteY62" fmla="*/ 281272 h 326563"/>
                <a:gd name="connsiteX63" fmla="*/ 1269159 w 1492273"/>
                <a:gd name="connsiteY63" fmla="*/ 153323 h 326563"/>
                <a:gd name="connsiteX64" fmla="*/ 1474538 w 1492273"/>
                <a:gd name="connsiteY64" fmla="*/ 316885 h 326563"/>
                <a:gd name="connsiteX65" fmla="*/ 1480148 w 1492273"/>
                <a:gd name="connsiteY65" fmla="*/ 319190 h 326563"/>
                <a:gd name="connsiteX66" fmla="*/ 1486120 w 1492273"/>
                <a:gd name="connsiteY66" fmla="*/ 318162 h 326563"/>
                <a:gd name="connsiteX67" fmla="*/ 1490625 w 1492273"/>
                <a:gd name="connsiteY67" fmla="*/ 314123 h 326563"/>
                <a:gd name="connsiteX68" fmla="*/ 1492273 w 1492273"/>
                <a:gd name="connsiteY68" fmla="*/ 308303 h 326563"/>
                <a:gd name="connsiteX69" fmla="*/ 1492273 w 1492273"/>
                <a:gd name="connsiteY69" fmla="*/ 45444 h 326563"/>
                <a:gd name="connsiteX70" fmla="*/ 1488559 w 1492273"/>
                <a:gd name="connsiteY70" fmla="*/ 28985 h 326563"/>
                <a:gd name="connsiteX71" fmla="*/ 1478081 w 1492273"/>
                <a:gd name="connsiteY71" fmla="*/ 15759 h 326563"/>
                <a:gd name="connsiteX72" fmla="*/ 1462908 w 1492273"/>
                <a:gd name="connsiteY72" fmla="*/ 8354 h 326563"/>
                <a:gd name="connsiteX73" fmla="*/ 1446105 w 1492273"/>
                <a:gd name="connsiteY73" fmla="*/ 8240 h 326563"/>
                <a:gd name="connsiteX74" fmla="*/ 911265 w 1492273"/>
                <a:gd name="connsiteY74" fmla="*/ 76254 h 326563"/>
                <a:gd name="connsiteX75" fmla="*/ 1063066 w 1492273"/>
                <a:gd name="connsiteY75" fmla="*/ 163286 h 326563"/>
                <a:gd name="connsiteX76" fmla="*/ 911265 w 1492273"/>
                <a:gd name="connsiteY76" fmla="*/ 250325 h 326563"/>
                <a:gd name="connsiteX77" fmla="*/ 759483 w 1492273"/>
                <a:gd name="connsiteY77" fmla="*/ 163286 h 326563"/>
                <a:gd name="connsiteX78" fmla="*/ 911265 w 1492273"/>
                <a:gd name="connsiteY78" fmla="*/ 76254 h 326563"/>
                <a:gd name="connsiteX79" fmla="*/ 911265 w 1492273"/>
                <a:gd name="connsiteY79" fmla="*/ 67 h 326563"/>
                <a:gd name="connsiteX80" fmla="*/ 683578 w 1492273"/>
                <a:gd name="connsiteY80" fmla="*/ 163286 h 326563"/>
                <a:gd name="connsiteX81" fmla="*/ 911265 w 1492273"/>
                <a:gd name="connsiteY81" fmla="*/ 326506 h 326563"/>
                <a:gd name="connsiteX82" fmla="*/ 1138961 w 1492273"/>
                <a:gd name="connsiteY82" fmla="*/ 163286 h 326563"/>
                <a:gd name="connsiteX83" fmla="*/ 911265 w 1492273"/>
                <a:gd name="connsiteY83" fmla="*/ 67 h 3265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</a:cxnLst>
              <a:rect l="l" t="t" r="r" b="b"/>
              <a:pathLst>
                <a:path w="1492273" h="326563">
                  <a:moveTo>
                    <a:pt x="180273" y="900"/>
                  </a:moveTo>
                  <a:cubicBezTo>
                    <a:pt x="146739" y="-2638"/>
                    <a:pt x="112948" y="4310"/>
                    <a:pt x="83526" y="20775"/>
                  </a:cubicBezTo>
                  <a:cubicBezTo>
                    <a:pt x="54104" y="37240"/>
                    <a:pt x="30499" y="62424"/>
                    <a:pt x="15954" y="92853"/>
                  </a:cubicBezTo>
                  <a:cubicBezTo>
                    <a:pt x="1417" y="123295"/>
                    <a:pt x="-3344" y="157489"/>
                    <a:pt x="2323" y="190737"/>
                  </a:cubicBezTo>
                  <a:cubicBezTo>
                    <a:pt x="7990" y="223998"/>
                    <a:pt x="23812" y="254669"/>
                    <a:pt x="47618" y="278557"/>
                  </a:cubicBezTo>
                  <a:cubicBezTo>
                    <a:pt x="71412" y="302455"/>
                    <a:pt x="102030" y="318381"/>
                    <a:pt x="135243" y="324153"/>
                  </a:cubicBezTo>
                  <a:cubicBezTo>
                    <a:pt x="168455" y="329925"/>
                    <a:pt x="202644" y="325277"/>
                    <a:pt x="233098" y="310818"/>
                  </a:cubicBezTo>
                  <a:cubicBezTo>
                    <a:pt x="263559" y="296359"/>
                    <a:pt x="288801" y="272814"/>
                    <a:pt x="305341" y="243429"/>
                  </a:cubicBezTo>
                  <a:cubicBezTo>
                    <a:pt x="321894" y="214035"/>
                    <a:pt x="328933" y="180240"/>
                    <a:pt x="325507" y="146675"/>
                  </a:cubicBezTo>
                  <a:cubicBezTo>
                    <a:pt x="321736" y="109375"/>
                    <a:pt x="305234" y="74514"/>
                    <a:pt x="278778" y="47965"/>
                  </a:cubicBezTo>
                  <a:cubicBezTo>
                    <a:pt x="252327" y="21410"/>
                    <a:pt x="217534" y="4786"/>
                    <a:pt x="180273" y="900"/>
                  </a:cubicBezTo>
                  <a:close/>
                  <a:moveTo>
                    <a:pt x="174984" y="249697"/>
                  </a:moveTo>
                  <a:cubicBezTo>
                    <a:pt x="156946" y="252116"/>
                    <a:pt x="138617" y="248820"/>
                    <a:pt x="122555" y="240277"/>
                  </a:cubicBezTo>
                  <a:cubicBezTo>
                    <a:pt x="106488" y="231725"/>
                    <a:pt x="93505" y="218366"/>
                    <a:pt x="85427" y="202047"/>
                  </a:cubicBezTo>
                  <a:cubicBezTo>
                    <a:pt x="77349" y="185733"/>
                    <a:pt x="74579" y="167300"/>
                    <a:pt x="77507" y="149329"/>
                  </a:cubicBezTo>
                  <a:cubicBezTo>
                    <a:pt x="80440" y="131372"/>
                    <a:pt x="88922" y="114773"/>
                    <a:pt x="101766" y="101883"/>
                  </a:cubicBezTo>
                  <a:cubicBezTo>
                    <a:pt x="114610" y="88986"/>
                    <a:pt x="131176" y="80452"/>
                    <a:pt x="149113" y="77461"/>
                  </a:cubicBezTo>
                  <a:cubicBezTo>
                    <a:pt x="167057" y="74470"/>
                    <a:pt x="185493" y="77181"/>
                    <a:pt x="201825" y="85220"/>
                  </a:cubicBezTo>
                  <a:cubicBezTo>
                    <a:pt x="218145" y="93247"/>
                    <a:pt x="231543" y="106194"/>
                    <a:pt x="240132" y="122247"/>
                  </a:cubicBezTo>
                  <a:cubicBezTo>
                    <a:pt x="248725" y="138293"/>
                    <a:pt x="252068" y="156625"/>
                    <a:pt x="249714" y="174684"/>
                  </a:cubicBezTo>
                  <a:cubicBezTo>
                    <a:pt x="247233" y="193670"/>
                    <a:pt x="238569" y="211305"/>
                    <a:pt x="225058" y="224868"/>
                  </a:cubicBezTo>
                  <a:cubicBezTo>
                    <a:pt x="211546" y="238425"/>
                    <a:pt x="193948" y="247154"/>
                    <a:pt x="174984" y="249697"/>
                  </a:cubicBezTo>
                  <a:close/>
                  <a:moveTo>
                    <a:pt x="412780" y="7358"/>
                  </a:moveTo>
                  <a:cubicBezTo>
                    <a:pt x="407126" y="7370"/>
                    <a:pt x="401534" y="8646"/>
                    <a:pt x="396435" y="11091"/>
                  </a:cubicBezTo>
                  <a:cubicBezTo>
                    <a:pt x="391328" y="13536"/>
                    <a:pt x="386833" y="17092"/>
                    <a:pt x="383276" y="21498"/>
                  </a:cubicBezTo>
                  <a:cubicBezTo>
                    <a:pt x="379712" y="25899"/>
                    <a:pt x="377174" y="31042"/>
                    <a:pt x="375859" y="36548"/>
                  </a:cubicBezTo>
                  <a:cubicBezTo>
                    <a:pt x="374537" y="42053"/>
                    <a:pt x="374448" y="47787"/>
                    <a:pt x="375620" y="53325"/>
                  </a:cubicBezTo>
                  <a:cubicBezTo>
                    <a:pt x="379202" y="71282"/>
                    <a:pt x="395956" y="83537"/>
                    <a:pt x="414209" y="83537"/>
                  </a:cubicBezTo>
                  <a:lnTo>
                    <a:pt x="520143" y="83537"/>
                  </a:lnTo>
                  <a:lnTo>
                    <a:pt x="355289" y="301846"/>
                  </a:lnTo>
                  <a:cubicBezTo>
                    <a:pt x="354067" y="303455"/>
                    <a:pt x="353324" y="305379"/>
                    <a:pt x="353136" y="307389"/>
                  </a:cubicBezTo>
                  <a:cubicBezTo>
                    <a:pt x="352940" y="309399"/>
                    <a:pt x="353319" y="311428"/>
                    <a:pt x="354212" y="313237"/>
                  </a:cubicBezTo>
                  <a:cubicBezTo>
                    <a:pt x="355113" y="315047"/>
                    <a:pt x="356491" y="316581"/>
                    <a:pt x="358204" y="317647"/>
                  </a:cubicBezTo>
                  <a:cubicBezTo>
                    <a:pt x="359923" y="318714"/>
                    <a:pt x="361900" y="319286"/>
                    <a:pt x="363921" y="319295"/>
                  </a:cubicBezTo>
                  <a:lnTo>
                    <a:pt x="622504" y="319295"/>
                  </a:lnTo>
                  <a:cubicBezTo>
                    <a:pt x="640744" y="319295"/>
                    <a:pt x="657518" y="307037"/>
                    <a:pt x="661099" y="289082"/>
                  </a:cubicBezTo>
                  <a:cubicBezTo>
                    <a:pt x="662271" y="283539"/>
                    <a:pt x="662185" y="277805"/>
                    <a:pt x="660861" y="272299"/>
                  </a:cubicBezTo>
                  <a:cubicBezTo>
                    <a:pt x="659537" y="266794"/>
                    <a:pt x="657004" y="261650"/>
                    <a:pt x="653451" y="257250"/>
                  </a:cubicBezTo>
                  <a:cubicBezTo>
                    <a:pt x="649898" y="252849"/>
                    <a:pt x="645402" y="249297"/>
                    <a:pt x="640297" y="246849"/>
                  </a:cubicBezTo>
                  <a:cubicBezTo>
                    <a:pt x="635191" y="244391"/>
                    <a:pt x="629610" y="243115"/>
                    <a:pt x="623952" y="243105"/>
                  </a:cubicBezTo>
                  <a:lnTo>
                    <a:pt x="494883" y="243105"/>
                  </a:lnTo>
                  <a:lnTo>
                    <a:pt x="659613" y="24972"/>
                  </a:lnTo>
                  <a:cubicBezTo>
                    <a:pt x="660842" y="23340"/>
                    <a:pt x="661595" y="21403"/>
                    <a:pt x="661785" y="19371"/>
                  </a:cubicBezTo>
                  <a:cubicBezTo>
                    <a:pt x="661976" y="17340"/>
                    <a:pt x="661604" y="15295"/>
                    <a:pt x="660690" y="13473"/>
                  </a:cubicBezTo>
                  <a:cubicBezTo>
                    <a:pt x="659785" y="11637"/>
                    <a:pt x="658385" y="10101"/>
                    <a:pt x="656661" y="9021"/>
                  </a:cubicBezTo>
                  <a:cubicBezTo>
                    <a:pt x="654937" y="7942"/>
                    <a:pt x="652927" y="7363"/>
                    <a:pt x="650888" y="7358"/>
                  </a:cubicBezTo>
                  <a:lnTo>
                    <a:pt x="412780" y="7358"/>
                  </a:lnTo>
                  <a:close/>
                  <a:moveTo>
                    <a:pt x="1446105" y="8240"/>
                  </a:moveTo>
                  <a:cubicBezTo>
                    <a:pt x="1437514" y="10272"/>
                    <a:pt x="1429894" y="15174"/>
                    <a:pt x="1424484" y="22127"/>
                  </a:cubicBezTo>
                  <a:cubicBezTo>
                    <a:pt x="1419112" y="29080"/>
                    <a:pt x="1416254" y="37666"/>
                    <a:pt x="1416378" y="46473"/>
                  </a:cubicBezTo>
                  <a:lnTo>
                    <a:pt x="1416378" y="173313"/>
                  </a:lnTo>
                  <a:lnTo>
                    <a:pt x="1210980" y="9758"/>
                  </a:lnTo>
                  <a:cubicBezTo>
                    <a:pt x="1209361" y="8475"/>
                    <a:pt x="1207427" y="7675"/>
                    <a:pt x="1205389" y="7453"/>
                  </a:cubicBezTo>
                  <a:cubicBezTo>
                    <a:pt x="1203341" y="7230"/>
                    <a:pt x="1201274" y="7580"/>
                    <a:pt x="1199426" y="8482"/>
                  </a:cubicBezTo>
                  <a:cubicBezTo>
                    <a:pt x="1197569" y="9377"/>
                    <a:pt x="1196006" y="10773"/>
                    <a:pt x="1194921" y="12520"/>
                  </a:cubicBezTo>
                  <a:cubicBezTo>
                    <a:pt x="1193835" y="14273"/>
                    <a:pt x="1193254" y="16285"/>
                    <a:pt x="1193263" y="18343"/>
                  </a:cubicBezTo>
                  <a:lnTo>
                    <a:pt x="1193263" y="280243"/>
                  </a:lnTo>
                  <a:cubicBezTo>
                    <a:pt x="1193120" y="289054"/>
                    <a:pt x="1195987" y="297645"/>
                    <a:pt x="1201388" y="304589"/>
                  </a:cubicBezTo>
                  <a:cubicBezTo>
                    <a:pt x="1206789" y="311542"/>
                    <a:pt x="1214409" y="316447"/>
                    <a:pt x="1222962" y="318486"/>
                  </a:cubicBezTo>
                  <a:cubicBezTo>
                    <a:pt x="1228525" y="319714"/>
                    <a:pt x="1234288" y="319667"/>
                    <a:pt x="1239803" y="318362"/>
                  </a:cubicBezTo>
                  <a:cubicBezTo>
                    <a:pt x="1245346" y="317066"/>
                    <a:pt x="1250518" y="314533"/>
                    <a:pt x="1254966" y="310961"/>
                  </a:cubicBezTo>
                  <a:cubicBezTo>
                    <a:pt x="1259415" y="307389"/>
                    <a:pt x="1263006" y="302874"/>
                    <a:pt x="1265444" y="297721"/>
                  </a:cubicBezTo>
                  <a:cubicBezTo>
                    <a:pt x="1267882" y="292587"/>
                    <a:pt x="1269159" y="286958"/>
                    <a:pt x="1269159" y="281272"/>
                  </a:cubicBezTo>
                  <a:lnTo>
                    <a:pt x="1269159" y="153323"/>
                  </a:lnTo>
                  <a:lnTo>
                    <a:pt x="1474538" y="316885"/>
                  </a:lnTo>
                  <a:cubicBezTo>
                    <a:pt x="1476195" y="318171"/>
                    <a:pt x="1478138" y="318962"/>
                    <a:pt x="1480148" y="319190"/>
                  </a:cubicBezTo>
                  <a:cubicBezTo>
                    <a:pt x="1482224" y="319419"/>
                    <a:pt x="1484291" y="319057"/>
                    <a:pt x="1486120" y="318162"/>
                  </a:cubicBezTo>
                  <a:cubicBezTo>
                    <a:pt x="1487949" y="317266"/>
                    <a:pt x="1489530" y="315866"/>
                    <a:pt x="1490625" y="314123"/>
                  </a:cubicBezTo>
                  <a:cubicBezTo>
                    <a:pt x="1491721" y="312380"/>
                    <a:pt x="1492273" y="310361"/>
                    <a:pt x="1492273" y="308303"/>
                  </a:cubicBezTo>
                  <a:lnTo>
                    <a:pt x="1492273" y="45444"/>
                  </a:lnTo>
                  <a:cubicBezTo>
                    <a:pt x="1492273" y="39748"/>
                    <a:pt x="1490997" y="34123"/>
                    <a:pt x="1488559" y="28985"/>
                  </a:cubicBezTo>
                  <a:cubicBezTo>
                    <a:pt x="1486120" y="23848"/>
                    <a:pt x="1482529" y="19327"/>
                    <a:pt x="1478081" y="15759"/>
                  </a:cubicBezTo>
                  <a:cubicBezTo>
                    <a:pt x="1473633" y="12190"/>
                    <a:pt x="1468461" y="9656"/>
                    <a:pt x="1462908" y="8354"/>
                  </a:cubicBezTo>
                  <a:cubicBezTo>
                    <a:pt x="1457364" y="7059"/>
                    <a:pt x="1451649" y="7015"/>
                    <a:pt x="1446105" y="8240"/>
                  </a:cubicBezTo>
                  <a:close/>
                  <a:moveTo>
                    <a:pt x="911265" y="76254"/>
                  </a:moveTo>
                  <a:cubicBezTo>
                    <a:pt x="998152" y="76254"/>
                    <a:pt x="1063066" y="122196"/>
                    <a:pt x="1063066" y="163286"/>
                  </a:cubicBezTo>
                  <a:cubicBezTo>
                    <a:pt x="1063066" y="204383"/>
                    <a:pt x="998152" y="250325"/>
                    <a:pt x="911265" y="250325"/>
                  </a:cubicBezTo>
                  <a:cubicBezTo>
                    <a:pt x="824397" y="250325"/>
                    <a:pt x="759483" y="204383"/>
                    <a:pt x="759483" y="163286"/>
                  </a:cubicBezTo>
                  <a:cubicBezTo>
                    <a:pt x="759483" y="122196"/>
                    <a:pt x="824397" y="76254"/>
                    <a:pt x="911265" y="76254"/>
                  </a:cubicBezTo>
                  <a:close/>
                  <a:moveTo>
                    <a:pt x="911265" y="67"/>
                  </a:moveTo>
                  <a:cubicBezTo>
                    <a:pt x="785515" y="67"/>
                    <a:pt x="683578" y="73142"/>
                    <a:pt x="683578" y="163286"/>
                  </a:cubicBezTo>
                  <a:cubicBezTo>
                    <a:pt x="683578" y="253421"/>
                    <a:pt x="785515" y="326506"/>
                    <a:pt x="911265" y="326506"/>
                  </a:cubicBezTo>
                  <a:cubicBezTo>
                    <a:pt x="1037024" y="326506"/>
                    <a:pt x="1138961" y="253421"/>
                    <a:pt x="1138961" y="163286"/>
                  </a:cubicBezTo>
                  <a:cubicBezTo>
                    <a:pt x="1138961" y="73142"/>
                    <a:pt x="1037024" y="67"/>
                    <a:pt x="911265" y="67"/>
                  </a:cubicBezTo>
                  <a:close/>
                </a:path>
              </a:pathLst>
            </a:custGeom>
            <a:grpFill/>
            <a:ln w="76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0" name="Группа 9">
            <a:extLst>
              <a:ext uri="{FF2B5EF4-FFF2-40B4-BE49-F238E27FC236}">
                <a16:creationId xmlns:a16="http://schemas.microsoft.com/office/drawing/2014/main" id="{598D0B46-B0A6-A42A-ED59-1B31201D1AB2}"/>
              </a:ext>
            </a:extLst>
          </p:cNvPr>
          <p:cNvGrpSpPr/>
          <p:nvPr userDrawn="1"/>
        </p:nvGrpSpPr>
        <p:grpSpPr>
          <a:xfrm>
            <a:off x="-2138458" y="0"/>
            <a:ext cx="1928241" cy="2880934"/>
            <a:chOff x="-2138458" y="0"/>
            <a:chExt cx="1928241" cy="2880934"/>
          </a:xfrm>
        </p:grpSpPr>
        <p:sp>
          <p:nvSpPr>
            <p:cNvPr id="27" name="Прямоугольник: скругленные углы 26">
              <a:extLst>
                <a:ext uri="{FF2B5EF4-FFF2-40B4-BE49-F238E27FC236}">
                  <a16:creationId xmlns:a16="http://schemas.microsoft.com/office/drawing/2014/main" id="{A1753B2C-76E2-A5A6-A432-B4822F053CE8}"/>
                </a:ext>
              </a:extLst>
            </p:cNvPr>
            <p:cNvSpPr/>
            <p:nvPr/>
          </p:nvSpPr>
          <p:spPr>
            <a:xfrm>
              <a:off x="-2138458" y="54865"/>
              <a:ext cx="1928241" cy="2826069"/>
            </a:xfrm>
            <a:prstGeom prst="roundRect">
              <a:avLst>
                <a:gd name="adj" fmla="val 5926"/>
              </a:avLst>
            </a:prstGeom>
            <a:solidFill>
              <a:schemeClr val="bg1"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8" name="Прямоугольник: скругленные верхние углы 27">
              <a:extLst>
                <a:ext uri="{FF2B5EF4-FFF2-40B4-BE49-F238E27FC236}">
                  <a16:creationId xmlns:a16="http://schemas.microsoft.com/office/drawing/2014/main" id="{9872BA5A-3054-929B-2FEA-74D99D7CC1B7}"/>
                </a:ext>
              </a:extLst>
            </p:cNvPr>
            <p:cNvSpPr/>
            <p:nvPr/>
          </p:nvSpPr>
          <p:spPr>
            <a:xfrm>
              <a:off x="-2136930" y="0"/>
              <a:ext cx="1926713" cy="28800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36000" rtlCol="0" anchor="ctr"/>
            <a:lstStyle/>
            <a:p>
              <a:pPr algn="ctr"/>
              <a:r>
                <a:rPr lang="ru-RU" sz="1100" b="1">
                  <a:solidFill>
                    <a:schemeClr val="tx1"/>
                  </a:solidFill>
                </a:rPr>
                <a:t>Размеры текста</a:t>
              </a: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EE06276D-FE9B-6C65-2089-D67EA95A44C3}"/>
                </a:ext>
              </a:extLst>
            </p:cNvPr>
            <p:cNvSpPr txBox="1"/>
            <p:nvPr/>
          </p:nvSpPr>
          <p:spPr>
            <a:xfrm>
              <a:off x="-1691344" y="2506490"/>
              <a:ext cx="1373969" cy="24284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>
                <a:lnSpc>
                  <a:spcPct val="90000"/>
                </a:lnSpc>
              </a:pPr>
              <a:r>
                <a:rPr lang="ru-RU" sz="900" b="0">
                  <a:solidFill>
                    <a:schemeClr val="accent1"/>
                  </a:solidFill>
                </a:rPr>
                <a:t>Используй эти размеры </a:t>
              </a:r>
              <a:br>
                <a:rPr lang="ru-RU" sz="900" b="0">
                  <a:solidFill>
                    <a:schemeClr val="accent1"/>
                  </a:solidFill>
                </a:rPr>
              </a:br>
              <a:r>
                <a:rPr lang="ru-RU" sz="900" b="0">
                  <a:solidFill>
                    <a:schemeClr val="accent1"/>
                  </a:solidFill>
                </a:rPr>
                <a:t>по всей презентации</a:t>
              </a:r>
            </a:p>
          </p:txBody>
        </p:sp>
        <p:sp>
          <p:nvSpPr>
            <p:cNvPr id="57" name="Полилиния: фигура 56">
              <a:extLst>
                <a:ext uri="{FF2B5EF4-FFF2-40B4-BE49-F238E27FC236}">
                  <a16:creationId xmlns:a16="http://schemas.microsoft.com/office/drawing/2014/main" id="{78DE2901-DB4C-83F6-72BC-325CB8411C2E}"/>
                </a:ext>
              </a:extLst>
            </p:cNvPr>
            <p:cNvSpPr/>
            <p:nvPr/>
          </p:nvSpPr>
          <p:spPr>
            <a:xfrm>
              <a:off x="-2004344" y="2488864"/>
              <a:ext cx="216624" cy="228657"/>
            </a:xfrm>
            <a:custGeom>
              <a:avLst/>
              <a:gdLst>
                <a:gd name="connsiteX0" fmla="*/ 72536 w 171450"/>
                <a:gd name="connsiteY0" fmla="*/ 162210 h 180974"/>
                <a:gd name="connsiteX1" fmla="*/ 98923 w 171450"/>
                <a:gd name="connsiteY1" fmla="*/ 162210 h 180974"/>
                <a:gd name="connsiteX2" fmla="*/ 103600 w 171450"/>
                <a:gd name="connsiteY2" fmla="*/ 172160 h 180974"/>
                <a:gd name="connsiteX3" fmla="*/ 85726 w 171450"/>
                <a:gd name="connsiteY3" fmla="*/ 180974 h 180974"/>
                <a:gd name="connsiteX4" fmla="*/ 67852 w 171450"/>
                <a:gd name="connsiteY4" fmla="*/ 172160 h 180974"/>
                <a:gd name="connsiteX5" fmla="*/ 72536 w 171450"/>
                <a:gd name="connsiteY5" fmla="*/ 162210 h 180974"/>
                <a:gd name="connsiteX6" fmla="*/ 152400 w 171450"/>
                <a:gd name="connsiteY6" fmla="*/ 76200 h 180974"/>
                <a:gd name="connsiteX7" fmla="*/ 161925 w 171450"/>
                <a:gd name="connsiteY7" fmla="*/ 76200 h 180974"/>
                <a:gd name="connsiteX8" fmla="*/ 171450 w 171450"/>
                <a:gd name="connsiteY8" fmla="*/ 85725 h 180974"/>
                <a:gd name="connsiteX9" fmla="*/ 161925 w 171450"/>
                <a:gd name="connsiteY9" fmla="*/ 95250 h 180974"/>
                <a:gd name="connsiteX10" fmla="*/ 152400 w 171450"/>
                <a:gd name="connsiteY10" fmla="*/ 95250 h 180974"/>
                <a:gd name="connsiteX11" fmla="*/ 142875 w 171450"/>
                <a:gd name="connsiteY11" fmla="*/ 85725 h 180974"/>
                <a:gd name="connsiteX12" fmla="*/ 152400 w 171450"/>
                <a:gd name="connsiteY12" fmla="*/ 76200 h 180974"/>
                <a:gd name="connsiteX13" fmla="*/ 9525 w 171450"/>
                <a:gd name="connsiteY13" fmla="*/ 76200 h 180974"/>
                <a:gd name="connsiteX14" fmla="*/ 19050 w 171450"/>
                <a:gd name="connsiteY14" fmla="*/ 76200 h 180974"/>
                <a:gd name="connsiteX15" fmla="*/ 28575 w 171450"/>
                <a:gd name="connsiteY15" fmla="*/ 85725 h 180974"/>
                <a:gd name="connsiteX16" fmla="*/ 19050 w 171450"/>
                <a:gd name="connsiteY16" fmla="*/ 95250 h 180974"/>
                <a:gd name="connsiteX17" fmla="*/ 9525 w 171450"/>
                <a:gd name="connsiteY17" fmla="*/ 95250 h 180974"/>
                <a:gd name="connsiteX18" fmla="*/ 0 w 171450"/>
                <a:gd name="connsiteY18" fmla="*/ 85725 h 180974"/>
                <a:gd name="connsiteX19" fmla="*/ 9525 w 171450"/>
                <a:gd name="connsiteY19" fmla="*/ 76200 h 180974"/>
                <a:gd name="connsiteX20" fmla="*/ 85725 w 171450"/>
                <a:gd name="connsiteY20" fmla="*/ 38100 h 180974"/>
                <a:gd name="connsiteX21" fmla="*/ 133350 w 171450"/>
                <a:gd name="connsiteY21" fmla="*/ 85725 h 180974"/>
                <a:gd name="connsiteX22" fmla="*/ 123174 w 171450"/>
                <a:gd name="connsiteY22" fmla="*/ 114596 h 180974"/>
                <a:gd name="connsiteX23" fmla="*/ 114300 w 171450"/>
                <a:gd name="connsiteY23" fmla="*/ 138113 h 180974"/>
                <a:gd name="connsiteX24" fmla="*/ 85725 w 171450"/>
                <a:gd name="connsiteY24" fmla="*/ 152400 h 180974"/>
                <a:gd name="connsiteX25" fmla="*/ 57150 w 171450"/>
                <a:gd name="connsiteY25" fmla="*/ 138113 h 180974"/>
                <a:gd name="connsiteX26" fmla="*/ 48275 w 171450"/>
                <a:gd name="connsiteY26" fmla="*/ 114596 h 180974"/>
                <a:gd name="connsiteX27" fmla="*/ 38100 w 171450"/>
                <a:gd name="connsiteY27" fmla="*/ 85725 h 180974"/>
                <a:gd name="connsiteX28" fmla="*/ 85725 w 171450"/>
                <a:gd name="connsiteY28" fmla="*/ 38100 h 180974"/>
                <a:gd name="connsiteX29" fmla="*/ 136141 w 171450"/>
                <a:gd name="connsiteY29" fmla="*/ 21840 h 180974"/>
                <a:gd name="connsiteX30" fmla="*/ 149611 w 171450"/>
                <a:gd name="connsiteY30" fmla="*/ 21840 h 180974"/>
                <a:gd name="connsiteX31" fmla="*/ 149611 w 171450"/>
                <a:gd name="connsiteY31" fmla="*/ 35310 h 180974"/>
                <a:gd name="connsiteX32" fmla="*/ 140086 w 171450"/>
                <a:gd name="connsiteY32" fmla="*/ 44835 h 180974"/>
                <a:gd name="connsiteX33" fmla="*/ 126616 w 171450"/>
                <a:gd name="connsiteY33" fmla="*/ 44835 h 180974"/>
                <a:gd name="connsiteX34" fmla="*/ 126616 w 171450"/>
                <a:gd name="connsiteY34" fmla="*/ 31365 h 180974"/>
                <a:gd name="connsiteX35" fmla="*/ 21840 w 171450"/>
                <a:gd name="connsiteY35" fmla="*/ 21840 h 180974"/>
                <a:gd name="connsiteX36" fmla="*/ 35310 w 171450"/>
                <a:gd name="connsiteY36" fmla="*/ 21840 h 180974"/>
                <a:gd name="connsiteX37" fmla="*/ 44835 w 171450"/>
                <a:gd name="connsiteY37" fmla="*/ 31365 h 180974"/>
                <a:gd name="connsiteX38" fmla="*/ 44835 w 171450"/>
                <a:gd name="connsiteY38" fmla="*/ 44835 h 180974"/>
                <a:gd name="connsiteX39" fmla="*/ 31365 w 171450"/>
                <a:gd name="connsiteY39" fmla="*/ 44835 h 180974"/>
                <a:gd name="connsiteX40" fmla="*/ 21840 w 171450"/>
                <a:gd name="connsiteY40" fmla="*/ 35310 h 180974"/>
                <a:gd name="connsiteX41" fmla="*/ 21840 w 171450"/>
                <a:gd name="connsiteY41" fmla="*/ 21840 h 180974"/>
                <a:gd name="connsiteX42" fmla="*/ 85725 w 171450"/>
                <a:gd name="connsiteY42" fmla="*/ 0 h 180974"/>
                <a:gd name="connsiteX43" fmla="*/ 95250 w 171450"/>
                <a:gd name="connsiteY43" fmla="*/ 9525 h 180974"/>
                <a:gd name="connsiteX44" fmla="*/ 95250 w 171450"/>
                <a:gd name="connsiteY44" fmla="*/ 19050 h 180974"/>
                <a:gd name="connsiteX45" fmla="*/ 85725 w 171450"/>
                <a:gd name="connsiteY45" fmla="*/ 28575 h 180974"/>
                <a:gd name="connsiteX46" fmla="*/ 76200 w 171450"/>
                <a:gd name="connsiteY46" fmla="*/ 19050 h 180974"/>
                <a:gd name="connsiteX47" fmla="*/ 76200 w 171450"/>
                <a:gd name="connsiteY47" fmla="*/ 9525 h 180974"/>
                <a:gd name="connsiteX48" fmla="*/ 85725 w 171450"/>
                <a:gd name="connsiteY48" fmla="*/ 0 h 180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171450" h="180974">
                  <a:moveTo>
                    <a:pt x="72536" y="162210"/>
                  </a:moveTo>
                  <a:cubicBezTo>
                    <a:pt x="80449" y="164140"/>
                    <a:pt x="90933" y="164211"/>
                    <a:pt x="98923" y="162210"/>
                  </a:cubicBezTo>
                  <a:cubicBezTo>
                    <a:pt x="105617" y="160534"/>
                    <a:pt x="105617" y="166533"/>
                    <a:pt x="103600" y="172160"/>
                  </a:cubicBezTo>
                  <a:cubicBezTo>
                    <a:pt x="100950" y="179549"/>
                    <a:pt x="95451" y="180974"/>
                    <a:pt x="85726" y="180974"/>
                  </a:cubicBezTo>
                  <a:cubicBezTo>
                    <a:pt x="76000" y="180974"/>
                    <a:pt x="70501" y="179549"/>
                    <a:pt x="67852" y="172160"/>
                  </a:cubicBezTo>
                  <a:cubicBezTo>
                    <a:pt x="65835" y="166534"/>
                    <a:pt x="65835" y="160576"/>
                    <a:pt x="72536" y="162210"/>
                  </a:cubicBezTo>
                  <a:close/>
                  <a:moveTo>
                    <a:pt x="152400" y="76200"/>
                  </a:moveTo>
                  <a:lnTo>
                    <a:pt x="161925" y="76200"/>
                  </a:lnTo>
                  <a:cubicBezTo>
                    <a:pt x="167186" y="76200"/>
                    <a:pt x="171450" y="80464"/>
                    <a:pt x="171450" y="85725"/>
                  </a:cubicBezTo>
                  <a:cubicBezTo>
                    <a:pt x="171450" y="90986"/>
                    <a:pt x="167186" y="95250"/>
                    <a:pt x="161925" y="95250"/>
                  </a:cubicBezTo>
                  <a:lnTo>
                    <a:pt x="152400" y="95250"/>
                  </a:lnTo>
                  <a:cubicBezTo>
                    <a:pt x="147139" y="95250"/>
                    <a:pt x="142875" y="90986"/>
                    <a:pt x="142875" y="85725"/>
                  </a:cubicBezTo>
                  <a:cubicBezTo>
                    <a:pt x="142875" y="80464"/>
                    <a:pt x="147139" y="76200"/>
                    <a:pt x="152400" y="76200"/>
                  </a:cubicBezTo>
                  <a:close/>
                  <a:moveTo>
                    <a:pt x="9525" y="76200"/>
                  </a:moveTo>
                  <a:lnTo>
                    <a:pt x="19050" y="76200"/>
                  </a:lnTo>
                  <a:cubicBezTo>
                    <a:pt x="24310" y="76200"/>
                    <a:pt x="28575" y="80464"/>
                    <a:pt x="28575" y="85725"/>
                  </a:cubicBezTo>
                  <a:cubicBezTo>
                    <a:pt x="28575" y="90986"/>
                    <a:pt x="24310" y="95250"/>
                    <a:pt x="19050" y="95250"/>
                  </a:cubicBezTo>
                  <a:lnTo>
                    <a:pt x="9525" y="95250"/>
                  </a:lnTo>
                  <a:cubicBezTo>
                    <a:pt x="4265" y="95250"/>
                    <a:pt x="0" y="90986"/>
                    <a:pt x="0" y="85725"/>
                  </a:cubicBezTo>
                  <a:cubicBezTo>
                    <a:pt x="0" y="80464"/>
                    <a:pt x="4265" y="76200"/>
                    <a:pt x="9525" y="76200"/>
                  </a:cubicBezTo>
                  <a:close/>
                  <a:moveTo>
                    <a:pt x="85725" y="38100"/>
                  </a:moveTo>
                  <a:cubicBezTo>
                    <a:pt x="112027" y="38100"/>
                    <a:pt x="133350" y="58671"/>
                    <a:pt x="133350" y="85725"/>
                  </a:cubicBezTo>
                  <a:cubicBezTo>
                    <a:pt x="133350" y="100663"/>
                    <a:pt x="128144" y="107793"/>
                    <a:pt x="123174" y="114596"/>
                  </a:cubicBezTo>
                  <a:cubicBezTo>
                    <a:pt x="118639" y="120807"/>
                    <a:pt x="114300" y="126748"/>
                    <a:pt x="114300" y="138113"/>
                  </a:cubicBezTo>
                  <a:cubicBezTo>
                    <a:pt x="114300" y="147638"/>
                    <a:pt x="104775" y="152400"/>
                    <a:pt x="85725" y="152400"/>
                  </a:cubicBezTo>
                  <a:cubicBezTo>
                    <a:pt x="66675" y="152400"/>
                    <a:pt x="57150" y="147638"/>
                    <a:pt x="57150" y="138113"/>
                  </a:cubicBezTo>
                  <a:cubicBezTo>
                    <a:pt x="57150" y="126748"/>
                    <a:pt x="52811" y="120807"/>
                    <a:pt x="48275" y="114596"/>
                  </a:cubicBezTo>
                  <a:cubicBezTo>
                    <a:pt x="43306" y="107793"/>
                    <a:pt x="38100" y="100663"/>
                    <a:pt x="38100" y="85725"/>
                  </a:cubicBezTo>
                  <a:cubicBezTo>
                    <a:pt x="38100" y="57150"/>
                    <a:pt x="59422" y="38100"/>
                    <a:pt x="85725" y="38100"/>
                  </a:cubicBezTo>
                  <a:close/>
                  <a:moveTo>
                    <a:pt x="136141" y="21840"/>
                  </a:moveTo>
                  <a:cubicBezTo>
                    <a:pt x="139860" y="18120"/>
                    <a:pt x="145891" y="18120"/>
                    <a:pt x="149611" y="21840"/>
                  </a:cubicBezTo>
                  <a:cubicBezTo>
                    <a:pt x="153330" y="25560"/>
                    <a:pt x="153330" y="31590"/>
                    <a:pt x="149611" y="35310"/>
                  </a:cubicBezTo>
                  <a:lnTo>
                    <a:pt x="140086" y="44835"/>
                  </a:lnTo>
                  <a:cubicBezTo>
                    <a:pt x="136366" y="48555"/>
                    <a:pt x="130335" y="48555"/>
                    <a:pt x="126616" y="44835"/>
                  </a:cubicBezTo>
                  <a:cubicBezTo>
                    <a:pt x="122896" y="41115"/>
                    <a:pt x="122896" y="35085"/>
                    <a:pt x="126616" y="31365"/>
                  </a:cubicBezTo>
                  <a:close/>
                  <a:moveTo>
                    <a:pt x="21840" y="21840"/>
                  </a:moveTo>
                  <a:cubicBezTo>
                    <a:pt x="25560" y="18120"/>
                    <a:pt x="31590" y="18120"/>
                    <a:pt x="35310" y="21840"/>
                  </a:cubicBezTo>
                  <a:lnTo>
                    <a:pt x="44835" y="31365"/>
                  </a:lnTo>
                  <a:cubicBezTo>
                    <a:pt x="48555" y="35085"/>
                    <a:pt x="48555" y="41115"/>
                    <a:pt x="44835" y="44835"/>
                  </a:cubicBezTo>
                  <a:cubicBezTo>
                    <a:pt x="41115" y="48555"/>
                    <a:pt x="35085" y="48555"/>
                    <a:pt x="31365" y="44835"/>
                  </a:cubicBezTo>
                  <a:lnTo>
                    <a:pt x="21840" y="35310"/>
                  </a:lnTo>
                  <a:cubicBezTo>
                    <a:pt x="18120" y="31590"/>
                    <a:pt x="18120" y="25560"/>
                    <a:pt x="21840" y="21840"/>
                  </a:cubicBezTo>
                  <a:close/>
                  <a:moveTo>
                    <a:pt x="85725" y="0"/>
                  </a:moveTo>
                  <a:cubicBezTo>
                    <a:pt x="90986" y="0"/>
                    <a:pt x="95250" y="4265"/>
                    <a:pt x="95250" y="9525"/>
                  </a:cubicBezTo>
                  <a:lnTo>
                    <a:pt x="95250" y="19050"/>
                  </a:lnTo>
                  <a:cubicBezTo>
                    <a:pt x="95250" y="24310"/>
                    <a:pt x="90986" y="28575"/>
                    <a:pt x="85725" y="28575"/>
                  </a:cubicBezTo>
                  <a:cubicBezTo>
                    <a:pt x="80464" y="28575"/>
                    <a:pt x="76200" y="24310"/>
                    <a:pt x="76200" y="19050"/>
                  </a:cubicBezTo>
                  <a:lnTo>
                    <a:pt x="76200" y="9525"/>
                  </a:lnTo>
                  <a:cubicBezTo>
                    <a:pt x="76200" y="4265"/>
                    <a:pt x="80464" y="0"/>
                    <a:pt x="85725" y="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9C6A208F-2A8F-8640-1889-7EF3989875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560661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33" imgH="233" progId="TCLayout.ActiveDocument.1">
                  <p:embed/>
                </p:oleObj>
              </mc:Choice>
              <mc:Fallback>
                <p:oleObj name="Слайд think-cell" r:id="rId3" imgW="233" imgH="233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9C6A208F-2A8F-8640-1889-7EF3989875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Объект 2">
            <a:extLst>
              <a:ext uri="{FF2B5EF4-FFF2-40B4-BE49-F238E27FC236}">
                <a16:creationId xmlns:a16="http://schemas.microsoft.com/office/drawing/2014/main" id="{91C59567-F70E-CC32-748F-63A920CFAA0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0799" y="1520824"/>
            <a:ext cx="10911600" cy="4741864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D1B8BF84-4C88-A2BF-3322-2EC1F81B35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57744" y="6430370"/>
            <a:ext cx="907200" cy="216000"/>
          </a:xfrm>
        </p:spPr>
        <p:txBody>
          <a:bodyPr/>
          <a:lstStyle>
            <a:lvl1pPr>
              <a:defRPr>
                <a:solidFill>
                  <a:srgbClr val="5A6C7D"/>
                </a:solidFill>
              </a:defRPr>
            </a:lvl1pPr>
          </a:lstStyle>
          <a:p>
            <a:fld id="{EB5249F5-0093-48B0-B996-C4E44A87EAFB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1CD188B5-4A1B-CBD8-E7B6-3AA0E6DAFA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9764" y="411163"/>
            <a:ext cx="10910888" cy="68446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5000"/>
              </a:lnSpc>
              <a:defRPr spc="-30" baseline="0"/>
            </a:lvl1pPr>
          </a:lstStyle>
          <a:p>
            <a:r>
              <a:rPr lang="ru-RU" dirty="0"/>
              <a:t>Сформулируй заголовок </a:t>
            </a:r>
            <a:br>
              <a:rPr lang="en-US" dirty="0"/>
            </a:br>
            <a:r>
              <a:rPr lang="ru-RU" dirty="0"/>
              <a:t>слайда в 1–2 строки</a:t>
            </a:r>
          </a:p>
        </p:txBody>
      </p:sp>
      <p:graphicFrame>
        <p:nvGraphicFramePr>
          <p:cNvPr id="46" name="Таблица 46">
            <a:extLst>
              <a:ext uri="{FF2B5EF4-FFF2-40B4-BE49-F238E27FC236}">
                <a16:creationId xmlns:a16="http://schemas.microsoft.com/office/drawing/2014/main" id="{16AD7780-25A8-C111-96FC-5E75B5A0C42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51093387"/>
              </p:ext>
            </p:extLst>
          </p:nvPr>
        </p:nvGraphicFramePr>
        <p:xfrm>
          <a:off x="-2046114" y="312643"/>
          <a:ext cx="1914309" cy="2142000"/>
        </p:xfrm>
        <a:graphic>
          <a:graphicData uri="http://schemas.openxmlformats.org/drawingml/2006/table">
            <a:tbl>
              <a:tblPr/>
              <a:tblGrid>
                <a:gridCol w="532517">
                  <a:extLst>
                    <a:ext uri="{9D8B030D-6E8A-4147-A177-3AD203B41FA5}">
                      <a16:colId xmlns:a16="http://schemas.microsoft.com/office/drawing/2014/main" val="2594385797"/>
                    </a:ext>
                  </a:extLst>
                </a:gridCol>
                <a:gridCol w="1381792">
                  <a:extLst>
                    <a:ext uri="{9D8B030D-6E8A-4147-A177-3AD203B41FA5}">
                      <a16:colId xmlns:a16="http://schemas.microsoft.com/office/drawing/2014/main" val="1017723076"/>
                    </a:ext>
                  </a:extLst>
                </a:gridCol>
              </a:tblGrid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44+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0" spc="-40" baseline="0"/>
                        <a:t>акцентные цифр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8329665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32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заголовки и самые </a:t>
                      </a:r>
                      <a:br>
                        <a:rPr lang="ru-RU" sz="1000" spc="-40" baseline="0"/>
                      </a:br>
                      <a:r>
                        <a:rPr lang="ru-RU" sz="1000" spc="-40" baseline="0"/>
                        <a:t>важные данные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17697917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24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8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подзаголовки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72780009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18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4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основной текст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0685745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4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2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торой уровень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текста (менее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ажная информация)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1997433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0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 dirty="0">
                          <a:solidFill>
                            <a:schemeClr val="tx1"/>
                          </a:solidFill>
                        </a:rPr>
                        <a:t>сноски, пояснения, </a:t>
                      </a:r>
                      <a:br>
                        <a:rPr lang="en-US" sz="1000" spc="-40" baseline="0" dirty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 dirty="0">
                          <a:solidFill>
                            <a:schemeClr val="tx1"/>
                          </a:solidFill>
                        </a:rPr>
                        <a:t>большие таблиц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76660845"/>
                  </a:ext>
                </a:extLst>
              </a:tr>
            </a:tbl>
          </a:graphicData>
        </a:graphic>
      </p:graphicFrame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3B3C4C6E-EB0B-0D4C-A48E-6F561F737B30}"/>
              </a:ext>
            </a:extLst>
          </p:cNvPr>
          <p:cNvGrpSpPr/>
          <p:nvPr userDrawn="1"/>
        </p:nvGrpSpPr>
        <p:grpSpPr>
          <a:xfrm>
            <a:off x="-2138458" y="3080607"/>
            <a:ext cx="1935384" cy="3777393"/>
            <a:chOff x="-2138458" y="3080607"/>
            <a:chExt cx="1935384" cy="3777393"/>
          </a:xfrm>
        </p:grpSpPr>
        <p:grpSp>
          <p:nvGrpSpPr>
            <p:cNvPr id="9" name="Группа 8">
              <a:extLst>
                <a:ext uri="{FF2B5EF4-FFF2-40B4-BE49-F238E27FC236}">
                  <a16:creationId xmlns:a16="http://schemas.microsoft.com/office/drawing/2014/main" id="{CEFD538C-FA8E-7FEB-7646-11CBD8E487D7}"/>
                </a:ext>
              </a:extLst>
            </p:cNvPr>
            <p:cNvGrpSpPr/>
            <p:nvPr userDrawn="1"/>
          </p:nvGrpSpPr>
          <p:grpSpPr>
            <a:xfrm>
              <a:off x="-2131314" y="5782119"/>
              <a:ext cx="1928240" cy="1075881"/>
              <a:chOff x="-2131314" y="5782119"/>
              <a:chExt cx="1928240" cy="1075881"/>
            </a:xfrm>
          </p:grpSpPr>
          <p:sp>
            <p:nvSpPr>
              <p:cNvPr id="90" name="Прямоугольник: скругленные углы 89">
                <a:extLst>
                  <a:ext uri="{FF2B5EF4-FFF2-40B4-BE49-F238E27FC236}">
                    <a16:creationId xmlns:a16="http://schemas.microsoft.com/office/drawing/2014/main" id="{9FBBDF2D-B6AA-7C42-E7A8-1F2C6E580F57}"/>
                  </a:ext>
                </a:extLst>
              </p:cNvPr>
              <p:cNvSpPr/>
              <p:nvPr/>
            </p:nvSpPr>
            <p:spPr>
              <a:xfrm>
                <a:off x="-2131314" y="5782119"/>
                <a:ext cx="1928240" cy="1075881"/>
              </a:xfrm>
              <a:prstGeom prst="roundRect">
                <a:avLst>
                  <a:gd name="adj" fmla="val 12985"/>
                </a:avLst>
              </a:prstGeom>
              <a:solidFill>
                <a:schemeClr val="bg1">
                  <a:alpha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92" name="TextBox 91">
                <a:extLst>
                  <a:ext uri="{FF2B5EF4-FFF2-40B4-BE49-F238E27FC236}">
                    <a16:creationId xmlns:a16="http://schemas.microsoft.com/office/drawing/2014/main" id="{F9B3039A-0474-03BA-F180-3615605F4E3F}"/>
                  </a:ext>
                </a:extLst>
              </p:cNvPr>
              <p:cNvSpPr txBox="1"/>
              <p:nvPr/>
            </p:nvSpPr>
            <p:spPr>
              <a:xfrm>
                <a:off x="-1788338" y="5868204"/>
                <a:ext cx="1155882" cy="151095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pPr algn="l">
                  <a:lnSpc>
                    <a:spcPct val="90000"/>
                  </a:lnSpc>
                </a:pPr>
                <a:r>
                  <a:rPr lang="ru-RU" sz="1000" b="1">
                    <a:solidFill>
                      <a:schemeClr val="accent1"/>
                    </a:solidFill>
                  </a:rPr>
                  <a:t>Шаблон </a:t>
                </a:r>
                <a:r>
                  <a:rPr lang="en-US" sz="1000" b="1">
                    <a:solidFill>
                      <a:schemeClr val="accent1"/>
                    </a:solidFill>
                  </a:rPr>
                  <a:t>Ozon</a:t>
                </a:r>
                <a:endParaRPr lang="ru-RU" sz="1000" b="1">
                  <a:solidFill>
                    <a:schemeClr val="accent1"/>
                  </a:solidFill>
                </a:endParaRPr>
              </a:p>
            </p:txBody>
          </p:sp>
          <p:sp>
            <p:nvSpPr>
              <p:cNvPr id="95" name="Рисунок 93">
                <a:extLst>
                  <a:ext uri="{FF2B5EF4-FFF2-40B4-BE49-F238E27FC236}">
                    <a16:creationId xmlns:a16="http://schemas.microsoft.com/office/drawing/2014/main" id="{73304B93-8BA8-B417-7E41-6F569E8C14A0}"/>
                  </a:ext>
                </a:extLst>
              </p:cNvPr>
              <p:cNvSpPr/>
              <p:nvPr/>
            </p:nvSpPr>
            <p:spPr>
              <a:xfrm>
                <a:off x="-2004963" y="5853908"/>
                <a:ext cx="161099" cy="161099"/>
              </a:xfrm>
              <a:custGeom>
                <a:avLst/>
                <a:gdLst>
                  <a:gd name="connsiteX0" fmla="*/ 85725 w 171450"/>
                  <a:gd name="connsiteY0" fmla="*/ 171450 h 171450"/>
                  <a:gd name="connsiteX1" fmla="*/ 171450 w 171450"/>
                  <a:gd name="connsiteY1" fmla="*/ 85725 h 171450"/>
                  <a:gd name="connsiteX2" fmla="*/ 85725 w 171450"/>
                  <a:gd name="connsiteY2" fmla="*/ 0 h 171450"/>
                  <a:gd name="connsiteX3" fmla="*/ 0 w 171450"/>
                  <a:gd name="connsiteY3" fmla="*/ 85725 h 171450"/>
                  <a:gd name="connsiteX4" fmla="*/ 85725 w 171450"/>
                  <a:gd name="connsiteY4" fmla="*/ 171450 h 171450"/>
                  <a:gd name="connsiteX5" fmla="*/ 130560 w 171450"/>
                  <a:gd name="connsiteY5" fmla="*/ 73410 h 171450"/>
                  <a:gd name="connsiteX6" fmla="*/ 82935 w 171450"/>
                  <a:gd name="connsiteY6" fmla="*/ 121035 h 171450"/>
                  <a:gd name="connsiteX7" fmla="*/ 69465 w 171450"/>
                  <a:gd name="connsiteY7" fmla="*/ 121035 h 171450"/>
                  <a:gd name="connsiteX8" fmla="*/ 40890 w 171450"/>
                  <a:gd name="connsiteY8" fmla="*/ 92460 h 171450"/>
                  <a:gd name="connsiteX9" fmla="*/ 40890 w 171450"/>
                  <a:gd name="connsiteY9" fmla="*/ 78990 h 171450"/>
                  <a:gd name="connsiteX10" fmla="*/ 54360 w 171450"/>
                  <a:gd name="connsiteY10" fmla="*/ 78990 h 171450"/>
                  <a:gd name="connsiteX11" fmla="*/ 76200 w 171450"/>
                  <a:gd name="connsiteY11" fmla="*/ 100830 h 171450"/>
                  <a:gd name="connsiteX12" fmla="*/ 117090 w 171450"/>
                  <a:gd name="connsiteY12" fmla="*/ 59940 h 171450"/>
                  <a:gd name="connsiteX13" fmla="*/ 130560 w 171450"/>
                  <a:gd name="connsiteY13" fmla="*/ 59940 h 171450"/>
                  <a:gd name="connsiteX14" fmla="*/ 130560 w 171450"/>
                  <a:gd name="connsiteY14" fmla="*/ 73410 h 171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71450" h="171450">
                    <a:moveTo>
                      <a:pt x="85725" y="171450"/>
                    </a:moveTo>
                    <a:cubicBezTo>
                      <a:pt x="138915" y="171450"/>
                      <a:pt x="171450" y="138915"/>
                      <a:pt x="171450" y="85725"/>
                    </a:cubicBezTo>
                    <a:cubicBezTo>
                      <a:pt x="171450" y="32535"/>
                      <a:pt x="138915" y="0"/>
                      <a:pt x="85725" y="0"/>
                    </a:cubicBezTo>
                    <a:cubicBezTo>
                      <a:pt x="32535" y="0"/>
                      <a:pt x="0" y="32535"/>
                      <a:pt x="0" y="85725"/>
                    </a:cubicBezTo>
                    <a:cubicBezTo>
                      <a:pt x="0" y="138915"/>
                      <a:pt x="32535" y="171450"/>
                      <a:pt x="85725" y="171450"/>
                    </a:cubicBezTo>
                    <a:close/>
                    <a:moveTo>
                      <a:pt x="130560" y="73410"/>
                    </a:moveTo>
                    <a:lnTo>
                      <a:pt x="82935" y="121035"/>
                    </a:lnTo>
                    <a:cubicBezTo>
                      <a:pt x="79216" y="124755"/>
                      <a:pt x="73184" y="124755"/>
                      <a:pt x="69465" y="121035"/>
                    </a:cubicBezTo>
                    <a:lnTo>
                      <a:pt x="40890" y="92460"/>
                    </a:lnTo>
                    <a:cubicBezTo>
                      <a:pt x="37170" y="88741"/>
                      <a:pt x="37170" y="82709"/>
                      <a:pt x="40890" y="78990"/>
                    </a:cubicBezTo>
                    <a:cubicBezTo>
                      <a:pt x="44610" y="75270"/>
                      <a:pt x="50640" y="75270"/>
                      <a:pt x="54360" y="78990"/>
                    </a:cubicBezTo>
                    <a:lnTo>
                      <a:pt x="76200" y="100830"/>
                    </a:lnTo>
                    <a:lnTo>
                      <a:pt x="117090" y="59940"/>
                    </a:lnTo>
                    <a:cubicBezTo>
                      <a:pt x="120809" y="56220"/>
                      <a:pt x="126841" y="56220"/>
                      <a:pt x="130560" y="59940"/>
                    </a:cubicBezTo>
                    <a:cubicBezTo>
                      <a:pt x="134280" y="63660"/>
                      <a:pt x="134280" y="69691"/>
                      <a:pt x="130560" y="734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96" name="TextBox 95">
                <a:extLst>
                  <a:ext uri="{FF2B5EF4-FFF2-40B4-BE49-F238E27FC236}">
                    <a16:creationId xmlns:a16="http://schemas.microsoft.com/office/drawing/2014/main" id="{9A64D423-6D96-E041-2DD6-6B8FE1A7051B}"/>
                  </a:ext>
                </a:extLst>
              </p:cNvPr>
              <p:cNvSpPr txBox="1"/>
              <p:nvPr/>
            </p:nvSpPr>
            <p:spPr>
              <a:xfrm>
                <a:off x="-2004962" y="6072106"/>
                <a:ext cx="1687587" cy="60024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l">
                  <a:lnSpc>
                    <a:spcPct val="110000"/>
                  </a:lnSpc>
                </a:pPr>
                <a:r>
                  <a:rPr lang="ru-RU" sz="900" spc="-30" baseline="0">
                    <a:solidFill>
                      <a:schemeClr val="tx2"/>
                    </a:solidFill>
                  </a:rPr>
                  <a:t>Если нужно больше материалов: </a:t>
                </a:r>
                <a:r>
                  <a:rPr lang="ru-RU" sz="900" b="1" spc="-30" baseline="0">
                    <a:solidFill>
                      <a:schemeClr val="tx2"/>
                    </a:solidFill>
                  </a:rPr>
                  <a:t>правое меню </a:t>
                </a:r>
                <a:r>
                  <a:rPr lang="en-US" sz="900" b="1" spc="-30" baseline="0">
                    <a:solidFill>
                      <a:schemeClr val="tx2"/>
                    </a:solidFill>
                  </a:rPr>
                  <a:t>Staff — Brand </a:t>
                </a:r>
                <a:r>
                  <a:rPr lang="ru-RU" sz="900" b="1" spc="-30" baseline="0">
                    <a:solidFill>
                      <a:schemeClr val="tx2"/>
                    </a:solidFill>
                  </a:rPr>
                  <a:t>— Всё для презентаций. </a:t>
                </a:r>
                <a:r>
                  <a:rPr lang="ru-RU" sz="900" b="0" spc="-30" baseline="0">
                    <a:solidFill>
                      <a:schemeClr val="tx2"/>
                    </a:solidFill>
                  </a:rPr>
                  <a:t>Или пиши нам на </a:t>
                </a:r>
                <a:r>
                  <a:rPr lang="en-US" sz="900" b="0" spc="-30" baseline="0">
                    <a:solidFill>
                      <a:schemeClr val="tx2"/>
                    </a:solidFill>
                  </a:rPr>
                  <a:t>presentations@ozon.ru.</a:t>
                </a:r>
                <a:r>
                  <a:rPr lang="ru-RU" sz="900" b="0" spc="-30" baseline="0">
                    <a:solidFill>
                      <a:schemeClr val="tx2"/>
                    </a:solidFill>
                  </a:rPr>
                  <a:t> </a:t>
                </a:r>
              </a:p>
            </p:txBody>
          </p:sp>
        </p:grpSp>
        <p:grpSp>
          <p:nvGrpSpPr>
            <p:cNvPr id="2" name="Группа 1">
              <a:extLst>
                <a:ext uri="{FF2B5EF4-FFF2-40B4-BE49-F238E27FC236}">
                  <a16:creationId xmlns:a16="http://schemas.microsoft.com/office/drawing/2014/main" id="{CA252D23-0362-3ABC-AED3-B98F27A20B40}"/>
                </a:ext>
              </a:extLst>
            </p:cNvPr>
            <p:cNvGrpSpPr/>
            <p:nvPr userDrawn="1"/>
          </p:nvGrpSpPr>
          <p:grpSpPr>
            <a:xfrm>
              <a:off x="-2138458" y="3080607"/>
              <a:ext cx="1928241" cy="2523683"/>
              <a:chOff x="-2138458" y="3070447"/>
              <a:chExt cx="1928241" cy="2523683"/>
            </a:xfrm>
          </p:grpSpPr>
          <p:sp>
            <p:nvSpPr>
              <p:cNvPr id="58" name="Прямоугольник: скругленные углы 57">
                <a:extLst>
                  <a:ext uri="{FF2B5EF4-FFF2-40B4-BE49-F238E27FC236}">
                    <a16:creationId xmlns:a16="http://schemas.microsoft.com/office/drawing/2014/main" id="{F42E0623-38F7-A50B-7CCA-8FA49D784B02}"/>
                  </a:ext>
                </a:extLst>
              </p:cNvPr>
              <p:cNvSpPr/>
              <p:nvPr/>
            </p:nvSpPr>
            <p:spPr>
              <a:xfrm>
                <a:off x="-2138458" y="3125312"/>
                <a:ext cx="1928241" cy="2468818"/>
              </a:xfrm>
              <a:prstGeom prst="roundRect">
                <a:avLst>
                  <a:gd name="adj" fmla="val 5926"/>
                </a:avLst>
              </a:prstGeom>
              <a:solidFill>
                <a:schemeClr val="bg1">
                  <a:alpha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59" name="Прямоугольник: скругленные верхние углы 58">
                <a:extLst>
                  <a:ext uri="{FF2B5EF4-FFF2-40B4-BE49-F238E27FC236}">
                    <a16:creationId xmlns:a16="http://schemas.microsoft.com/office/drawing/2014/main" id="{8F041766-36F9-9509-C8B4-40232A368A7F}"/>
                  </a:ext>
                </a:extLst>
              </p:cNvPr>
              <p:cNvSpPr/>
              <p:nvPr/>
            </p:nvSpPr>
            <p:spPr>
              <a:xfrm>
                <a:off x="-2136930" y="3070447"/>
                <a:ext cx="1926713" cy="2880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accent6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36000" rtlCol="0" anchor="ctr"/>
              <a:lstStyle/>
              <a:p>
                <a:pPr algn="ctr"/>
                <a:r>
                  <a:rPr lang="ru-RU" sz="1100" b="1">
                    <a:solidFill>
                      <a:schemeClr val="tx1"/>
                    </a:solidFill>
                  </a:rPr>
                  <a:t>Цвета </a:t>
                </a:r>
                <a:r>
                  <a:rPr lang="en-US" sz="1100" b="1">
                    <a:solidFill>
                      <a:schemeClr val="tx1"/>
                    </a:solidFill>
                  </a:rPr>
                  <a:t>Ozon</a:t>
                </a:r>
                <a:endParaRPr lang="ru-RU" sz="1100" b="1">
                  <a:solidFill>
                    <a:schemeClr val="tx1"/>
                  </a:solidFill>
                </a:endParaRPr>
              </a:p>
            </p:txBody>
          </p:sp>
          <p:sp>
            <p:nvSpPr>
              <p:cNvPr id="60" name="TextBox 59">
                <a:extLst>
                  <a:ext uri="{FF2B5EF4-FFF2-40B4-BE49-F238E27FC236}">
                    <a16:creationId xmlns:a16="http://schemas.microsoft.com/office/drawing/2014/main" id="{BE8DE30C-D978-9641-8FAD-C2B48D85CE79}"/>
                  </a:ext>
                </a:extLst>
              </p:cNvPr>
              <p:cNvSpPr txBox="1"/>
              <p:nvPr/>
            </p:nvSpPr>
            <p:spPr>
              <a:xfrm>
                <a:off x="-2003446" y="3412239"/>
                <a:ext cx="1638525" cy="17162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l"/>
                <a:r>
                  <a:rPr lang="ru-RU" sz="1000" dirty="0"/>
                  <a:t>Цвет текста </a:t>
                </a:r>
              </a:p>
            </p:txBody>
          </p:sp>
          <p:sp>
            <p:nvSpPr>
              <p:cNvPr id="62" name="Прямоугольник: скругленные углы 61">
                <a:extLst>
                  <a:ext uri="{FF2B5EF4-FFF2-40B4-BE49-F238E27FC236}">
                    <a16:creationId xmlns:a16="http://schemas.microsoft.com/office/drawing/2014/main" id="{048EF23C-A368-A68F-C5E0-1143EA66DF21}"/>
                  </a:ext>
                </a:extLst>
              </p:cNvPr>
              <p:cNvSpPr/>
              <p:nvPr userDrawn="1"/>
            </p:nvSpPr>
            <p:spPr>
              <a:xfrm>
                <a:off x="-2004344" y="3611632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tx1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63" name="Прямоугольник: скругленные углы 62">
                <a:extLst>
                  <a:ext uri="{FF2B5EF4-FFF2-40B4-BE49-F238E27FC236}">
                    <a16:creationId xmlns:a16="http://schemas.microsoft.com/office/drawing/2014/main" id="{A71F8CBF-6A2F-812E-6B09-B4F91F87DC56}"/>
                  </a:ext>
                </a:extLst>
              </p:cNvPr>
              <p:cNvSpPr/>
              <p:nvPr/>
            </p:nvSpPr>
            <p:spPr>
              <a:xfrm>
                <a:off x="-1738339" y="3611632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accent6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64" name="Прямоугольник: скругленные углы 63">
                <a:extLst>
                  <a:ext uri="{FF2B5EF4-FFF2-40B4-BE49-F238E27FC236}">
                    <a16:creationId xmlns:a16="http://schemas.microsoft.com/office/drawing/2014/main" id="{5D36134D-A530-1A43-8E23-7A1EA29FD974}"/>
                  </a:ext>
                </a:extLst>
              </p:cNvPr>
              <p:cNvSpPr/>
              <p:nvPr/>
            </p:nvSpPr>
            <p:spPr>
              <a:xfrm>
                <a:off x="-1739900" y="4646897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accent3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69" name="Прямоугольник: скругленные углы 68">
                <a:extLst>
                  <a:ext uri="{FF2B5EF4-FFF2-40B4-BE49-F238E27FC236}">
                    <a16:creationId xmlns:a16="http://schemas.microsoft.com/office/drawing/2014/main" id="{48DD726A-8157-51D0-7992-ED0334CAEE15}"/>
                  </a:ext>
                </a:extLst>
              </p:cNvPr>
              <p:cNvSpPr/>
              <p:nvPr/>
            </p:nvSpPr>
            <p:spPr>
              <a:xfrm>
                <a:off x="-2004963" y="4646897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accent1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70" name="TextBox 69">
                <a:extLst>
                  <a:ext uri="{FF2B5EF4-FFF2-40B4-BE49-F238E27FC236}">
                    <a16:creationId xmlns:a16="http://schemas.microsoft.com/office/drawing/2014/main" id="{8230E83E-9184-027A-2DD2-219E747112A8}"/>
                  </a:ext>
                </a:extLst>
              </p:cNvPr>
              <p:cNvSpPr txBox="1"/>
              <p:nvPr/>
            </p:nvSpPr>
            <p:spPr>
              <a:xfrm>
                <a:off x="-2003446" y="3935644"/>
                <a:ext cx="1638525" cy="17162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l"/>
                <a:r>
                  <a:rPr lang="ru-RU" sz="1000"/>
                  <a:t>Цвет больших плашек</a:t>
                </a:r>
              </a:p>
            </p:txBody>
          </p:sp>
          <p:sp>
            <p:nvSpPr>
              <p:cNvPr id="71" name="Прямоугольник: скругленные углы 70">
                <a:extLst>
                  <a:ext uri="{FF2B5EF4-FFF2-40B4-BE49-F238E27FC236}">
                    <a16:creationId xmlns:a16="http://schemas.microsoft.com/office/drawing/2014/main" id="{0C730AAB-CD5C-40B7-905D-4A580D2BC0B4}"/>
                  </a:ext>
                </a:extLst>
              </p:cNvPr>
              <p:cNvSpPr/>
              <p:nvPr/>
            </p:nvSpPr>
            <p:spPr>
              <a:xfrm>
                <a:off x="-1209774" y="4131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accent2">
                  <a:lumMod val="20000"/>
                  <a:lumOff val="80000"/>
                </a:schemeClr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72" name="Прямоугольник: скругленные углы 71">
                <a:extLst>
                  <a:ext uri="{FF2B5EF4-FFF2-40B4-BE49-F238E27FC236}">
                    <a16:creationId xmlns:a16="http://schemas.microsoft.com/office/drawing/2014/main" id="{FB72CAE4-9A5F-F061-A1FA-1E7CF355F8E5}"/>
                  </a:ext>
                </a:extLst>
              </p:cNvPr>
              <p:cNvSpPr/>
              <p:nvPr/>
            </p:nvSpPr>
            <p:spPr>
              <a:xfrm>
                <a:off x="-2004963" y="4131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accent6">
                  <a:lumMod val="20000"/>
                  <a:lumOff val="80000"/>
                </a:schemeClr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75" name="Прямоугольник: скругленные углы 74">
                <a:extLst>
                  <a:ext uri="{FF2B5EF4-FFF2-40B4-BE49-F238E27FC236}">
                    <a16:creationId xmlns:a16="http://schemas.microsoft.com/office/drawing/2014/main" id="{EB57B6F5-6B09-9952-5AEF-46221A63E724}"/>
                  </a:ext>
                </a:extLst>
              </p:cNvPr>
              <p:cNvSpPr/>
              <p:nvPr/>
            </p:nvSpPr>
            <p:spPr>
              <a:xfrm>
                <a:off x="-1475201" y="4131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accent5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9" name="TextBox 78">
                <a:extLst>
                  <a:ext uri="{FF2B5EF4-FFF2-40B4-BE49-F238E27FC236}">
                    <a16:creationId xmlns:a16="http://schemas.microsoft.com/office/drawing/2014/main" id="{75EA4B5D-C619-1C5B-4B9C-8E37163B174C}"/>
                  </a:ext>
                </a:extLst>
              </p:cNvPr>
              <p:cNvSpPr txBox="1"/>
              <p:nvPr/>
            </p:nvSpPr>
            <p:spPr>
              <a:xfrm>
                <a:off x="-2003446" y="4451492"/>
                <a:ext cx="1638525" cy="17162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l"/>
                <a:r>
                  <a:rPr lang="ru-RU" sz="1000"/>
                  <a:t>Цвета маленьких плашек</a:t>
                </a:r>
              </a:p>
            </p:txBody>
          </p:sp>
          <p:sp>
            <p:nvSpPr>
              <p:cNvPr id="83" name="Прямоугольник: скругленные углы 82">
                <a:extLst>
                  <a:ext uri="{FF2B5EF4-FFF2-40B4-BE49-F238E27FC236}">
                    <a16:creationId xmlns:a16="http://schemas.microsoft.com/office/drawing/2014/main" id="{003CEAB0-FB45-E651-28CB-C992E96682AE}"/>
                  </a:ext>
                </a:extLst>
              </p:cNvPr>
              <p:cNvSpPr/>
              <p:nvPr userDrawn="1"/>
            </p:nvSpPr>
            <p:spPr>
              <a:xfrm>
                <a:off x="-1739900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B7EDC9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84" name="Прямоугольник: скругленные углы 83">
                <a:extLst>
                  <a:ext uri="{FF2B5EF4-FFF2-40B4-BE49-F238E27FC236}">
                    <a16:creationId xmlns:a16="http://schemas.microsoft.com/office/drawing/2014/main" id="{D8A87001-7504-170C-42DA-1C8955C7E5E9}"/>
                  </a:ext>
                </a:extLst>
              </p:cNvPr>
              <p:cNvSpPr/>
              <p:nvPr/>
            </p:nvSpPr>
            <p:spPr>
              <a:xfrm>
                <a:off x="-1474837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FFA800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85" name="Прямоугольник: скругленные углы 84">
                <a:extLst>
                  <a:ext uri="{FF2B5EF4-FFF2-40B4-BE49-F238E27FC236}">
                    <a16:creationId xmlns:a16="http://schemas.microsoft.com/office/drawing/2014/main" id="{4115BFEA-91B0-7165-C99B-6D9CA6EE0ECB}"/>
                  </a:ext>
                </a:extLst>
              </p:cNvPr>
              <p:cNvSpPr/>
              <p:nvPr/>
            </p:nvSpPr>
            <p:spPr>
              <a:xfrm>
                <a:off x="-2004963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10C44C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86" name="TextBox 85">
                <a:extLst>
                  <a:ext uri="{FF2B5EF4-FFF2-40B4-BE49-F238E27FC236}">
                    <a16:creationId xmlns:a16="http://schemas.microsoft.com/office/drawing/2014/main" id="{A6B2DE75-2183-A2E6-268C-6B4288D2864C}"/>
                  </a:ext>
                </a:extLst>
              </p:cNvPr>
              <p:cNvSpPr txBox="1"/>
              <p:nvPr/>
            </p:nvSpPr>
            <p:spPr>
              <a:xfrm>
                <a:off x="-2003446" y="4973480"/>
                <a:ext cx="1638525" cy="17162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l"/>
                <a:r>
                  <a:rPr lang="ru-RU" sz="900"/>
                  <a:t>Рост / падение показателей</a:t>
                </a:r>
              </a:p>
            </p:txBody>
          </p:sp>
          <p:sp>
            <p:nvSpPr>
              <p:cNvPr id="14" name="Прямоугольник: скругленные углы 13">
                <a:extLst>
                  <a:ext uri="{FF2B5EF4-FFF2-40B4-BE49-F238E27FC236}">
                    <a16:creationId xmlns:a16="http://schemas.microsoft.com/office/drawing/2014/main" id="{AC3E90A0-A83D-7E29-F145-AA600291AE0C}"/>
                  </a:ext>
                </a:extLst>
              </p:cNvPr>
              <p:cNvSpPr/>
              <p:nvPr/>
            </p:nvSpPr>
            <p:spPr>
              <a:xfrm>
                <a:off x="-944711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F53C14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5" name="Прямоугольник: скругленные углы 14">
                <a:extLst>
                  <a:ext uri="{FF2B5EF4-FFF2-40B4-BE49-F238E27FC236}">
                    <a16:creationId xmlns:a16="http://schemas.microsoft.com/office/drawing/2014/main" id="{B99D43E0-49F1-8209-4F98-5262F28AC1A9}"/>
                  </a:ext>
                </a:extLst>
              </p:cNvPr>
              <p:cNvSpPr/>
              <p:nvPr/>
            </p:nvSpPr>
            <p:spPr>
              <a:xfrm>
                <a:off x="-679648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FCC4B8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6" name="Прямоугольник: скругленные углы 15">
                <a:extLst>
                  <a:ext uri="{FF2B5EF4-FFF2-40B4-BE49-F238E27FC236}">
                    <a16:creationId xmlns:a16="http://schemas.microsoft.com/office/drawing/2014/main" id="{BCEC3CD9-44E1-EECA-E818-76B9BFE7DD61}"/>
                  </a:ext>
                </a:extLst>
              </p:cNvPr>
              <p:cNvSpPr/>
              <p:nvPr/>
            </p:nvSpPr>
            <p:spPr>
              <a:xfrm>
                <a:off x="-1209774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FFE5B2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1" name="Прямоугольник: скругленные углы 20">
                <a:extLst>
                  <a:ext uri="{FF2B5EF4-FFF2-40B4-BE49-F238E27FC236}">
                    <a16:creationId xmlns:a16="http://schemas.microsoft.com/office/drawing/2014/main" id="{543906E8-9B34-89C2-4269-843FAD6EA354}"/>
                  </a:ext>
                </a:extLst>
              </p:cNvPr>
              <p:cNvSpPr/>
              <p:nvPr userDrawn="1"/>
            </p:nvSpPr>
            <p:spPr>
              <a:xfrm>
                <a:off x="-944711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F53C14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2" name="Прямоугольник: скругленные углы 21">
                <a:extLst>
                  <a:ext uri="{FF2B5EF4-FFF2-40B4-BE49-F238E27FC236}">
                    <a16:creationId xmlns:a16="http://schemas.microsoft.com/office/drawing/2014/main" id="{C8C80097-0ECD-AAAD-2C0F-1869371B37D0}"/>
                  </a:ext>
                </a:extLst>
              </p:cNvPr>
              <p:cNvSpPr/>
              <p:nvPr userDrawn="1"/>
            </p:nvSpPr>
            <p:spPr>
              <a:xfrm>
                <a:off x="-679648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FCC4B8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3" name="Прямоугольник: скругленные углы 22">
                <a:extLst>
                  <a:ext uri="{FF2B5EF4-FFF2-40B4-BE49-F238E27FC236}">
                    <a16:creationId xmlns:a16="http://schemas.microsoft.com/office/drawing/2014/main" id="{AB934DEE-0052-5D57-1578-12DF5ADB4828}"/>
                  </a:ext>
                </a:extLst>
              </p:cNvPr>
              <p:cNvSpPr/>
              <p:nvPr userDrawn="1"/>
            </p:nvSpPr>
            <p:spPr>
              <a:xfrm>
                <a:off x="-1209774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FFE5B2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52" name="Прямоугольник: скругленные углы 79">
                <a:extLst>
                  <a:ext uri="{FF2B5EF4-FFF2-40B4-BE49-F238E27FC236}">
                    <a16:creationId xmlns:a16="http://schemas.microsoft.com/office/drawing/2014/main" id="{4D92696F-DED9-0846-BD85-2E730744F4B6}"/>
                  </a:ext>
                </a:extLst>
              </p:cNvPr>
              <p:cNvSpPr/>
              <p:nvPr userDrawn="1"/>
            </p:nvSpPr>
            <p:spPr>
              <a:xfrm>
                <a:off x="-1735356" y="4136975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bg1"/>
              </a:solidFill>
              <a:ln w="12700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53" name="Прямоугольник: скругленные углы 63">
                <a:extLst>
                  <a:ext uri="{FF2B5EF4-FFF2-40B4-BE49-F238E27FC236}">
                    <a16:creationId xmlns:a16="http://schemas.microsoft.com/office/drawing/2014/main" id="{7C96BD48-7945-6540-9642-8C6F2D64646E}"/>
                  </a:ext>
                </a:extLst>
              </p:cNvPr>
              <p:cNvSpPr/>
              <p:nvPr userDrawn="1"/>
            </p:nvSpPr>
            <p:spPr>
              <a:xfrm>
                <a:off x="-1476289" y="4646897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accent2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</p:grpSp>
      <p:sp>
        <p:nvSpPr>
          <p:cNvPr id="45" name="Нижний колонтитул 4">
            <a:extLst>
              <a:ext uri="{FF2B5EF4-FFF2-40B4-BE49-F238E27FC236}">
                <a16:creationId xmlns:a16="http://schemas.microsoft.com/office/drawing/2014/main" id="{E640122E-D722-FB4B-A1F8-B1FDEA3ACD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458800" y="6465600"/>
            <a:ext cx="7274114" cy="144500"/>
          </a:xfrm>
        </p:spPr>
        <p:txBody>
          <a:bodyPr anchor="b"/>
          <a:lstStyle>
            <a:lvl1pPr>
              <a:defRPr sz="1000">
                <a:solidFill>
                  <a:srgbClr val="5A6C7D"/>
                </a:solidFill>
              </a:defRPr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889500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8">
          <p15:clr>
            <a:srgbClr val="F26B43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title_ligh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9C6A208F-2A8F-8640-1889-7EF3989875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560661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33" imgH="233" progId="TCLayout.ActiveDocument.1">
                  <p:embed/>
                </p:oleObj>
              </mc:Choice>
              <mc:Fallback>
                <p:oleObj name="Слайд think-cell" r:id="rId3" imgW="233" imgH="233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9C6A208F-2A8F-8640-1889-7EF3989875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Объект 2">
            <a:extLst>
              <a:ext uri="{FF2B5EF4-FFF2-40B4-BE49-F238E27FC236}">
                <a16:creationId xmlns:a16="http://schemas.microsoft.com/office/drawing/2014/main" id="{91C59567-F70E-CC32-748F-63A920CFAA0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763" y="1520824"/>
            <a:ext cx="10910887" cy="4741200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2985CD6E-087D-7D18-E079-FFF35855D7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458800" y="6465600"/>
            <a:ext cx="7274114" cy="144500"/>
          </a:xfrm>
        </p:spPr>
        <p:txBody>
          <a:bodyPr anchor="b"/>
          <a:lstStyle>
            <a:lvl1pPr>
              <a:defRPr sz="1000">
                <a:solidFill>
                  <a:srgbClr val="5A6C7D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D1B8BF84-4C88-A2BF-3322-2EC1F81B35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56000" y="6429600"/>
            <a:ext cx="908050" cy="216000"/>
          </a:xfrm>
        </p:spPr>
        <p:txBody>
          <a:bodyPr/>
          <a:lstStyle>
            <a:lvl1pPr>
              <a:defRPr>
                <a:solidFill>
                  <a:srgbClr val="5A6C7D"/>
                </a:solidFill>
              </a:defRPr>
            </a:lvl1pPr>
          </a:lstStyle>
          <a:p>
            <a:fld id="{EB5249F5-0093-48B0-B996-C4E44A87EAFB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1CD188B5-4A1B-CBD8-E7B6-3AA0E6DAFA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9764" y="411164"/>
            <a:ext cx="10910888" cy="35885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5000"/>
              </a:lnSpc>
              <a:defRPr spc="-30" baseline="0"/>
            </a:lvl1pPr>
          </a:lstStyle>
          <a:p>
            <a:r>
              <a:rPr lang="ru-RU" dirty="0"/>
              <a:t>Сформулируй заголовок слайда в 1 строку</a:t>
            </a:r>
          </a:p>
        </p:txBody>
      </p:sp>
      <p:sp>
        <p:nvSpPr>
          <p:cNvPr id="11" name="Текст 10">
            <a:extLst>
              <a:ext uri="{FF2B5EF4-FFF2-40B4-BE49-F238E27FC236}">
                <a16:creationId xmlns:a16="http://schemas.microsoft.com/office/drawing/2014/main" id="{FAE66B39-11DA-D324-553B-5881569B312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9763" y="833072"/>
            <a:ext cx="10910887" cy="358858"/>
          </a:xfrm>
        </p:spPr>
        <p:txBody>
          <a:bodyPr/>
          <a:lstStyle>
            <a:lvl1pPr>
              <a:lnSpc>
                <a:spcPct val="90000"/>
              </a:lnSpc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ru-RU" dirty="0"/>
              <a:t>Сформулируй подзаголовок в 1–2 строки</a:t>
            </a:r>
          </a:p>
        </p:txBody>
      </p:sp>
      <p:sp>
        <p:nvSpPr>
          <p:cNvPr id="75" name="Прямоугольник: скругленные углы 74">
            <a:extLst>
              <a:ext uri="{FF2B5EF4-FFF2-40B4-BE49-F238E27FC236}">
                <a16:creationId xmlns:a16="http://schemas.microsoft.com/office/drawing/2014/main" id="{DF5E2D97-5CF6-49E5-FAB9-9659DF2507A6}"/>
              </a:ext>
            </a:extLst>
          </p:cNvPr>
          <p:cNvSpPr/>
          <p:nvPr userDrawn="1"/>
        </p:nvSpPr>
        <p:spPr>
          <a:xfrm>
            <a:off x="-2138458" y="54865"/>
            <a:ext cx="1928241" cy="2826069"/>
          </a:xfrm>
          <a:prstGeom prst="roundRect">
            <a:avLst>
              <a:gd name="adj" fmla="val 5926"/>
            </a:avLst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6" name="Прямоугольник: скругленные верхние углы 75">
            <a:extLst>
              <a:ext uri="{FF2B5EF4-FFF2-40B4-BE49-F238E27FC236}">
                <a16:creationId xmlns:a16="http://schemas.microsoft.com/office/drawing/2014/main" id="{28CEFC34-7B9B-7027-F0C6-03A2D7926408}"/>
              </a:ext>
            </a:extLst>
          </p:cNvPr>
          <p:cNvSpPr/>
          <p:nvPr userDrawn="1"/>
        </p:nvSpPr>
        <p:spPr>
          <a:xfrm>
            <a:off x="-2136930" y="0"/>
            <a:ext cx="1926713" cy="2880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36000" rtlCol="0" anchor="ctr"/>
          <a:lstStyle/>
          <a:p>
            <a:pPr algn="ctr"/>
            <a:r>
              <a:rPr lang="ru-RU" sz="1100" b="1">
                <a:solidFill>
                  <a:schemeClr val="tx1"/>
                </a:solidFill>
              </a:rPr>
              <a:t>Размеры текста</a:t>
            </a:r>
          </a:p>
        </p:txBody>
      </p:sp>
      <p:graphicFrame>
        <p:nvGraphicFramePr>
          <p:cNvPr id="77" name="Таблица 46">
            <a:extLst>
              <a:ext uri="{FF2B5EF4-FFF2-40B4-BE49-F238E27FC236}">
                <a16:creationId xmlns:a16="http://schemas.microsoft.com/office/drawing/2014/main" id="{0E1EE163-8104-8ED7-61EC-1B745BD881D6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794885169"/>
              </p:ext>
            </p:extLst>
          </p:nvPr>
        </p:nvGraphicFramePr>
        <p:xfrm>
          <a:off x="-2046114" y="312643"/>
          <a:ext cx="1958731" cy="2142000"/>
        </p:xfrm>
        <a:graphic>
          <a:graphicData uri="http://schemas.openxmlformats.org/drawingml/2006/table">
            <a:tbl>
              <a:tblPr/>
              <a:tblGrid>
                <a:gridCol w="532517">
                  <a:extLst>
                    <a:ext uri="{9D8B030D-6E8A-4147-A177-3AD203B41FA5}">
                      <a16:colId xmlns:a16="http://schemas.microsoft.com/office/drawing/2014/main" val="2594385797"/>
                    </a:ext>
                  </a:extLst>
                </a:gridCol>
                <a:gridCol w="1426214">
                  <a:extLst>
                    <a:ext uri="{9D8B030D-6E8A-4147-A177-3AD203B41FA5}">
                      <a16:colId xmlns:a16="http://schemas.microsoft.com/office/drawing/2014/main" val="1017723076"/>
                    </a:ext>
                  </a:extLst>
                </a:gridCol>
              </a:tblGrid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44+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0" spc="-40" baseline="0"/>
                        <a:t>акцентные цифр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8329665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32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заголовки и самые </a:t>
                      </a:r>
                      <a:br>
                        <a:rPr lang="ru-RU" sz="1000" spc="-40" baseline="0"/>
                      </a:br>
                      <a:r>
                        <a:rPr lang="ru-RU" sz="1000" spc="-40" baseline="0"/>
                        <a:t>важные данные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17697917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24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8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подзаголовки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72780009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18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4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основной текст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0685745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4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2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торой уровень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текста (менее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ажная информация)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1997433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0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сноски, пояснения, </a:t>
                      </a:r>
                      <a:br>
                        <a:rPr lang="en-US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большие таблиц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76660845"/>
                  </a:ext>
                </a:extLst>
              </a:tr>
            </a:tbl>
          </a:graphicData>
        </a:graphic>
      </p:graphicFrame>
      <p:sp>
        <p:nvSpPr>
          <p:cNvPr id="78" name="TextBox 77">
            <a:extLst>
              <a:ext uri="{FF2B5EF4-FFF2-40B4-BE49-F238E27FC236}">
                <a16:creationId xmlns:a16="http://schemas.microsoft.com/office/drawing/2014/main" id="{5E880C56-CF09-F9D4-114E-504DB800D737}"/>
              </a:ext>
            </a:extLst>
          </p:cNvPr>
          <p:cNvSpPr txBox="1"/>
          <p:nvPr userDrawn="1"/>
        </p:nvSpPr>
        <p:spPr>
          <a:xfrm>
            <a:off x="-1691344" y="2506490"/>
            <a:ext cx="1373969" cy="2428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</a:pPr>
            <a:r>
              <a:rPr lang="ru-RU" sz="900" b="0">
                <a:solidFill>
                  <a:schemeClr val="accent1"/>
                </a:solidFill>
              </a:rPr>
              <a:t>Используй эти размеры </a:t>
            </a:r>
            <a:br>
              <a:rPr lang="ru-RU" sz="900" b="0">
                <a:solidFill>
                  <a:schemeClr val="accent1"/>
                </a:solidFill>
              </a:rPr>
            </a:br>
            <a:r>
              <a:rPr lang="ru-RU" sz="900" b="0">
                <a:solidFill>
                  <a:schemeClr val="accent1"/>
                </a:solidFill>
              </a:rPr>
              <a:t>по всей презентации</a:t>
            </a:r>
          </a:p>
        </p:txBody>
      </p:sp>
      <p:sp>
        <p:nvSpPr>
          <p:cNvPr id="79" name="Полилиния: фигура 78">
            <a:extLst>
              <a:ext uri="{FF2B5EF4-FFF2-40B4-BE49-F238E27FC236}">
                <a16:creationId xmlns:a16="http://schemas.microsoft.com/office/drawing/2014/main" id="{DC17A6B4-AD4C-D614-D3EF-7B29139B7D33}"/>
              </a:ext>
            </a:extLst>
          </p:cNvPr>
          <p:cNvSpPr/>
          <p:nvPr userDrawn="1"/>
        </p:nvSpPr>
        <p:spPr>
          <a:xfrm>
            <a:off x="-2004344" y="2488864"/>
            <a:ext cx="216624" cy="228657"/>
          </a:xfrm>
          <a:custGeom>
            <a:avLst/>
            <a:gdLst>
              <a:gd name="connsiteX0" fmla="*/ 72536 w 171450"/>
              <a:gd name="connsiteY0" fmla="*/ 162210 h 180974"/>
              <a:gd name="connsiteX1" fmla="*/ 98923 w 171450"/>
              <a:gd name="connsiteY1" fmla="*/ 162210 h 180974"/>
              <a:gd name="connsiteX2" fmla="*/ 103600 w 171450"/>
              <a:gd name="connsiteY2" fmla="*/ 172160 h 180974"/>
              <a:gd name="connsiteX3" fmla="*/ 85726 w 171450"/>
              <a:gd name="connsiteY3" fmla="*/ 180974 h 180974"/>
              <a:gd name="connsiteX4" fmla="*/ 67852 w 171450"/>
              <a:gd name="connsiteY4" fmla="*/ 172160 h 180974"/>
              <a:gd name="connsiteX5" fmla="*/ 72536 w 171450"/>
              <a:gd name="connsiteY5" fmla="*/ 162210 h 180974"/>
              <a:gd name="connsiteX6" fmla="*/ 152400 w 171450"/>
              <a:gd name="connsiteY6" fmla="*/ 76200 h 180974"/>
              <a:gd name="connsiteX7" fmla="*/ 161925 w 171450"/>
              <a:gd name="connsiteY7" fmla="*/ 76200 h 180974"/>
              <a:gd name="connsiteX8" fmla="*/ 171450 w 171450"/>
              <a:gd name="connsiteY8" fmla="*/ 85725 h 180974"/>
              <a:gd name="connsiteX9" fmla="*/ 161925 w 171450"/>
              <a:gd name="connsiteY9" fmla="*/ 95250 h 180974"/>
              <a:gd name="connsiteX10" fmla="*/ 152400 w 171450"/>
              <a:gd name="connsiteY10" fmla="*/ 95250 h 180974"/>
              <a:gd name="connsiteX11" fmla="*/ 142875 w 171450"/>
              <a:gd name="connsiteY11" fmla="*/ 85725 h 180974"/>
              <a:gd name="connsiteX12" fmla="*/ 152400 w 171450"/>
              <a:gd name="connsiteY12" fmla="*/ 76200 h 180974"/>
              <a:gd name="connsiteX13" fmla="*/ 9525 w 171450"/>
              <a:gd name="connsiteY13" fmla="*/ 76200 h 180974"/>
              <a:gd name="connsiteX14" fmla="*/ 19050 w 171450"/>
              <a:gd name="connsiteY14" fmla="*/ 76200 h 180974"/>
              <a:gd name="connsiteX15" fmla="*/ 28575 w 171450"/>
              <a:gd name="connsiteY15" fmla="*/ 85725 h 180974"/>
              <a:gd name="connsiteX16" fmla="*/ 19050 w 171450"/>
              <a:gd name="connsiteY16" fmla="*/ 95250 h 180974"/>
              <a:gd name="connsiteX17" fmla="*/ 9525 w 171450"/>
              <a:gd name="connsiteY17" fmla="*/ 95250 h 180974"/>
              <a:gd name="connsiteX18" fmla="*/ 0 w 171450"/>
              <a:gd name="connsiteY18" fmla="*/ 85725 h 180974"/>
              <a:gd name="connsiteX19" fmla="*/ 9525 w 171450"/>
              <a:gd name="connsiteY19" fmla="*/ 76200 h 180974"/>
              <a:gd name="connsiteX20" fmla="*/ 85725 w 171450"/>
              <a:gd name="connsiteY20" fmla="*/ 38100 h 180974"/>
              <a:gd name="connsiteX21" fmla="*/ 133350 w 171450"/>
              <a:gd name="connsiteY21" fmla="*/ 85725 h 180974"/>
              <a:gd name="connsiteX22" fmla="*/ 123174 w 171450"/>
              <a:gd name="connsiteY22" fmla="*/ 114596 h 180974"/>
              <a:gd name="connsiteX23" fmla="*/ 114300 w 171450"/>
              <a:gd name="connsiteY23" fmla="*/ 138113 h 180974"/>
              <a:gd name="connsiteX24" fmla="*/ 85725 w 171450"/>
              <a:gd name="connsiteY24" fmla="*/ 152400 h 180974"/>
              <a:gd name="connsiteX25" fmla="*/ 57150 w 171450"/>
              <a:gd name="connsiteY25" fmla="*/ 138113 h 180974"/>
              <a:gd name="connsiteX26" fmla="*/ 48275 w 171450"/>
              <a:gd name="connsiteY26" fmla="*/ 114596 h 180974"/>
              <a:gd name="connsiteX27" fmla="*/ 38100 w 171450"/>
              <a:gd name="connsiteY27" fmla="*/ 85725 h 180974"/>
              <a:gd name="connsiteX28" fmla="*/ 85725 w 171450"/>
              <a:gd name="connsiteY28" fmla="*/ 38100 h 180974"/>
              <a:gd name="connsiteX29" fmla="*/ 136141 w 171450"/>
              <a:gd name="connsiteY29" fmla="*/ 21840 h 180974"/>
              <a:gd name="connsiteX30" fmla="*/ 149611 w 171450"/>
              <a:gd name="connsiteY30" fmla="*/ 21840 h 180974"/>
              <a:gd name="connsiteX31" fmla="*/ 149611 w 171450"/>
              <a:gd name="connsiteY31" fmla="*/ 35310 h 180974"/>
              <a:gd name="connsiteX32" fmla="*/ 140086 w 171450"/>
              <a:gd name="connsiteY32" fmla="*/ 44835 h 180974"/>
              <a:gd name="connsiteX33" fmla="*/ 126616 w 171450"/>
              <a:gd name="connsiteY33" fmla="*/ 44835 h 180974"/>
              <a:gd name="connsiteX34" fmla="*/ 126616 w 171450"/>
              <a:gd name="connsiteY34" fmla="*/ 31365 h 180974"/>
              <a:gd name="connsiteX35" fmla="*/ 21840 w 171450"/>
              <a:gd name="connsiteY35" fmla="*/ 21840 h 180974"/>
              <a:gd name="connsiteX36" fmla="*/ 35310 w 171450"/>
              <a:gd name="connsiteY36" fmla="*/ 21840 h 180974"/>
              <a:gd name="connsiteX37" fmla="*/ 44835 w 171450"/>
              <a:gd name="connsiteY37" fmla="*/ 31365 h 180974"/>
              <a:gd name="connsiteX38" fmla="*/ 44835 w 171450"/>
              <a:gd name="connsiteY38" fmla="*/ 44835 h 180974"/>
              <a:gd name="connsiteX39" fmla="*/ 31365 w 171450"/>
              <a:gd name="connsiteY39" fmla="*/ 44835 h 180974"/>
              <a:gd name="connsiteX40" fmla="*/ 21840 w 171450"/>
              <a:gd name="connsiteY40" fmla="*/ 35310 h 180974"/>
              <a:gd name="connsiteX41" fmla="*/ 21840 w 171450"/>
              <a:gd name="connsiteY41" fmla="*/ 21840 h 180974"/>
              <a:gd name="connsiteX42" fmla="*/ 85725 w 171450"/>
              <a:gd name="connsiteY42" fmla="*/ 0 h 180974"/>
              <a:gd name="connsiteX43" fmla="*/ 95250 w 171450"/>
              <a:gd name="connsiteY43" fmla="*/ 9525 h 180974"/>
              <a:gd name="connsiteX44" fmla="*/ 95250 w 171450"/>
              <a:gd name="connsiteY44" fmla="*/ 19050 h 180974"/>
              <a:gd name="connsiteX45" fmla="*/ 85725 w 171450"/>
              <a:gd name="connsiteY45" fmla="*/ 28575 h 180974"/>
              <a:gd name="connsiteX46" fmla="*/ 76200 w 171450"/>
              <a:gd name="connsiteY46" fmla="*/ 19050 h 180974"/>
              <a:gd name="connsiteX47" fmla="*/ 76200 w 171450"/>
              <a:gd name="connsiteY47" fmla="*/ 9525 h 180974"/>
              <a:gd name="connsiteX48" fmla="*/ 85725 w 171450"/>
              <a:gd name="connsiteY48" fmla="*/ 0 h 18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1450" h="180974">
                <a:moveTo>
                  <a:pt x="72536" y="162210"/>
                </a:moveTo>
                <a:cubicBezTo>
                  <a:pt x="80449" y="164140"/>
                  <a:pt x="90933" y="164211"/>
                  <a:pt x="98923" y="162210"/>
                </a:cubicBezTo>
                <a:cubicBezTo>
                  <a:pt x="105617" y="160534"/>
                  <a:pt x="105617" y="166533"/>
                  <a:pt x="103600" y="172160"/>
                </a:cubicBezTo>
                <a:cubicBezTo>
                  <a:pt x="100950" y="179549"/>
                  <a:pt x="95451" y="180974"/>
                  <a:pt x="85726" y="180974"/>
                </a:cubicBezTo>
                <a:cubicBezTo>
                  <a:pt x="76000" y="180974"/>
                  <a:pt x="70501" y="179549"/>
                  <a:pt x="67852" y="172160"/>
                </a:cubicBezTo>
                <a:cubicBezTo>
                  <a:pt x="65835" y="166534"/>
                  <a:pt x="65835" y="160576"/>
                  <a:pt x="72536" y="162210"/>
                </a:cubicBezTo>
                <a:close/>
                <a:moveTo>
                  <a:pt x="152400" y="76200"/>
                </a:moveTo>
                <a:lnTo>
                  <a:pt x="161925" y="76200"/>
                </a:lnTo>
                <a:cubicBezTo>
                  <a:pt x="167186" y="76200"/>
                  <a:pt x="171450" y="80464"/>
                  <a:pt x="171450" y="85725"/>
                </a:cubicBezTo>
                <a:cubicBezTo>
                  <a:pt x="171450" y="90986"/>
                  <a:pt x="167186" y="95250"/>
                  <a:pt x="161925" y="95250"/>
                </a:cubicBezTo>
                <a:lnTo>
                  <a:pt x="152400" y="95250"/>
                </a:lnTo>
                <a:cubicBezTo>
                  <a:pt x="147139" y="95250"/>
                  <a:pt x="142875" y="90986"/>
                  <a:pt x="142875" y="85725"/>
                </a:cubicBezTo>
                <a:cubicBezTo>
                  <a:pt x="142875" y="80464"/>
                  <a:pt x="147139" y="76200"/>
                  <a:pt x="152400" y="76200"/>
                </a:cubicBezTo>
                <a:close/>
                <a:moveTo>
                  <a:pt x="9525" y="76200"/>
                </a:moveTo>
                <a:lnTo>
                  <a:pt x="19050" y="76200"/>
                </a:lnTo>
                <a:cubicBezTo>
                  <a:pt x="24310" y="76200"/>
                  <a:pt x="28575" y="80464"/>
                  <a:pt x="28575" y="85725"/>
                </a:cubicBezTo>
                <a:cubicBezTo>
                  <a:pt x="28575" y="90986"/>
                  <a:pt x="24310" y="95250"/>
                  <a:pt x="19050" y="95250"/>
                </a:cubicBezTo>
                <a:lnTo>
                  <a:pt x="9525" y="95250"/>
                </a:lnTo>
                <a:cubicBezTo>
                  <a:pt x="4265" y="95250"/>
                  <a:pt x="0" y="90986"/>
                  <a:pt x="0" y="85725"/>
                </a:cubicBezTo>
                <a:cubicBezTo>
                  <a:pt x="0" y="80464"/>
                  <a:pt x="4265" y="76200"/>
                  <a:pt x="9525" y="76200"/>
                </a:cubicBezTo>
                <a:close/>
                <a:moveTo>
                  <a:pt x="85725" y="38100"/>
                </a:moveTo>
                <a:cubicBezTo>
                  <a:pt x="112027" y="38100"/>
                  <a:pt x="133350" y="58671"/>
                  <a:pt x="133350" y="85725"/>
                </a:cubicBezTo>
                <a:cubicBezTo>
                  <a:pt x="133350" y="100663"/>
                  <a:pt x="128144" y="107793"/>
                  <a:pt x="123174" y="114596"/>
                </a:cubicBezTo>
                <a:cubicBezTo>
                  <a:pt x="118639" y="120807"/>
                  <a:pt x="114300" y="126748"/>
                  <a:pt x="114300" y="138113"/>
                </a:cubicBezTo>
                <a:cubicBezTo>
                  <a:pt x="114300" y="147638"/>
                  <a:pt x="104775" y="152400"/>
                  <a:pt x="85725" y="152400"/>
                </a:cubicBezTo>
                <a:cubicBezTo>
                  <a:pt x="66675" y="152400"/>
                  <a:pt x="57150" y="147638"/>
                  <a:pt x="57150" y="138113"/>
                </a:cubicBezTo>
                <a:cubicBezTo>
                  <a:pt x="57150" y="126748"/>
                  <a:pt x="52811" y="120807"/>
                  <a:pt x="48275" y="114596"/>
                </a:cubicBezTo>
                <a:cubicBezTo>
                  <a:pt x="43306" y="107793"/>
                  <a:pt x="38100" y="100663"/>
                  <a:pt x="38100" y="85725"/>
                </a:cubicBezTo>
                <a:cubicBezTo>
                  <a:pt x="38100" y="57150"/>
                  <a:pt x="59422" y="38100"/>
                  <a:pt x="85725" y="38100"/>
                </a:cubicBezTo>
                <a:close/>
                <a:moveTo>
                  <a:pt x="136141" y="21840"/>
                </a:moveTo>
                <a:cubicBezTo>
                  <a:pt x="139860" y="18120"/>
                  <a:pt x="145891" y="18120"/>
                  <a:pt x="149611" y="21840"/>
                </a:cubicBezTo>
                <a:cubicBezTo>
                  <a:pt x="153330" y="25560"/>
                  <a:pt x="153330" y="31590"/>
                  <a:pt x="149611" y="35310"/>
                </a:cubicBezTo>
                <a:lnTo>
                  <a:pt x="140086" y="44835"/>
                </a:lnTo>
                <a:cubicBezTo>
                  <a:pt x="136366" y="48555"/>
                  <a:pt x="130335" y="48555"/>
                  <a:pt x="126616" y="44835"/>
                </a:cubicBezTo>
                <a:cubicBezTo>
                  <a:pt x="122896" y="41115"/>
                  <a:pt x="122896" y="35085"/>
                  <a:pt x="126616" y="31365"/>
                </a:cubicBezTo>
                <a:close/>
                <a:moveTo>
                  <a:pt x="21840" y="21840"/>
                </a:moveTo>
                <a:cubicBezTo>
                  <a:pt x="25560" y="18120"/>
                  <a:pt x="31590" y="18120"/>
                  <a:pt x="35310" y="21840"/>
                </a:cubicBezTo>
                <a:lnTo>
                  <a:pt x="44835" y="31365"/>
                </a:lnTo>
                <a:cubicBezTo>
                  <a:pt x="48555" y="35085"/>
                  <a:pt x="48555" y="41115"/>
                  <a:pt x="44835" y="44835"/>
                </a:cubicBezTo>
                <a:cubicBezTo>
                  <a:pt x="41115" y="48555"/>
                  <a:pt x="35085" y="48555"/>
                  <a:pt x="31365" y="44835"/>
                </a:cubicBezTo>
                <a:lnTo>
                  <a:pt x="21840" y="35310"/>
                </a:lnTo>
                <a:cubicBezTo>
                  <a:pt x="18120" y="31590"/>
                  <a:pt x="18120" y="25560"/>
                  <a:pt x="21840" y="21840"/>
                </a:cubicBezTo>
                <a:close/>
                <a:moveTo>
                  <a:pt x="85725" y="0"/>
                </a:moveTo>
                <a:cubicBezTo>
                  <a:pt x="90986" y="0"/>
                  <a:pt x="95250" y="4265"/>
                  <a:pt x="95250" y="9525"/>
                </a:cubicBezTo>
                <a:lnTo>
                  <a:pt x="95250" y="19050"/>
                </a:lnTo>
                <a:cubicBezTo>
                  <a:pt x="95250" y="24310"/>
                  <a:pt x="90986" y="28575"/>
                  <a:pt x="85725" y="28575"/>
                </a:cubicBezTo>
                <a:cubicBezTo>
                  <a:pt x="80464" y="28575"/>
                  <a:pt x="76200" y="24310"/>
                  <a:pt x="76200" y="19050"/>
                </a:cubicBezTo>
                <a:lnTo>
                  <a:pt x="76200" y="9525"/>
                </a:lnTo>
                <a:cubicBezTo>
                  <a:pt x="76200" y="4265"/>
                  <a:pt x="80464" y="0"/>
                  <a:pt x="85725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grpSp>
        <p:nvGrpSpPr>
          <p:cNvPr id="114" name="Группа 113">
            <a:extLst>
              <a:ext uri="{FF2B5EF4-FFF2-40B4-BE49-F238E27FC236}">
                <a16:creationId xmlns:a16="http://schemas.microsoft.com/office/drawing/2014/main" id="{1DB60FFA-738D-6045-837A-4E00FBB46420}"/>
              </a:ext>
            </a:extLst>
          </p:cNvPr>
          <p:cNvGrpSpPr/>
          <p:nvPr userDrawn="1"/>
        </p:nvGrpSpPr>
        <p:grpSpPr>
          <a:xfrm>
            <a:off x="-2138458" y="3080607"/>
            <a:ext cx="1935384" cy="3777393"/>
            <a:chOff x="-2138458" y="3080607"/>
            <a:chExt cx="1935384" cy="3777393"/>
          </a:xfrm>
        </p:grpSpPr>
        <p:grpSp>
          <p:nvGrpSpPr>
            <p:cNvPr id="115" name="Группа 114">
              <a:extLst>
                <a:ext uri="{FF2B5EF4-FFF2-40B4-BE49-F238E27FC236}">
                  <a16:creationId xmlns:a16="http://schemas.microsoft.com/office/drawing/2014/main" id="{1047FD88-C264-254B-A630-89C07142DE7C}"/>
                </a:ext>
              </a:extLst>
            </p:cNvPr>
            <p:cNvGrpSpPr/>
            <p:nvPr userDrawn="1"/>
          </p:nvGrpSpPr>
          <p:grpSpPr>
            <a:xfrm>
              <a:off x="-2131314" y="5782119"/>
              <a:ext cx="1928240" cy="1075881"/>
              <a:chOff x="-2131314" y="5782119"/>
              <a:chExt cx="1928240" cy="1075881"/>
            </a:xfrm>
          </p:grpSpPr>
          <p:sp>
            <p:nvSpPr>
              <p:cNvPr id="141" name="Прямоугольник: скругленные углы 89">
                <a:extLst>
                  <a:ext uri="{FF2B5EF4-FFF2-40B4-BE49-F238E27FC236}">
                    <a16:creationId xmlns:a16="http://schemas.microsoft.com/office/drawing/2014/main" id="{BAE6F0E7-0D0E-9A42-A15B-980E2A91653E}"/>
                  </a:ext>
                </a:extLst>
              </p:cNvPr>
              <p:cNvSpPr/>
              <p:nvPr/>
            </p:nvSpPr>
            <p:spPr>
              <a:xfrm>
                <a:off x="-2131314" y="5782119"/>
                <a:ext cx="1928240" cy="1075881"/>
              </a:xfrm>
              <a:prstGeom prst="roundRect">
                <a:avLst>
                  <a:gd name="adj" fmla="val 12985"/>
                </a:avLst>
              </a:prstGeom>
              <a:solidFill>
                <a:schemeClr val="bg1">
                  <a:alpha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42" name="TextBox 141">
                <a:extLst>
                  <a:ext uri="{FF2B5EF4-FFF2-40B4-BE49-F238E27FC236}">
                    <a16:creationId xmlns:a16="http://schemas.microsoft.com/office/drawing/2014/main" id="{1F6B1124-9D77-DF45-94BA-7FFE6C310726}"/>
                  </a:ext>
                </a:extLst>
              </p:cNvPr>
              <p:cNvSpPr txBox="1"/>
              <p:nvPr/>
            </p:nvSpPr>
            <p:spPr>
              <a:xfrm>
                <a:off x="-1788338" y="5868204"/>
                <a:ext cx="1155882" cy="151095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pPr algn="l">
                  <a:lnSpc>
                    <a:spcPct val="90000"/>
                  </a:lnSpc>
                </a:pPr>
                <a:r>
                  <a:rPr lang="ru-RU" sz="1000" b="1">
                    <a:solidFill>
                      <a:schemeClr val="accent1"/>
                    </a:solidFill>
                  </a:rPr>
                  <a:t>Шаблон </a:t>
                </a:r>
                <a:r>
                  <a:rPr lang="en-US" sz="1000" b="1">
                    <a:solidFill>
                      <a:schemeClr val="accent1"/>
                    </a:solidFill>
                  </a:rPr>
                  <a:t>Ozon</a:t>
                </a:r>
                <a:endParaRPr lang="ru-RU" sz="1000" b="1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43" name="Рисунок 93">
                <a:extLst>
                  <a:ext uri="{FF2B5EF4-FFF2-40B4-BE49-F238E27FC236}">
                    <a16:creationId xmlns:a16="http://schemas.microsoft.com/office/drawing/2014/main" id="{0228B513-A00D-0D46-8B66-BFB85B6B3C70}"/>
                  </a:ext>
                </a:extLst>
              </p:cNvPr>
              <p:cNvSpPr/>
              <p:nvPr/>
            </p:nvSpPr>
            <p:spPr>
              <a:xfrm>
                <a:off x="-2004963" y="5853908"/>
                <a:ext cx="161099" cy="161099"/>
              </a:xfrm>
              <a:custGeom>
                <a:avLst/>
                <a:gdLst>
                  <a:gd name="connsiteX0" fmla="*/ 85725 w 171450"/>
                  <a:gd name="connsiteY0" fmla="*/ 171450 h 171450"/>
                  <a:gd name="connsiteX1" fmla="*/ 171450 w 171450"/>
                  <a:gd name="connsiteY1" fmla="*/ 85725 h 171450"/>
                  <a:gd name="connsiteX2" fmla="*/ 85725 w 171450"/>
                  <a:gd name="connsiteY2" fmla="*/ 0 h 171450"/>
                  <a:gd name="connsiteX3" fmla="*/ 0 w 171450"/>
                  <a:gd name="connsiteY3" fmla="*/ 85725 h 171450"/>
                  <a:gd name="connsiteX4" fmla="*/ 85725 w 171450"/>
                  <a:gd name="connsiteY4" fmla="*/ 171450 h 171450"/>
                  <a:gd name="connsiteX5" fmla="*/ 130560 w 171450"/>
                  <a:gd name="connsiteY5" fmla="*/ 73410 h 171450"/>
                  <a:gd name="connsiteX6" fmla="*/ 82935 w 171450"/>
                  <a:gd name="connsiteY6" fmla="*/ 121035 h 171450"/>
                  <a:gd name="connsiteX7" fmla="*/ 69465 w 171450"/>
                  <a:gd name="connsiteY7" fmla="*/ 121035 h 171450"/>
                  <a:gd name="connsiteX8" fmla="*/ 40890 w 171450"/>
                  <a:gd name="connsiteY8" fmla="*/ 92460 h 171450"/>
                  <a:gd name="connsiteX9" fmla="*/ 40890 w 171450"/>
                  <a:gd name="connsiteY9" fmla="*/ 78990 h 171450"/>
                  <a:gd name="connsiteX10" fmla="*/ 54360 w 171450"/>
                  <a:gd name="connsiteY10" fmla="*/ 78990 h 171450"/>
                  <a:gd name="connsiteX11" fmla="*/ 76200 w 171450"/>
                  <a:gd name="connsiteY11" fmla="*/ 100830 h 171450"/>
                  <a:gd name="connsiteX12" fmla="*/ 117090 w 171450"/>
                  <a:gd name="connsiteY12" fmla="*/ 59940 h 171450"/>
                  <a:gd name="connsiteX13" fmla="*/ 130560 w 171450"/>
                  <a:gd name="connsiteY13" fmla="*/ 59940 h 171450"/>
                  <a:gd name="connsiteX14" fmla="*/ 130560 w 171450"/>
                  <a:gd name="connsiteY14" fmla="*/ 73410 h 171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71450" h="171450">
                    <a:moveTo>
                      <a:pt x="85725" y="171450"/>
                    </a:moveTo>
                    <a:cubicBezTo>
                      <a:pt x="138915" y="171450"/>
                      <a:pt x="171450" y="138915"/>
                      <a:pt x="171450" y="85725"/>
                    </a:cubicBezTo>
                    <a:cubicBezTo>
                      <a:pt x="171450" y="32535"/>
                      <a:pt x="138915" y="0"/>
                      <a:pt x="85725" y="0"/>
                    </a:cubicBezTo>
                    <a:cubicBezTo>
                      <a:pt x="32535" y="0"/>
                      <a:pt x="0" y="32535"/>
                      <a:pt x="0" y="85725"/>
                    </a:cubicBezTo>
                    <a:cubicBezTo>
                      <a:pt x="0" y="138915"/>
                      <a:pt x="32535" y="171450"/>
                      <a:pt x="85725" y="171450"/>
                    </a:cubicBezTo>
                    <a:close/>
                    <a:moveTo>
                      <a:pt x="130560" y="73410"/>
                    </a:moveTo>
                    <a:lnTo>
                      <a:pt x="82935" y="121035"/>
                    </a:lnTo>
                    <a:cubicBezTo>
                      <a:pt x="79216" y="124755"/>
                      <a:pt x="73184" y="124755"/>
                      <a:pt x="69465" y="121035"/>
                    </a:cubicBezTo>
                    <a:lnTo>
                      <a:pt x="40890" y="92460"/>
                    </a:lnTo>
                    <a:cubicBezTo>
                      <a:pt x="37170" y="88741"/>
                      <a:pt x="37170" y="82709"/>
                      <a:pt x="40890" y="78990"/>
                    </a:cubicBezTo>
                    <a:cubicBezTo>
                      <a:pt x="44610" y="75270"/>
                      <a:pt x="50640" y="75270"/>
                      <a:pt x="54360" y="78990"/>
                    </a:cubicBezTo>
                    <a:lnTo>
                      <a:pt x="76200" y="100830"/>
                    </a:lnTo>
                    <a:lnTo>
                      <a:pt x="117090" y="59940"/>
                    </a:lnTo>
                    <a:cubicBezTo>
                      <a:pt x="120809" y="56220"/>
                      <a:pt x="126841" y="56220"/>
                      <a:pt x="130560" y="59940"/>
                    </a:cubicBezTo>
                    <a:cubicBezTo>
                      <a:pt x="134280" y="63660"/>
                      <a:pt x="134280" y="69691"/>
                      <a:pt x="130560" y="734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44" name="TextBox 143">
                <a:extLst>
                  <a:ext uri="{FF2B5EF4-FFF2-40B4-BE49-F238E27FC236}">
                    <a16:creationId xmlns:a16="http://schemas.microsoft.com/office/drawing/2014/main" id="{1CBB12E0-3F6E-CA46-B003-0D912C261977}"/>
                  </a:ext>
                </a:extLst>
              </p:cNvPr>
              <p:cNvSpPr txBox="1"/>
              <p:nvPr/>
            </p:nvSpPr>
            <p:spPr>
              <a:xfrm>
                <a:off x="-2004962" y="6072106"/>
                <a:ext cx="1687587" cy="60024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l">
                  <a:lnSpc>
                    <a:spcPct val="110000"/>
                  </a:lnSpc>
                </a:pPr>
                <a:r>
                  <a:rPr lang="ru-RU" sz="900" spc="-30" baseline="0">
                    <a:solidFill>
                      <a:schemeClr val="tx2"/>
                    </a:solidFill>
                  </a:rPr>
                  <a:t>Если нужно больше материалов: </a:t>
                </a:r>
                <a:r>
                  <a:rPr lang="ru-RU" sz="900" b="1" spc="-30" baseline="0">
                    <a:solidFill>
                      <a:schemeClr val="tx2"/>
                    </a:solidFill>
                  </a:rPr>
                  <a:t>правое меню </a:t>
                </a:r>
                <a:r>
                  <a:rPr lang="en-US" sz="900" b="1" spc="-30" baseline="0">
                    <a:solidFill>
                      <a:schemeClr val="tx2"/>
                    </a:solidFill>
                  </a:rPr>
                  <a:t>Staff — Brand </a:t>
                </a:r>
                <a:r>
                  <a:rPr lang="ru-RU" sz="900" b="1" spc="-30" baseline="0">
                    <a:solidFill>
                      <a:schemeClr val="tx2"/>
                    </a:solidFill>
                  </a:rPr>
                  <a:t>— Всё для презентаций. </a:t>
                </a:r>
                <a:r>
                  <a:rPr lang="ru-RU" sz="900" b="0" spc="-30" baseline="0">
                    <a:solidFill>
                      <a:schemeClr val="tx2"/>
                    </a:solidFill>
                  </a:rPr>
                  <a:t>Или пиши нам на </a:t>
                </a:r>
                <a:r>
                  <a:rPr lang="en-US" sz="900" b="0" spc="-30" baseline="0">
                    <a:solidFill>
                      <a:schemeClr val="tx2"/>
                    </a:solidFill>
                  </a:rPr>
                  <a:t>presentations@ozon.ru.</a:t>
                </a:r>
                <a:r>
                  <a:rPr lang="ru-RU" sz="900" b="0" spc="-30" baseline="0">
                    <a:solidFill>
                      <a:schemeClr val="tx2"/>
                    </a:solidFill>
                  </a:rPr>
                  <a:t> </a:t>
                </a:r>
              </a:p>
            </p:txBody>
          </p:sp>
        </p:grpSp>
        <p:grpSp>
          <p:nvGrpSpPr>
            <p:cNvPr id="116" name="Группа 115">
              <a:extLst>
                <a:ext uri="{FF2B5EF4-FFF2-40B4-BE49-F238E27FC236}">
                  <a16:creationId xmlns:a16="http://schemas.microsoft.com/office/drawing/2014/main" id="{91ACE51C-BB38-4445-BB89-49E21A0B3A8A}"/>
                </a:ext>
              </a:extLst>
            </p:cNvPr>
            <p:cNvGrpSpPr/>
            <p:nvPr userDrawn="1"/>
          </p:nvGrpSpPr>
          <p:grpSpPr>
            <a:xfrm>
              <a:off x="-2138458" y="3080607"/>
              <a:ext cx="1928241" cy="2523683"/>
              <a:chOff x="-2138458" y="3070447"/>
              <a:chExt cx="1928241" cy="2523683"/>
            </a:xfrm>
          </p:grpSpPr>
          <p:sp>
            <p:nvSpPr>
              <p:cNvPr id="117" name="Прямоугольник: скругленные углы 57">
                <a:extLst>
                  <a:ext uri="{FF2B5EF4-FFF2-40B4-BE49-F238E27FC236}">
                    <a16:creationId xmlns:a16="http://schemas.microsoft.com/office/drawing/2014/main" id="{FA0ED545-CDA8-F549-ACE8-99DABA47D2B0}"/>
                  </a:ext>
                </a:extLst>
              </p:cNvPr>
              <p:cNvSpPr/>
              <p:nvPr/>
            </p:nvSpPr>
            <p:spPr>
              <a:xfrm>
                <a:off x="-2138458" y="3125312"/>
                <a:ext cx="1928241" cy="2468818"/>
              </a:xfrm>
              <a:prstGeom prst="roundRect">
                <a:avLst>
                  <a:gd name="adj" fmla="val 5926"/>
                </a:avLst>
              </a:prstGeom>
              <a:solidFill>
                <a:schemeClr val="bg1">
                  <a:alpha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18" name="Прямоугольник: скругленные верхние углы 58">
                <a:extLst>
                  <a:ext uri="{FF2B5EF4-FFF2-40B4-BE49-F238E27FC236}">
                    <a16:creationId xmlns:a16="http://schemas.microsoft.com/office/drawing/2014/main" id="{FBB814F1-D0AA-044F-A837-6972949F7DE1}"/>
                  </a:ext>
                </a:extLst>
              </p:cNvPr>
              <p:cNvSpPr/>
              <p:nvPr/>
            </p:nvSpPr>
            <p:spPr>
              <a:xfrm>
                <a:off x="-2136930" y="3070447"/>
                <a:ext cx="1926713" cy="2880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accent6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36000" rtlCol="0" anchor="ctr"/>
              <a:lstStyle/>
              <a:p>
                <a:pPr algn="ctr"/>
                <a:r>
                  <a:rPr lang="ru-RU" sz="1100" b="1">
                    <a:solidFill>
                      <a:schemeClr val="tx1"/>
                    </a:solidFill>
                  </a:rPr>
                  <a:t>Цвета </a:t>
                </a:r>
                <a:r>
                  <a:rPr lang="en-US" sz="1100" b="1">
                    <a:solidFill>
                      <a:schemeClr val="tx1"/>
                    </a:solidFill>
                  </a:rPr>
                  <a:t>Ozon</a:t>
                </a:r>
                <a:endParaRPr lang="ru-RU" sz="1100" b="1">
                  <a:solidFill>
                    <a:schemeClr val="tx1"/>
                  </a:solidFill>
                </a:endParaRPr>
              </a:p>
            </p:txBody>
          </p:sp>
          <p:sp>
            <p:nvSpPr>
              <p:cNvPr id="119" name="TextBox 118">
                <a:extLst>
                  <a:ext uri="{FF2B5EF4-FFF2-40B4-BE49-F238E27FC236}">
                    <a16:creationId xmlns:a16="http://schemas.microsoft.com/office/drawing/2014/main" id="{F54CC9C5-8F2E-2E4E-A7C1-E2B74D876FF9}"/>
                  </a:ext>
                </a:extLst>
              </p:cNvPr>
              <p:cNvSpPr txBox="1"/>
              <p:nvPr/>
            </p:nvSpPr>
            <p:spPr>
              <a:xfrm>
                <a:off x="-2003446" y="3412239"/>
                <a:ext cx="1638525" cy="17162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l"/>
                <a:r>
                  <a:rPr lang="ru-RU" sz="1000" dirty="0"/>
                  <a:t>Цвет текста </a:t>
                </a:r>
              </a:p>
            </p:txBody>
          </p:sp>
          <p:sp>
            <p:nvSpPr>
              <p:cNvPr id="120" name="Прямоугольник: скругленные углы 61">
                <a:extLst>
                  <a:ext uri="{FF2B5EF4-FFF2-40B4-BE49-F238E27FC236}">
                    <a16:creationId xmlns:a16="http://schemas.microsoft.com/office/drawing/2014/main" id="{06597B6C-F31E-0043-9711-0059EB7573A9}"/>
                  </a:ext>
                </a:extLst>
              </p:cNvPr>
              <p:cNvSpPr/>
              <p:nvPr userDrawn="1"/>
            </p:nvSpPr>
            <p:spPr>
              <a:xfrm>
                <a:off x="-2004344" y="3611632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tx1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21" name="Прямоугольник: скругленные углы 62">
                <a:extLst>
                  <a:ext uri="{FF2B5EF4-FFF2-40B4-BE49-F238E27FC236}">
                    <a16:creationId xmlns:a16="http://schemas.microsoft.com/office/drawing/2014/main" id="{A5E9401C-762A-2944-B381-6922E6C30238}"/>
                  </a:ext>
                </a:extLst>
              </p:cNvPr>
              <p:cNvSpPr/>
              <p:nvPr/>
            </p:nvSpPr>
            <p:spPr>
              <a:xfrm>
                <a:off x="-1738339" y="3611632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accent6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22" name="Прямоугольник: скругленные углы 63">
                <a:extLst>
                  <a:ext uri="{FF2B5EF4-FFF2-40B4-BE49-F238E27FC236}">
                    <a16:creationId xmlns:a16="http://schemas.microsoft.com/office/drawing/2014/main" id="{C4EB1874-4CDE-9541-8C11-0E0B5C8A64BA}"/>
                  </a:ext>
                </a:extLst>
              </p:cNvPr>
              <p:cNvSpPr/>
              <p:nvPr/>
            </p:nvSpPr>
            <p:spPr>
              <a:xfrm>
                <a:off x="-1739900" y="4646897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accent3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23" name="Прямоугольник: скругленные углы 68">
                <a:extLst>
                  <a:ext uri="{FF2B5EF4-FFF2-40B4-BE49-F238E27FC236}">
                    <a16:creationId xmlns:a16="http://schemas.microsoft.com/office/drawing/2014/main" id="{DF504DB6-5FE5-0C4D-9300-2A74A83D6B84}"/>
                  </a:ext>
                </a:extLst>
              </p:cNvPr>
              <p:cNvSpPr/>
              <p:nvPr/>
            </p:nvSpPr>
            <p:spPr>
              <a:xfrm>
                <a:off x="-2004963" y="4646897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accent1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24" name="TextBox 123">
                <a:extLst>
                  <a:ext uri="{FF2B5EF4-FFF2-40B4-BE49-F238E27FC236}">
                    <a16:creationId xmlns:a16="http://schemas.microsoft.com/office/drawing/2014/main" id="{5F1BE16A-089F-3B4B-979C-4E824CE569B9}"/>
                  </a:ext>
                </a:extLst>
              </p:cNvPr>
              <p:cNvSpPr txBox="1"/>
              <p:nvPr/>
            </p:nvSpPr>
            <p:spPr>
              <a:xfrm>
                <a:off x="-2003446" y="3935644"/>
                <a:ext cx="1638525" cy="17162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l"/>
                <a:r>
                  <a:rPr lang="ru-RU" sz="1000"/>
                  <a:t>Цвет больших плашек</a:t>
                </a:r>
              </a:p>
            </p:txBody>
          </p:sp>
          <p:sp>
            <p:nvSpPr>
              <p:cNvPr id="125" name="Прямоугольник: скругленные углы 70">
                <a:extLst>
                  <a:ext uri="{FF2B5EF4-FFF2-40B4-BE49-F238E27FC236}">
                    <a16:creationId xmlns:a16="http://schemas.microsoft.com/office/drawing/2014/main" id="{6461EA0C-BCBF-AD4F-9C13-6CB746AEEE43}"/>
                  </a:ext>
                </a:extLst>
              </p:cNvPr>
              <p:cNvSpPr/>
              <p:nvPr/>
            </p:nvSpPr>
            <p:spPr>
              <a:xfrm>
                <a:off x="-1209774" y="4131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accent2">
                  <a:lumMod val="20000"/>
                  <a:lumOff val="80000"/>
                </a:schemeClr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26" name="Прямоугольник: скругленные углы 71">
                <a:extLst>
                  <a:ext uri="{FF2B5EF4-FFF2-40B4-BE49-F238E27FC236}">
                    <a16:creationId xmlns:a16="http://schemas.microsoft.com/office/drawing/2014/main" id="{1F6CBFBE-7F66-EA4B-B6C2-2696564E0709}"/>
                  </a:ext>
                </a:extLst>
              </p:cNvPr>
              <p:cNvSpPr/>
              <p:nvPr/>
            </p:nvSpPr>
            <p:spPr>
              <a:xfrm>
                <a:off x="-2004963" y="4131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accent6">
                  <a:lumMod val="20000"/>
                  <a:lumOff val="80000"/>
                </a:schemeClr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27" name="Прямоугольник: скругленные углы 74">
                <a:extLst>
                  <a:ext uri="{FF2B5EF4-FFF2-40B4-BE49-F238E27FC236}">
                    <a16:creationId xmlns:a16="http://schemas.microsoft.com/office/drawing/2014/main" id="{338A988E-91AF-E74D-BC08-F9A00057B1C2}"/>
                  </a:ext>
                </a:extLst>
              </p:cNvPr>
              <p:cNvSpPr/>
              <p:nvPr/>
            </p:nvSpPr>
            <p:spPr>
              <a:xfrm>
                <a:off x="-1475201" y="4131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accent5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28" name="TextBox 127">
                <a:extLst>
                  <a:ext uri="{FF2B5EF4-FFF2-40B4-BE49-F238E27FC236}">
                    <a16:creationId xmlns:a16="http://schemas.microsoft.com/office/drawing/2014/main" id="{17CDB3F3-D417-364A-8A47-1EF7FE4C87A4}"/>
                  </a:ext>
                </a:extLst>
              </p:cNvPr>
              <p:cNvSpPr txBox="1"/>
              <p:nvPr/>
            </p:nvSpPr>
            <p:spPr>
              <a:xfrm>
                <a:off x="-2003446" y="4451492"/>
                <a:ext cx="1638525" cy="17162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l"/>
                <a:r>
                  <a:rPr lang="ru-RU" sz="1000"/>
                  <a:t>Цвета маленьких плашек</a:t>
                </a:r>
              </a:p>
            </p:txBody>
          </p:sp>
          <p:sp>
            <p:nvSpPr>
              <p:cNvPr id="129" name="Прямоугольник: скругленные углы 82">
                <a:extLst>
                  <a:ext uri="{FF2B5EF4-FFF2-40B4-BE49-F238E27FC236}">
                    <a16:creationId xmlns:a16="http://schemas.microsoft.com/office/drawing/2014/main" id="{0D481F14-A897-4A4A-9276-51E211051C5E}"/>
                  </a:ext>
                </a:extLst>
              </p:cNvPr>
              <p:cNvSpPr/>
              <p:nvPr userDrawn="1"/>
            </p:nvSpPr>
            <p:spPr>
              <a:xfrm>
                <a:off x="-1739900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B7EDC9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30" name="Прямоугольник: скругленные углы 83">
                <a:extLst>
                  <a:ext uri="{FF2B5EF4-FFF2-40B4-BE49-F238E27FC236}">
                    <a16:creationId xmlns:a16="http://schemas.microsoft.com/office/drawing/2014/main" id="{756C79EB-FFCF-924D-9CA6-341E9FF16BFF}"/>
                  </a:ext>
                </a:extLst>
              </p:cNvPr>
              <p:cNvSpPr/>
              <p:nvPr/>
            </p:nvSpPr>
            <p:spPr>
              <a:xfrm>
                <a:off x="-1474837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FFA800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31" name="Прямоугольник: скругленные углы 84">
                <a:extLst>
                  <a:ext uri="{FF2B5EF4-FFF2-40B4-BE49-F238E27FC236}">
                    <a16:creationId xmlns:a16="http://schemas.microsoft.com/office/drawing/2014/main" id="{4FEA62CC-C8DF-CB4D-B88E-6F018239E4A9}"/>
                  </a:ext>
                </a:extLst>
              </p:cNvPr>
              <p:cNvSpPr/>
              <p:nvPr/>
            </p:nvSpPr>
            <p:spPr>
              <a:xfrm>
                <a:off x="-2004963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10C44C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32" name="TextBox 131">
                <a:extLst>
                  <a:ext uri="{FF2B5EF4-FFF2-40B4-BE49-F238E27FC236}">
                    <a16:creationId xmlns:a16="http://schemas.microsoft.com/office/drawing/2014/main" id="{A6342771-3FF1-6A46-B459-7C0A8E85929D}"/>
                  </a:ext>
                </a:extLst>
              </p:cNvPr>
              <p:cNvSpPr txBox="1"/>
              <p:nvPr/>
            </p:nvSpPr>
            <p:spPr>
              <a:xfrm>
                <a:off x="-2003446" y="4973480"/>
                <a:ext cx="1638525" cy="17162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l"/>
                <a:r>
                  <a:rPr lang="ru-RU" sz="900"/>
                  <a:t>Рост / падение показателей</a:t>
                </a:r>
              </a:p>
            </p:txBody>
          </p:sp>
          <p:sp>
            <p:nvSpPr>
              <p:cNvPr id="133" name="Прямоугольник: скругленные углы 13">
                <a:extLst>
                  <a:ext uri="{FF2B5EF4-FFF2-40B4-BE49-F238E27FC236}">
                    <a16:creationId xmlns:a16="http://schemas.microsoft.com/office/drawing/2014/main" id="{F3D76818-BB4D-6841-9C5B-855CFBFA0A8E}"/>
                  </a:ext>
                </a:extLst>
              </p:cNvPr>
              <p:cNvSpPr/>
              <p:nvPr/>
            </p:nvSpPr>
            <p:spPr>
              <a:xfrm>
                <a:off x="-944711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F53C14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34" name="Прямоугольник: скругленные углы 14">
                <a:extLst>
                  <a:ext uri="{FF2B5EF4-FFF2-40B4-BE49-F238E27FC236}">
                    <a16:creationId xmlns:a16="http://schemas.microsoft.com/office/drawing/2014/main" id="{840E1A9B-7764-E241-BB61-703F7FA22BD0}"/>
                  </a:ext>
                </a:extLst>
              </p:cNvPr>
              <p:cNvSpPr/>
              <p:nvPr/>
            </p:nvSpPr>
            <p:spPr>
              <a:xfrm>
                <a:off x="-679648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FCC4B8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35" name="Прямоугольник: скругленные углы 15">
                <a:extLst>
                  <a:ext uri="{FF2B5EF4-FFF2-40B4-BE49-F238E27FC236}">
                    <a16:creationId xmlns:a16="http://schemas.microsoft.com/office/drawing/2014/main" id="{1E3DFBFF-5423-7948-89D1-AE0ECB21A5C8}"/>
                  </a:ext>
                </a:extLst>
              </p:cNvPr>
              <p:cNvSpPr/>
              <p:nvPr/>
            </p:nvSpPr>
            <p:spPr>
              <a:xfrm>
                <a:off x="-1209774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FFE5B2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36" name="Прямоугольник: скругленные углы 20">
                <a:extLst>
                  <a:ext uri="{FF2B5EF4-FFF2-40B4-BE49-F238E27FC236}">
                    <a16:creationId xmlns:a16="http://schemas.microsoft.com/office/drawing/2014/main" id="{3C5F50C8-799A-6646-86F5-2AFCAE559C5D}"/>
                  </a:ext>
                </a:extLst>
              </p:cNvPr>
              <p:cNvSpPr/>
              <p:nvPr userDrawn="1"/>
            </p:nvSpPr>
            <p:spPr>
              <a:xfrm>
                <a:off x="-944711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F53C14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37" name="Прямоугольник: скругленные углы 21">
                <a:extLst>
                  <a:ext uri="{FF2B5EF4-FFF2-40B4-BE49-F238E27FC236}">
                    <a16:creationId xmlns:a16="http://schemas.microsoft.com/office/drawing/2014/main" id="{BB799AC8-1839-4E46-980A-1680D0F2559E}"/>
                  </a:ext>
                </a:extLst>
              </p:cNvPr>
              <p:cNvSpPr/>
              <p:nvPr userDrawn="1"/>
            </p:nvSpPr>
            <p:spPr>
              <a:xfrm>
                <a:off x="-679648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FCC4B8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38" name="Прямоугольник: скругленные углы 22">
                <a:extLst>
                  <a:ext uri="{FF2B5EF4-FFF2-40B4-BE49-F238E27FC236}">
                    <a16:creationId xmlns:a16="http://schemas.microsoft.com/office/drawing/2014/main" id="{8D06C0A0-C7B4-4E44-9701-3059DD5A9390}"/>
                  </a:ext>
                </a:extLst>
              </p:cNvPr>
              <p:cNvSpPr/>
              <p:nvPr userDrawn="1"/>
            </p:nvSpPr>
            <p:spPr>
              <a:xfrm>
                <a:off x="-1209774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FFE5B2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39" name="Прямоугольник: скругленные углы 79">
                <a:extLst>
                  <a:ext uri="{FF2B5EF4-FFF2-40B4-BE49-F238E27FC236}">
                    <a16:creationId xmlns:a16="http://schemas.microsoft.com/office/drawing/2014/main" id="{4B5F9A9D-D4AA-8843-9907-1BAB5265C0CC}"/>
                  </a:ext>
                </a:extLst>
              </p:cNvPr>
              <p:cNvSpPr/>
              <p:nvPr userDrawn="1"/>
            </p:nvSpPr>
            <p:spPr>
              <a:xfrm>
                <a:off x="-1735356" y="4136975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bg1"/>
              </a:solidFill>
              <a:ln w="12700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40" name="Прямоугольник: скругленные углы 63">
                <a:extLst>
                  <a:ext uri="{FF2B5EF4-FFF2-40B4-BE49-F238E27FC236}">
                    <a16:creationId xmlns:a16="http://schemas.microsoft.com/office/drawing/2014/main" id="{B12830A1-64DC-B348-AE85-D752F85E407F}"/>
                  </a:ext>
                </a:extLst>
              </p:cNvPr>
              <p:cNvSpPr/>
              <p:nvPr userDrawn="1"/>
            </p:nvSpPr>
            <p:spPr>
              <a:xfrm>
                <a:off x="-1476289" y="4646897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accent2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</p:grp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9B4D8696-D92B-FA0E-3B11-461E3143BA38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641985" y="6415289"/>
            <a:ext cx="1044575" cy="231716"/>
            <a:chOff x="8489504" y="910877"/>
            <a:chExt cx="2734509" cy="606592"/>
          </a:xfrm>
          <a:solidFill>
            <a:schemeClr val="tx1"/>
          </a:solidFill>
        </p:grpSpPr>
        <p:sp>
          <p:nvSpPr>
            <p:cNvPr id="7" name="Полилиния 6">
              <a:extLst>
                <a:ext uri="{FF2B5EF4-FFF2-40B4-BE49-F238E27FC236}">
                  <a16:creationId xmlns:a16="http://schemas.microsoft.com/office/drawing/2014/main" id="{A401FE13-B13D-29B2-D2A8-7EC8A52BE3B0}"/>
                </a:ext>
              </a:extLst>
            </p:cNvPr>
            <p:cNvSpPr/>
            <p:nvPr/>
          </p:nvSpPr>
          <p:spPr>
            <a:xfrm>
              <a:off x="10064626" y="910877"/>
              <a:ext cx="1159387" cy="606592"/>
            </a:xfrm>
            <a:custGeom>
              <a:avLst/>
              <a:gdLst>
                <a:gd name="connsiteX0" fmla="*/ 0 w 1159387"/>
                <a:gd name="connsiteY0" fmla="*/ 178242 h 606592"/>
                <a:gd name="connsiteX1" fmla="*/ 0 w 1159387"/>
                <a:gd name="connsiteY1" fmla="*/ 237024 h 606592"/>
                <a:gd name="connsiteX2" fmla="*/ 9135 w 1159387"/>
                <a:gd name="connsiteY2" fmla="*/ 246098 h 606592"/>
                <a:gd name="connsiteX3" fmla="*/ 30214 w 1159387"/>
                <a:gd name="connsiteY3" fmla="*/ 250009 h 606592"/>
                <a:gd name="connsiteX4" fmla="*/ 32261 w 1159387"/>
                <a:gd name="connsiteY4" fmla="*/ 250607 h 606592"/>
                <a:gd name="connsiteX5" fmla="*/ 85030 w 1159387"/>
                <a:gd name="connsiteY5" fmla="*/ 319338 h 606592"/>
                <a:gd name="connsiteX6" fmla="*/ 85030 w 1159387"/>
                <a:gd name="connsiteY6" fmla="*/ 483817 h 606592"/>
                <a:gd name="connsiteX7" fmla="*/ 120863 w 1159387"/>
                <a:gd name="connsiteY7" fmla="*/ 570989 h 606592"/>
                <a:gd name="connsiteX8" fmla="*/ 205874 w 1159387"/>
                <a:gd name="connsiteY8" fmla="*/ 606364 h 606592"/>
                <a:gd name="connsiteX9" fmla="*/ 207284 w 1159387"/>
                <a:gd name="connsiteY9" fmla="*/ 606364 h 606592"/>
                <a:gd name="connsiteX10" fmla="*/ 235964 w 1159387"/>
                <a:gd name="connsiteY10" fmla="*/ 606364 h 606592"/>
                <a:gd name="connsiteX11" fmla="*/ 247356 w 1159387"/>
                <a:gd name="connsiteY11" fmla="*/ 593268 h 606592"/>
                <a:gd name="connsiteX12" fmla="*/ 247337 w 1159387"/>
                <a:gd name="connsiteY12" fmla="*/ 563750 h 606592"/>
                <a:gd name="connsiteX13" fmla="*/ 247337 w 1159387"/>
                <a:gd name="connsiteY13" fmla="*/ 541928 h 606592"/>
                <a:gd name="connsiteX14" fmla="*/ 236802 w 1159387"/>
                <a:gd name="connsiteY14" fmla="*/ 530565 h 606592"/>
                <a:gd name="connsiteX15" fmla="*/ 197454 w 1159387"/>
                <a:gd name="connsiteY15" fmla="*/ 530527 h 606592"/>
                <a:gd name="connsiteX16" fmla="*/ 159506 w 1159387"/>
                <a:gd name="connsiteY16" fmla="*/ 492285 h 606592"/>
                <a:gd name="connsiteX17" fmla="*/ 159506 w 1159387"/>
                <a:gd name="connsiteY17" fmla="*/ 403084 h 606592"/>
                <a:gd name="connsiteX18" fmla="*/ 159506 w 1159387"/>
                <a:gd name="connsiteY18" fmla="*/ 316772 h 606592"/>
                <a:gd name="connsiteX19" fmla="*/ 100365 w 1159387"/>
                <a:gd name="connsiteY19" fmla="*/ 207274 h 606592"/>
                <a:gd name="connsiteX20" fmla="*/ 99080 w 1159387"/>
                <a:gd name="connsiteY20" fmla="*/ 206423 h 606592"/>
                <a:gd name="connsiteX21" fmla="*/ 100356 w 1159387"/>
                <a:gd name="connsiteY21" fmla="*/ 205547 h 606592"/>
                <a:gd name="connsiteX22" fmla="*/ 159506 w 1159387"/>
                <a:gd name="connsiteY22" fmla="*/ 90665 h 606592"/>
                <a:gd name="connsiteX23" fmla="*/ 159506 w 1159387"/>
                <a:gd name="connsiteY23" fmla="*/ 10992 h 606592"/>
                <a:gd name="connsiteX24" fmla="*/ 148962 w 1159387"/>
                <a:gd name="connsiteY24" fmla="*/ 0 h 606592"/>
                <a:gd name="connsiteX25" fmla="*/ 95565 w 1159387"/>
                <a:gd name="connsiteY25" fmla="*/ 0 h 606592"/>
                <a:gd name="connsiteX26" fmla="*/ 85030 w 1159387"/>
                <a:gd name="connsiteY26" fmla="*/ 10992 h 606592"/>
                <a:gd name="connsiteX27" fmla="*/ 85030 w 1159387"/>
                <a:gd name="connsiteY27" fmla="*/ 90665 h 606592"/>
                <a:gd name="connsiteX28" fmla="*/ 32366 w 1159387"/>
                <a:gd name="connsiteY28" fmla="*/ 162761 h 606592"/>
                <a:gd name="connsiteX29" fmla="*/ 30214 w 1159387"/>
                <a:gd name="connsiteY29" fmla="*/ 163402 h 606592"/>
                <a:gd name="connsiteX30" fmla="*/ 9135 w 1159387"/>
                <a:gd name="connsiteY30" fmla="*/ 167302 h 606592"/>
                <a:gd name="connsiteX31" fmla="*/ 0 w 1159387"/>
                <a:gd name="connsiteY31" fmla="*/ 178242 h 606592"/>
                <a:gd name="connsiteX32" fmla="*/ 933768 w 1159387"/>
                <a:gd name="connsiteY32" fmla="*/ 313343 h 606592"/>
                <a:gd name="connsiteX33" fmla="*/ 933768 w 1159387"/>
                <a:gd name="connsiteY33" fmla="*/ 468558 h 606592"/>
                <a:gd name="connsiteX34" fmla="*/ 930749 w 1159387"/>
                <a:gd name="connsiteY34" fmla="*/ 475902 h 606592"/>
                <a:gd name="connsiteX35" fmla="*/ 923472 w 1159387"/>
                <a:gd name="connsiteY35" fmla="*/ 478940 h 606592"/>
                <a:gd name="connsiteX36" fmla="*/ 869627 w 1159387"/>
                <a:gd name="connsiteY36" fmla="*/ 478902 h 606592"/>
                <a:gd name="connsiteX37" fmla="*/ 859349 w 1159387"/>
                <a:gd name="connsiteY37" fmla="*/ 468530 h 606592"/>
                <a:gd name="connsiteX38" fmla="*/ 859349 w 1159387"/>
                <a:gd name="connsiteY38" fmla="*/ 10375 h 606592"/>
                <a:gd name="connsiteX39" fmla="*/ 869636 w 1159387"/>
                <a:gd name="connsiteY39" fmla="*/ 0 h 606592"/>
                <a:gd name="connsiteX40" fmla="*/ 923472 w 1159387"/>
                <a:gd name="connsiteY40" fmla="*/ 0 h 606592"/>
                <a:gd name="connsiteX41" fmla="*/ 933768 w 1159387"/>
                <a:gd name="connsiteY41" fmla="*/ 10375 h 606592"/>
                <a:gd name="connsiteX42" fmla="*/ 933768 w 1159387"/>
                <a:gd name="connsiteY42" fmla="*/ 193355 h 606592"/>
                <a:gd name="connsiteX43" fmla="*/ 1159388 w 1159387"/>
                <a:gd name="connsiteY43" fmla="*/ 312995 h 606592"/>
                <a:gd name="connsiteX44" fmla="*/ 1159388 w 1159387"/>
                <a:gd name="connsiteY44" fmla="*/ 468520 h 606592"/>
                <a:gd name="connsiteX45" fmla="*/ 1156378 w 1159387"/>
                <a:gd name="connsiteY45" fmla="*/ 475854 h 606592"/>
                <a:gd name="connsiteX46" fmla="*/ 1149101 w 1159387"/>
                <a:gd name="connsiteY46" fmla="*/ 478893 h 606592"/>
                <a:gd name="connsiteX47" fmla="*/ 1095199 w 1159387"/>
                <a:gd name="connsiteY47" fmla="*/ 478893 h 606592"/>
                <a:gd name="connsiteX48" fmla="*/ 1087922 w 1159387"/>
                <a:gd name="connsiteY48" fmla="*/ 475854 h 606592"/>
                <a:gd name="connsiteX49" fmla="*/ 1084912 w 1159387"/>
                <a:gd name="connsiteY49" fmla="*/ 468520 h 606592"/>
                <a:gd name="connsiteX50" fmla="*/ 1084912 w 1159387"/>
                <a:gd name="connsiteY50" fmla="*/ 312995 h 606592"/>
                <a:gd name="connsiteX51" fmla="*/ 966868 w 1159387"/>
                <a:gd name="connsiteY51" fmla="*/ 246504 h 606592"/>
                <a:gd name="connsiteX52" fmla="*/ 933768 w 1159387"/>
                <a:gd name="connsiteY52" fmla="*/ 313343 h 606592"/>
                <a:gd name="connsiteX53" fmla="*/ 596563 w 1159387"/>
                <a:gd name="connsiteY53" fmla="*/ 207040 h 606592"/>
                <a:gd name="connsiteX54" fmla="*/ 549471 w 1159387"/>
                <a:gd name="connsiteY54" fmla="*/ 323084 h 606592"/>
                <a:gd name="connsiteX55" fmla="*/ 596563 w 1159387"/>
                <a:gd name="connsiteY55" fmla="*/ 439145 h 606592"/>
                <a:gd name="connsiteX56" fmla="*/ 797522 w 1159387"/>
                <a:gd name="connsiteY56" fmla="*/ 460995 h 606592"/>
                <a:gd name="connsiteX57" fmla="*/ 799923 w 1159387"/>
                <a:gd name="connsiteY57" fmla="*/ 459357 h 606592"/>
                <a:gd name="connsiteX58" fmla="*/ 805247 w 1159387"/>
                <a:gd name="connsiteY58" fmla="*/ 455385 h 606592"/>
                <a:gd name="connsiteX59" fmla="*/ 806018 w 1159387"/>
                <a:gd name="connsiteY59" fmla="*/ 438745 h 606592"/>
                <a:gd name="connsiteX60" fmla="*/ 790226 w 1159387"/>
                <a:gd name="connsiteY60" fmla="*/ 417067 h 606592"/>
                <a:gd name="connsiteX61" fmla="*/ 776110 w 1159387"/>
                <a:gd name="connsiteY61" fmla="*/ 397747 h 606592"/>
                <a:gd name="connsiteX62" fmla="*/ 760975 w 1159387"/>
                <a:gd name="connsiteY62" fmla="*/ 394585 h 606592"/>
                <a:gd name="connsiteX63" fmla="*/ 757003 w 1159387"/>
                <a:gd name="connsiteY63" fmla="*/ 397067 h 606592"/>
                <a:gd name="connsiteX64" fmla="*/ 619737 w 1159387"/>
                <a:gd name="connsiteY64" fmla="*/ 323084 h 606592"/>
                <a:gd name="connsiteX65" fmla="*/ 756945 w 1159387"/>
                <a:gd name="connsiteY65" fmla="*/ 249203 h 606592"/>
                <a:gd name="connsiteX66" fmla="*/ 760975 w 1159387"/>
                <a:gd name="connsiteY66" fmla="*/ 251591 h 606592"/>
                <a:gd name="connsiteX67" fmla="*/ 776148 w 1159387"/>
                <a:gd name="connsiteY67" fmla="*/ 248416 h 606592"/>
                <a:gd name="connsiteX68" fmla="*/ 790207 w 1159387"/>
                <a:gd name="connsiteY68" fmla="*/ 229138 h 606592"/>
                <a:gd name="connsiteX69" fmla="*/ 804618 w 1159387"/>
                <a:gd name="connsiteY69" fmla="*/ 209395 h 606592"/>
                <a:gd name="connsiteX70" fmla="*/ 799903 w 1159387"/>
                <a:gd name="connsiteY70" fmla="*/ 186809 h 606592"/>
                <a:gd name="connsiteX71" fmla="*/ 797522 w 1159387"/>
                <a:gd name="connsiteY71" fmla="*/ 185195 h 606592"/>
                <a:gd name="connsiteX72" fmla="*/ 596563 w 1159387"/>
                <a:gd name="connsiteY72" fmla="*/ 207040 h 606592"/>
                <a:gd name="connsiteX73" fmla="*/ 293714 w 1159387"/>
                <a:gd name="connsiteY73" fmla="*/ 350313 h 606592"/>
                <a:gd name="connsiteX74" fmla="*/ 469385 w 1159387"/>
                <a:gd name="connsiteY74" fmla="*/ 350313 h 606592"/>
                <a:gd name="connsiteX75" fmla="*/ 507323 w 1159387"/>
                <a:gd name="connsiteY75" fmla="*/ 312290 h 606592"/>
                <a:gd name="connsiteX76" fmla="*/ 472890 w 1159387"/>
                <a:gd name="connsiteY76" fmla="*/ 208836 h 606592"/>
                <a:gd name="connsiteX77" fmla="*/ 368190 w 1159387"/>
                <a:gd name="connsiteY77" fmla="*/ 159530 h 606592"/>
                <a:gd name="connsiteX78" fmla="*/ 219228 w 1159387"/>
                <a:gd name="connsiteY78" fmla="*/ 323103 h 606592"/>
                <a:gd name="connsiteX79" fmla="*/ 375915 w 1159387"/>
                <a:gd name="connsiteY79" fmla="*/ 486674 h 606592"/>
                <a:gd name="connsiteX80" fmla="*/ 502398 w 1159387"/>
                <a:gd name="connsiteY80" fmla="*/ 450623 h 606592"/>
                <a:gd name="connsiteX81" fmla="*/ 505913 w 1159387"/>
                <a:gd name="connsiteY81" fmla="*/ 435907 h 606592"/>
                <a:gd name="connsiteX82" fmla="*/ 504818 w 1159387"/>
                <a:gd name="connsiteY82" fmla="*/ 434088 h 606592"/>
                <a:gd name="connsiteX83" fmla="*/ 478519 w 1159387"/>
                <a:gd name="connsiteY83" fmla="*/ 391689 h 606592"/>
                <a:gd name="connsiteX84" fmla="*/ 464460 w 1159387"/>
                <a:gd name="connsiteY84" fmla="*/ 388476 h 606592"/>
                <a:gd name="connsiteX85" fmla="*/ 377335 w 1159387"/>
                <a:gd name="connsiteY85" fmla="*/ 414990 h 606592"/>
                <a:gd name="connsiteX86" fmla="*/ 293714 w 1159387"/>
                <a:gd name="connsiteY86" fmla="*/ 350313 h 606592"/>
                <a:gd name="connsiteX87" fmla="*/ 430732 w 1159387"/>
                <a:gd name="connsiteY87" fmla="*/ 287912 h 606592"/>
                <a:gd name="connsiteX88" fmla="*/ 368190 w 1159387"/>
                <a:gd name="connsiteY88" fmla="*/ 232071 h 606592"/>
                <a:gd name="connsiteX89" fmla="*/ 296524 w 1159387"/>
                <a:gd name="connsiteY89" fmla="*/ 287912 h 606592"/>
                <a:gd name="connsiteX90" fmla="*/ 430732 w 1159387"/>
                <a:gd name="connsiteY90" fmla="*/ 287912 h 606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</a:cxnLst>
              <a:rect l="l" t="t" r="r" b="b"/>
              <a:pathLst>
                <a:path w="1159387" h="606592">
                  <a:moveTo>
                    <a:pt x="0" y="178242"/>
                  </a:moveTo>
                  <a:lnTo>
                    <a:pt x="0" y="237024"/>
                  </a:lnTo>
                  <a:cubicBezTo>
                    <a:pt x="695" y="241577"/>
                    <a:pt x="4220" y="245266"/>
                    <a:pt x="9135" y="246098"/>
                  </a:cubicBezTo>
                  <a:cubicBezTo>
                    <a:pt x="16869" y="247387"/>
                    <a:pt x="27404" y="249197"/>
                    <a:pt x="30214" y="250009"/>
                  </a:cubicBezTo>
                  <a:cubicBezTo>
                    <a:pt x="30833" y="250193"/>
                    <a:pt x="31518" y="250390"/>
                    <a:pt x="32261" y="250607"/>
                  </a:cubicBezTo>
                  <a:cubicBezTo>
                    <a:pt x="46749" y="254784"/>
                    <a:pt x="83697" y="265433"/>
                    <a:pt x="85030" y="319338"/>
                  </a:cubicBezTo>
                  <a:lnTo>
                    <a:pt x="85030" y="483817"/>
                  </a:lnTo>
                  <a:cubicBezTo>
                    <a:pt x="85030" y="516573"/>
                    <a:pt x="97670" y="547958"/>
                    <a:pt x="120863" y="570989"/>
                  </a:cubicBezTo>
                  <a:cubicBezTo>
                    <a:pt x="143342" y="593696"/>
                    <a:pt x="174261" y="606402"/>
                    <a:pt x="205874" y="606364"/>
                  </a:cubicBezTo>
                  <a:lnTo>
                    <a:pt x="207284" y="606364"/>
                  </a:lnTo>
                  <a:cubicBezTo>
                    <a:pt x="207284" y="606364"/>
                    <a:pt x="207284" y="606879"/>
                    <a:pt x="235964" y="606364"/>
                  </a:cubicBezTo>
                  <a:cubicBezTo>
                    <a:pt x="243232" y="606231"/>
                    <a:pt x="247461" y="601383"/>
                    <a:pt x="247356" y="593268"/>
                  </a:cubicBezTo>
                  <a:cubicBezTo>
                    <a:pt x="247222" y="582028"/>
                    <a:pt x="247527" y="573246"/>
                    <a:pt x="247337" y="563750"/>
                  </a:cubicBezTo>
                  <a:cubicBezTo>
                    <a:pt x="247184" y="555816"/>
                    <a:pt x="247337" y="548520"/>
                    <a:pt x="247337" y="541928"/>
                  </a:cubicBezTo>
                  <a:cubicBezTo>
                    <a:pt x="247337" y="535804"/>
                    <a:pt x="242422" y="530794"/>
                    <a:pt x="236802" y="530565"/>
                  </a:cubicBezTo>
                  <a:cubicBezTo>
                    <a:pt x="226258" y="530527"/>
                    <a:pt x="211504" y="530527"/>
                    <a:pt x="197454" y="530527"/>
                  </a:cubicBezTo>
                  <a:cubicBezTo>
                    <a:pt x="177071" y="530527"/>
                    <a:pt x="159506" y="513401"/>
                    <a:pt x="159506" y="492285"/>
                  </a:cubicBezTo>
                  <a:lnTo>
                    <a:pt x="159506" y="403084"/>
                  </a:lnTo>
                  <a:cubicBezTo>
                    <a:pt x="160202" y="402874"/>
                    <a:pt x="159506" y="317750"/>
                    <a:pt x="159506" y="316772"/>
                  </a:cubicBezTo>
                  <a:cubicBezTo>
                    <a:pt x="157544" y="243958"/>
                    <a:pt x="109233" y="212964"/>
                    <a:pt x="100365" y="207274"/>
                  </a:cubicBezTo>
                  <a:cubicBezTo>
                    <a:pt x="99708" y="206855"/>
                    <a:pt x="99270" y="206569"/>
                    <a:pt x="99080" y="206423"/>
                  </a:cubicBezTo>
                  <a:cubicBezTo>
                    <a:pt x="99270" y="206264"/>
                    <a:pt x="99708" y="205979"/>
                    <a:pt x="100356" y="205547"/>
                  </a:cubicBezTo>
                  <a:cubicBezTo>
                    <a:pt x="109395" y="199604"/>
                    <a:pt x="159506" y="166622"/>
                    <a:pt x="159506" y="90665"/>
                  </a:cubicBezTo>
                  <a:lnTo>
                    <a:pt x="159506" y="10992"/>
                  </a:lnTo>
                  <a:cubicBezTo>
                    <a:pt x="159506" y="4922"/>
                    <a:pt x="155287" y="0"/>
                    <a:pt x="148962" y="0"/>
                  </a:cubicBezTo>
                  <a:lnTo>
                    <a:pt x="95565" y="0"/>
                  </a:lnTo>
                  <a:cubicBezTo>
                    <a:pt x="89945" y="0"/>
                    <a:pt x="85030" y="4922"/>
                    <a:pt x="85030" y="10992"/>
                  </a:cubicBezTo>
                  <a:lnTo>
                    <a:pt x="85030" y="90665"/>
                  </a:lnTo>
                  <a:cubicBezTo>
                    <a:pt x="85030" y="147350"/>
                    <a:pt x="47054" y="158469"/>
                    <a:pt x="32366" y="162761"/>
                  </a:cubicBezTo>
                  <a:cubicBezTo>
                    <a:pt x="31576" y="162997"/>
                    <a:pt x="30861" y="163206"/>
                    <a:pt x="30214" y="163402"/>
                  </a:cubicBezTo>
                  <a:cubicBezTo>
                    <a:pt x="27404" y="164209"/>
                    <a:pt x="16869" y="166026"/>
                    <a:pt x="9135" y="167302"/>
                  </a:cubicBezTo>
                  <a:cubicBezTo>
                    <a:pt x="3515" y="168248"/>
                    <a:pt x="0" y="172858"/>
                    <a:pt x="0" y="178242"/>
                  </a:cubicBezTo>
                  <a:close/>
                  <a:moveTo>
                    <a:pt x="933768" y="313343"/>
                  </a:moveTo>
                  <a:lnTo>
                    <a:pt x="933768" y="468558"/>
                  </a:lnTo>
                  <a:cubicBezTo>
                    <a:pt x="933768" y="471320"/>
                    <a:pt x="932682" y="473949"/>
                    <a:pt x="930749" y="475902"/>
                  </a:cubicBezTo>
                  <a:cubicBezTo>
                    <a:pt x="928825" y="477845"/>
                    <a:pt x="926206" y="478940"/>
                    <a:pt x="923472" y="478940"/>
                  </a:cubicBezTo>
                  <a:cubicBezTo>
                    <a:pt x="909270" y="478921"/>
                    <a:pt x="883819" y="478912"/>
                    <a:pt x="869627" y="478902"/>
                  </a:cubicBezTo>
                  <a:cubicBezTo>
                    <a:pt x="863950" y="478893"/>
                    <a:pt x="859349" y="474254"/>
                    <a:pt x="859349" y="468530"/>
                  </a:cubicBezTo>
                  <a:cubicBezTo>
                    <a:pt x="859349" y="405427"/>
                    <a:pt x="859349" y="73513"/>
                    <a:pt x="859349" y="10375"/>
                  </a:cubicBezTo>
                  <a:cubicBezTo>
                    <a:pt x="859349" y="4648"/>
                    <a:pt x="863959" y="0"/>
                    <a:pt x="869636" y="0"/>
                  </a:cubicBezTo>
                  <a:cubicBezTo>
                    <a:pt x="883838" y="0"/>
                    <a:pt x="909279" y="0"/>
                    <a:pt x="923472" y="0"/>
                  </a:cubicBezTo>
                  <a:cubicBezTo>
                    <a:pt x="929158" y="0"/>
                    <a:pt x="933768" y="4648"/>
                    <a:pt x="933768" y="10375"/>
                  </a:cubicBezTo>
                  <a:cubicBezTo>
                    <a:pt x="933768" y="50513"/>
                    <a:pt x="933768" y="193355"/>
                    <a:pt x="933768" y="193355"/>
                  </a:cubicBezTo>
                  <a:cubicBezTo>
                    <a:pt x="1013169" y="118433"/>
                    <a:pt x="1159388" y="172318"/>
                    <a:pt x="1159388" y="312995"/>
                  </a:cubicBezTo>
                  <a:lnTo>
                    <a:pt x="1159388" y="468520"/>
                  </a:lnTo>
                  <a:cubicBezTo>
                    <a:pt x="1159388" y="471273"/>
                    <a:pt x="1158302" y="473911"/>
                    <a:pt x="1156378" y="475854"/>
                  </a:cubicBezTo>
                  <a:cubicBezTo>
                    <a:pt x="1154445" y="477797"/>
                    <a:pt x="1151835" y="478893"/>
                    <a:pt x="1149101" y="478893"/>
                  </a:cubicBezTo>
                  <a:cubicBezTo>
                    <a:pt x="1134899" y="478893"/>
                    <a:pt x="1109401" y="478893"/>
                    <a:pt x="1095199" y="478893"/>
                  </a:cubicBezTo>
                  <a:cubicBezTo>
                    <a:pt x="1092465" y="478893"/>
                    <a:pt x="1089855" y="477797"/>
                    <a:pt x="1087922" y="475854"/>
                  </a:cubicBezTo>
                  <a:cubicBezTo>
                    <a:pt x="1085998" y="473911"/>
                    <a:pt x="1084912" y="471273"/>
                    <a:pt x="1084912" y="468520"/>
                  </a:cubicBezTo>
                  <a:cubicBezTo>
                    <a:pt x="1084912" y="432211"/>
                    <a:pt x="1084912" y="312995"/>
                    <a:pt x="1084912" y="312995"/>
                  </a:cubicBezTo>
                  <a:cubicBezTo>
                    <a:pt x="1084912" y="239513"/>
                    <a:pt x="1011121" y="217047"/>
                    <a:pt x="966868" y="246504"/>
                  </a:cubicBezTo>
                  <a:cubicBezTo>
                    <a:pt x="947885" y="259141"/>
                    <a:pt x="933768" y="281804"/>
                    <a:pt x="933768" y="313343"/>
                  </a:cubicBezTo>
                  <a:close/>
                  <a:moveTo>
                    <a:pt x="596563" y="207040"/>
                  </a:moveTo>
                  <a:cubicBezTo>
                    <a:pt x="564235" y="238922"/>
                    <a:pt x="549471" y="280953"/>
                    <a:pt x="549471" y="323084"/>
                  </a:cubicBezTo>
                  <a:cubicBezTo>
                    <a:pt x="549471" y="365223"/>
                    <a:pt x="564235" y="407246"/>
                    <a:pt x="596563" y="439145"/>
                  </a:cubicBezTo>
                  <a:cubicBezTo>
                    <a:pt x="650665" y="494085"/>
                    <a:pt x="734285" y="501400"/>
                    <a:pt x="797522" y="460995"/>
                  </a:cubicBezTo>
                  <a:cubicBezTo>
                    <a:pt x="798208" y="460481"/>
                    <a:pt x="799037" y="459938"/>
                    <a:pt x="799923" y="459357"/>
                  </a:cubicBezTo>
                  <a:cubicBezTo>
                    <a:pt x="801761" y="458147"/>
                    <a:pt x="803828" y="456795"/>
                    <a:pt x="805247" y="455385"/>
                  </a:cubicBezTo>
                  <a:cubicBezTo>
                    <a:pt x="808762" y="451909"/>
                    <a:pt x="810762" y="445470"/>
                    <a:pt x="806018" y="438745"/>
                  </a:cubicBezTo>
                  <a:cubicBezTo>
                    <a:pt x="801761" y="432697"/>
                    <a:pt x="796170" y="425153"/>
                    <a:pt x="790226" y="417067"/>
                  </a:cubicBezTo>
                  <a:cubicBezTo>
                    <a:pt x="785121" y="410132"/>
                    <a:pt x="780339" y="403665"/>
                    <a:pt x="776110" y="397747"/>
                  </a:cubicBezTo>
                  <a:cubicBezTo>
                    <a:pt x="772671" y="392947"/>
                    <a:pt x="765890" y="391664"/>
                    <a:pt x="760975" y="394585"/>
                  </a:cubicBezTo>
                  <a:cubicBezTo>
                    <a:pt x="759565" y="395461"/>
                    <a:pt x="758393" y="396172"/>
                    <a:pt x="757003" y="397067"/>
                  </a:cubicBezTo>
                  <a:cubicBezTo>
                    <a:pt x="686032" y="442936"/>
                    <a:pt x="619737" y="382374"/>
                    <a:pt x="619737" y="323084"/>
                  </a:cubicBezTo>
                  <a:cubicBezTo>
                    <a:pt x="619737" y="263795"/>
                    <a:pt x="687384" y="203573"/>
                    <a:pt x="756945" y="249203"/>
                  </a:cubicBezTo>
                  <a:cubicBezTo>
                    <a:pt x="758308" y="250105"/>
                    <a:pt x="759565" y="250708"/>
                    <a:pt x="760975" y="251591"/>
                  </a:cubicBezTo>
                  <a:cubicBezTo>
                    <a:pt x="765890" y="254512"/>
                    <a:pt x="772805" y="253115"/>
                    <a:pt x="776148" y="248416"/>
                  </a:cubicBezTo>
                  <a:cubicBezTo>
                    <a:pt x="780377" y="242497"/>
                    <a:pt x="785102" y="236065"/>
                    <a:pt x="790207" y="229138"/>
                  </a:cubicBezTo>
                  <a:cubicBezTo>
                    <a:pt x="795560" y="221854"/>
                    <a:pt x="800580" y="215072"/>
                    <a:pt x="804618" y="209395"/>
                  </a:cubicBezTo>
                  <a:cubicBezTo>
                    <a:pt x="811362" y="199928"/>
                    <a:pt x="809571" y="193191"/>
                    <a:pt x="799903" y="186809"/>
                  </a:cubicBezTo>
                  <a:cubicBezTo>
                    <a:pt x="799027" y="186231"/>
                    <a:pt x="798199" y="185691"/>
                    <a:pt x="797522" y="185195"/>
                  </a:cubicBezTo>
                  <a:cubicBezTo>
                    <a:pt x="734285" y="144778"/>
                    <a:pt x="650665" y="152087"/>
                    <a:pt x="596563" y="207040"/>
                  </a:cubicBezTo>
                  <a:close/>
                  <a:moveTo>
                    <a:pt x="293714" y="350313"/>
                  </a:moveTo>
                  <a:lnTo>
                    <a:pt x="469385" y="350313"/>
                  </a:lnTo>
                  <a:cubicBezTo>
                    <a:pt x="490463" y="350313"/>
                    <a:pt x="507323" y="333283"/>
                    <a:pt x="507323" y="312290"/>
                  </a:cubicBezTo>
                  <a:cubicBezTo>
                    <a:pt x="507323" y="265561"/>
                    <a:pt x="499588" y="240644"/>
                    <a:pt x="472890" y="208836"/>
                  </a:cubicBezTo>
                  <a:cubicBezTo>
                    <a:pt x="445486" y="176865"/>
                    <a:pt x="401919" y="159530"/>
                    <a:pt x="368190" y="159530"/>
                  </a:cubicBezTo>
                  <a:cubicBezTo>
                    <a:pt x="283875" y="159530"/>
                    <a:pt x="219228" y="231722"/>
                    <a:pt x="219228" y="323103"/>
                  </a:cubicBezTo>
                  <a:cubicBezTo>
                    <a:pt x="219228" y="435697"/>
                    <a:pt x="306354" y="486674"/>
                    <a:pt x="375915" y="486674"/>
                  </a:cubicBezTo>
                  <a:cubicBezTo>
                    <a:pt x="425807" y="486674"/>
                    <a:pt x="464460" y="474616"/>
                    <a:pt x="502398" y="450623"/>
                  </a:cubicBezTo>
                  <a:cubicBezTo>
                    <a:pt x="506618" y="447470"/>
                    <a:pt x="508723" y="441003"/>
                    <a:pt x="505913" y="435907"/>
                  </a:cubicBezTo>
                  <a:lnTo>
                    <a:pt x="504818" y="434088"/>
                  </a:lnTo>
                  <a:cubicBezTo>
                    <a:pt x="497150" y="421362"/>
                    <a:pt x="486558" y="403789"/>
                    <a:pt x="478519" y="391689"/>
                  </a:cubicBezTo>
                  <a:cubicBezTo>
                    <a:pt x="475709" y="386901"/>
                    <a:pt x="469385" y="385492"/>
                    <a:pt x="464460" y="388476"/>
                  </a:cubicBezTo>
                  <a:cubicBezTo>
                    <a:pt x="440571" y="402722"/>
                    <a:pt x="415273" y="415266"/>
                    <a:pt x="377335" y="414990"/>
                  </a:cubicBezTo>
                  <a:cubicBezTo>
                    <a:pt x="342197" y="414742"/>
                    <a:pt x="304954" y="392280"/>
                    <a:pt x="293714" y="350313"/>
                  </a:cubicBezTo>
                  <a:close/>
                  <a:moveTo>
                    <a:pt x="430732" y="287912"/>
                  </a:moveTo>
                  <a:cubicBezTo>
                    <a:pt x="424407" y="240694"/>
                    <a:pt x="392079" y="232071"/>
                    <a:pt x="368190" y="232071"/>
                  </a:cubicBezTo>
                  <a:cubicBezTo>
                    <a:pt x="335872" y="232071"/>
                    <a:pt x="308478" y="256182"/>
                    <a:pt x="296524" y="287912"/>
                  </a:cubicBezTo>
                  <a:lnTo>
                    <a:pt x="430732" y="287912"/>
                  </a:lnTo>
                  <a:close/>
                </a:path>
              </a:pathLst>
            </a:custGeom>
            <a:grpFill/>
            <a:ln w="76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9" name="Полилиния 8">
              <a:extLst>
                <a:ext uri="{FF2B5EF4-FFF2-40B4-BE49-F238E27FC236}">
                  <a16:creationId xmlns:a16="http://schemas.microsoft.com/office/drawing/2014/main" id="{261EA78A-07D8-1B0A-D52F-2000FAB5FCB6}"/>
                </a:ext>
              </a:extLst>
            </p:cNvPr>
            <p:cNvSpPr/>
            <p:nvPr/>
          </p:nvSpPr>
          <p:spPr>
            <a:xfrm>
              <a:off x="8489504" y="1070894"/>
              <a:ext cx="1492273" cy="326563"/>
            </a:xfrm>
            <a:custGeom>
              <a:avLst/>
              <a:gdLst>
                <a:gd name="connsiteX0" fmla="*/ 180273 w 1492273"/>
                <a:gd name="connsiteY0" fmla="*/ 900 h 326563"/>
                <a:gd name="connsiteX1" fmla="*/ 83526 w 1492273"/>
                <a:gd name="connsiteY1" fmla="*/ 20775 h 326563"/>
                <a:gd name="connsiteX2" fmla="*/ 15954 w 1492273"/>
                <a:gd name="connsiteY2" fmla="*/ 92853 h 326563"/>
                <a:gd name="connsiteX3" fmla="*/ 2323 w 1492273"/>
                <a:gd name="connsiteY3" fmla="*/ 190737 h 326563"/>
                <a:gd name="connsiteX4" fmla="*/ 47618 w 1492273"/>
                <a:gd name="connsiteY4" fmla="*/ 278557 h 326563"/>
                <a:gd name="connsiteX5" fmla="*/ 135243 w 1492273"/>
                <a:gd name="connsiteY5" fmla="*/ 324153 h 326563"/>
                <a:gd name="connsiteX6" fmla="*/ 233098 w 1492273"/>
                <a:gd name="connsiteY6" fmla="*/ 310818 h 326563"/>
                <a:gd name="connsiteX7" fmla="*/ 305341 w 1492273"/>
                <a:gd name="connsiteY7" fmla="*/ 243429 h 326563"/>
                <a:gd name="connsiteX8" fmla="*/ 325507 w 1492273"/>
                <a:gd name="connsiteY8" fmla="*/ 146675 h 326563"/>
                <a:gd name="connsiteX9" fmla="*/ 278778 w 1492273"/>
                <a:gd name="connsiteY9" fmla="*/ 47965 h 326563"/>
                <a:gd name="connsiteX10" fmla="*/ 180273 w 1492273"/>
                <a:gd name="connsiteY10" fmla="*/ 900 h 326563"/>
                <a:gd name="connsiteX11" fmla="*/ 174984 w 1492273"/>
                <a:gd name="connsiteY11" fmla="*/ 249697 h 326563"/>
                <a:gd name="connsiteX12" fmla="*/ 122555 w 1492273"/>
                <a:gd name="connsiteY12" fmla="*/ 240277 h 326563"/>
                <a:gd name="connsiteX13" fmla="*/ 85427 w 1492273"/>
                <a:gd name="connsiteY13" fmla="*/ 202047 h 326563"/>
                <a:gd name="connsiteX14" fmla="*/ 77507 w 1492273"/>
                <a:gd name="connsiteY14" fmla="*/ 149329 h 326563"/>
                <a:gd name="connsiteX15" fmla="*/ 101766 w 1492273"/>
                <a:gd name="connsiteY15" fmla="*/ 101883 h 326563"/>
                <a:gd name="connsiteX16" fmla="*/ 149113 w 1492273"/>
                <a:gd name="connsiteY16" fmla="*/ 77461 h 326563"/>
                <a:gd name="connsiteX17" fmla="*/ 201825 w 1492273"/>
                <a:gd name="connsiteY17" fmla="*/ 85220 h 326563"/>
                <a:gd name="connsiteX18" fmla="*/ 240132 w 1492273"/>
                <a:gd name="connsiteY18" fmla="*/ 122247 h 326563"/>
                <a:gd name="connsiteX19" fmla="*/ 249714 w 1492273"/>
                <a:gd name="connsiteY19" fmla="*/ 174684 h 326563"/>
                <a:gd name="connsiteX20" fmla="*/ 225058 w 1492273"/>
                <a:gd name="connsiteY20" fmla="*/ 224868 h 326563"/>
                <a:gd name="connsiteX21" fmla="*/ 174984 w 1492273"/>
                <a:gd name="connsiteY21" fmla="*/ 249697 h 326563"/>
                <a:gd name="connsiteX22" fmla="*/ 412780 w 1492273"/>
                <a:gd name="connsiteY22" fmla="*/ 7358 h 326563"/>
                <a:gd name="connsiteX23" fmla="*/ 396435 w 1492273"/>
                <a:gd name="connsiteY23" fmla="*/ 11091 h 326563"/>
                <a:gd name="connsiteX24" fmla="*/ 383276 w 1492273"/>
                <a:gd name="connsiteY24" fmla="*/ 21498 h 326563"/>
                <a:gd name="connsiteX25" fmla="*/ 375859 w 1492273"/>
                <a:gd name="connsiteY25" fmla="*/ 36548 h 326563"/>
                <a:gd name="connsiteX26" fmla="*/ 375620 w 1492273"/>
                <a:gd name="connsiteY26" fmla="*/ 53325 h 326563"/>
                <a:gd name="connsiteX27" fmla="*/ 414209 w 1492273"/>
                <a:gd name="connsiteY27" fmla="*/ 83537 h 326563"/>
                <a:gd name="connsiteX28" fmla="*/ 520143 w 1492273"/>
                <a:gd name="connsiteY28" fmla="*/ 83537 h 326563"/>
                <a:gd name="connsiteX29" fmla="*/ 355289 w 1492273"/>
                <a:gd name="connsiteY29" fmla="*/ 301846 h 326563"/>
                <a:gd name="connsiteX30" fmla="*/ 353136 w 1492273"/>
                <a:gd name="connsiteY30" fmla="*/ 307389 h 326563"/>
                <a:gd name="connsiteX31" fmla="*/ 354212 w 1492273"/>
                <a:gd name="connsiteY31" fmla="*/ 313237 h 326563"/>
                <a:gd name="connsiteX32" fmla="*/ 358204 w 1492273"/>
                <a:gd name="connsiteY32" fmla="*/ 317647 h 326563"/>
                <a:gd name="connsiteX33" fmla="*/ 363921 w 1492273"/>
                <a:gd name="connsiteY33" fmla="*/ 319295 h 326563"/>
                <a:gd name="connsiteX34" fmla="*/ 622504 w 1492273"/>
                <a:gd name="connsiteY34" fmla="*/ 319295 h 326563"/>
                <a:gd name="connsiteX35" fmla="*/ 661099 w 1492273"/>
                <a:gd name="connsiteY35" fmla="*/ 289082 h 326563"/>
                <a:gd name="connsiteX36" fmla="*/ 660861 w 1492273"/>
                <a:gd name="connsiteY36" fmla="*/ 272299 h 326563"/>
                <a:gd name="connsiteX37" fmla="*/ 653451 w 1492273"/>
                <a:gd name="connsiteY37" fmla="*/ 257250 h 326563"/>
                <a:gd name="connsiteX38" fmla="*/ 640297 w 1492273"/>
                <a:gd name="connsiteY38" fmla="*/ 246849 h 326563"/>
                <a:gd name="connsiteX39" fmla="*/ 623952 w 1492273"/>
                <a:gd name="connsiteY39" fmla="*/ 243105 h 326563"/>
                <a:gd name="connsiteX40" fmla="*/ 494883 w 1492273"/>
                <a:gd name="connsiteY40" fmla="*/ 243105 h 326563"/>
                <a:gd name="connsiteX41" fmla="*/ 659613 w 1492273"/>
                <a:gd name="connsiteY41" fmla="*/ 24972 h 326563"/>
                <a:gd name="connsiteX42" fmla="*/ 661785 w 1492273"/>
                <a:gd name="connsiteY42" fmla="*/ 19371 h 326563"/>
                <a:gd name="connsiteX43" fmla="*/ 660690 w 1492273"/>
                <a:gd name="connsiteY43" fmla="*/ 13473 h 326563"/>
                <a:gd name="connsiteX44" fmla="*/ 656661 w 1492273"/>
                <a:gd name="connsiteY44" fmla="*/ 9021 h 326563"/>
                <a:gd name="connsiteX45" fmla="*/ 650888 w 1492273"/>
                <a:gd name="connsiteY45" fmla="*/ 7358 h 326563"/>
                <a:gd name="connsiteX46" fmla="*/ 412780 w 1492273"/>
                <a:gd name="connsiteY46" fmla="*/ 7358 h 326563"/>
                <a:gd name="connsiteX47" fmla="*/ 1446105 w 1492273"/>
                <a:gd name="connsiteY47" fmla="*/ 8240 h 326563"/>
                <a:gd name="connsiteX48" fmla="*/ 1424484 w 1492273"/>
                <a:gd name="connsiteY48" fmla="*/ 22127 h 326563"/>
                <a:gd name="connsiteX49" fmla="*/ 1416378 w 1492273"/>
                <a:gd name="connsiteY49" fmla="*/ 46473 h 326563"/>
                <a:gd name="connsiteX50" fmla="*/ 1416378 w 1492273"/>
                <a:gd name="connsiteY50" fmla="*/ 173313 h 326563"/>
                <a:gd name="connsiteX51" fmla="*/ 1210980 w 1492273"/>
                <a:gd name="connsiteY51" fmla="*/ 9758 h 326563"/>
                <a:gd name="connsiteX52" fmla="*/ 1205389 w 1492273"/>
                <a:gd name="connsiteY52" fmla="*/ 7453 h 326563"/>
                <a:gd name="connsiteX53" fmla="*/ 1199426 w 1492273"/>
                <a:gd name="connsiteY53" fmla="*/ 8482 h 326563"/>
                <a:gd name="connsiteX54" fmla="*/ 1194921 w 1492273"/>
                <a:gd name="connsiteY54" fmla="*/ 12520 h 326563"/>
                <a:gd name="connsiteX55" fmla="*/ 1193263 w 1492273"/>
                <a:gd name="connsiteY55" fmla="*/ 18343 h 326563"/>
                <a:gd name="connsiteX56" fmla="*/ 1193263 w 1492273"/>
                <a:gd name="connsiteY56" fmla="*/ 280243 h 326563"/>
                <a:gd name="connsiteX57" fmla="*/ 1201388 w 1492273"/>
                <a:gd name="connsiteY57" fmla="*/ 304589 h 326563"/>
                <a:gd name="connsiteX58" fmla="*/ 1222962 w 1492273"/>
                <a:gd name="connsiteY58" fmla="*/ 318486 h 326563"/>
                <a:gd name="connsiteX59" fmla="*/ 1239803 w 1492273"/>
                <a:gd name="connsiteY59" fmla="*/ 318362 h 326563"/>
                <a:gd name="connsiteX60" fmla="*/ 1254966 w 1492273"/>
                <a:gd name="connsiteY60" fmla="*/ 310961 h 326563"/>
                <a:gd name="connsiteX61" fmla="*/ 1265444 w 1492273"/>
                <a:gd name="connsiteY61" fmla="*/ 297721 h 326563"/>
                <a:gd name="connsiteX62" fmla="*/ 1269159 w 1492273"/>
                <a:gd name="connsiteY62" fmla="*/ 281272 h 326563"/>
                <a:gd name="connsiteX63" fmla="*/ 1269159 w 1492273"/>
                <a:gd name="connsiteY63" fmla="*/ 153323 h 326563"/>
                <a:gd name="connsiteX64" fmla="*/ 1474538 w 1492273"/>
                <a:gd name="connsiteY64" fmla="*/ 316885 h 326563"/>
                <a:gd name="connsiteX65" fmla="*/ 1480148 w 1492273"/>
                <a:gd name="connsiteY65" fmla="*/ 319190 h 326563"/>
                <a:gd name="connsiteX66" fmla="*/ 1486120 w 1492273"/>
                <a:gd name="connsiteY66" fmla="*/ 318162 h 326563"/>
                <a:gd name="connsiteX67" fmla="*/ 1490625 w 1492273"/>
                <a:gd name="connsiteY67" fmla="*/ 314123 h 326563"/>
                <a:gd name="connsiteX68" fmla="*/ 1492273 w 1492273"/>
                <a:gd name="connsiteY68" fmla="*/ 308303 h 326563"/>
                <a:gd name="connsiteX69" fmla="*/ 1492273 w 1492273"/>
                <a:gd name="connsiteY69" fmla="*/ 45444 h 326563"/>
                <a:gd name="connsiteX70" fmla="*/ 1488559 w 1492273"/>
                <a:gd name="connsiteY70" fmla="*/ 28985 h 326563"/>
                <a:gd name="connsiteX71" fmla="*/ 1478081 w 1492273"/>
                <a:gd name="connsiteY71" fmla="*/ 15759 h 326563"/>
                <a:gd name="connsiteX72" fmla="*/ 1462908 w 1492273"/>
                <a:gd name="connsiteY72" fmla="*/ 8354 h 326563"/>
                <a:gd name="connsiteX73" fmla="*/ 1446105 w 1492273"/>
                <a:gd name="connsiteY73" fmla="*/ 8240 h 326563"/>
                <a:gd name="connsiteX74" fmla="*/ 911265 w 1492273"/>
                <a:gd name="connsiteY74" fmla="*/ 76254 h 326563"/>
                <a:gd name="connsiteX75" fmla="*/ 1063066 w 1492273"/>
                <a:gd name="connsiteY75" fmla="*/ 163286 h 326563"/>
                <a:gd name="connsiteX76" fmla="*/ 911265 w 1492273"/>
                <a:gd name="connsiteY76" fmla="*/ 250325 h 326563"/>
                <a:gd name="connsiteX77" fmla="*/ 759483 w 1492273"/>
                <a:gd name="connsiteY77" fmla="*/ 163286 h 326563"/>
                <a:gd name="connsiteX78" fmla="*/ 911265 w 1492273"/>
                <a:gd name="connsiteY78" fmla="*/ 76254 h 326563"/>
                <a:gd name="connsiteX79" fmla="*/ 911265 w 1492273"/>
                <a:gd name="connsiteY79" fmla="*/ 67 h 326563"/>
                <a:gd name="connsiteX80" fmla="*/ 683578 w 1492273"/>
                <a:gd name="connsiteY80" fmla="*/ 163286 h 326563"/>
                <a:gd name="connsiteX81" fmla="*/ 911265 w 1492273"/>
                <a:gd name="connsiteY81" fmla="*/ 326506 h 326563"/>
                <a:gd name="connsiteX82" fmla="*/ 1138961 w 1492273"/>
                <a:gd name="connsiteY82" fmla="*/ 163286 h 326563"/>
                <a:gd name="connsiteX83" fmla="*/ 911265 w 1492273"/>
                <a:gd name="connsiteY83" fmla="*/ 67 h 3265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</a:cxnLst>
              <a:rect l="l" t="t" r="r" b="b"/>
              <a:pathLst>
                <a:path w="1492273" h="326563">
                  <a:moveTo>
                    <a:pt x="180273" y="900"/>
                  </a:moveTo>
                  <a:cubicBezTo>
                    <a:pt x="146739" y="-2638"/>
                    <a:pt x="112948" y="4310"/>
                    <a:pt x="83526" y="20775"/>
                  </a:cubicBezTo>
                  <a:cubicBezTo>
                    <a:pt x="54104" y="37240"/>
                    <a:pt x="30499" y="62424"/>
                    <a:pt x="15954" y="92853"/>
                  </a:cubicBezTo>
                  <a:cubicBezTo>
                    <a:pt x="1417" y="123295"/>
                    <a:pt x="-3344" y="157489"/>
                    <a:pt x="2323" y="190737"/>
                  </a:cubicBezTo>
                  <a:cubicBezTo>
                    <a:pt x="7990" y="223998"/>
                    <a:pt x="23812" y="254669"/>
                    <a:pt x="47618" y="278557"/>
                  </a:cubicBezTo>
                  <a:cubicBezTo>
                    <a:pt x="71412" y="302455"/>
                    <a:pt x="102030" y="318381"/>
                    <a:pt x="135243" y="324153"/>
                  </a:cubicBezTo>
                  <a:cubicBezTo>
                    <a:pt x="168455" y="329925"/>
                    <a:pt x="202644" y="325277"/>
                    <a:pt x="233098" y="310818"/>
                  </a:cubicBezTo>
                  <a:cubicBezTo>
                    <a:pt x="263559" y="296359"/>
                    <a:pt x="288801" y="272814"/>
                    <a:pt x="305341" y="243429"/>
                  </a:cubicBezTo>
                  <a:cubicBezTo>
                    <a:pt x="321894" y="214035"/>
                    <a:pt x="328933" y="180240"/>
                    <a:pt x="325507" y="146675"/>
                  </a:cubicBezTo>
                  <a:cubicBezTo>
                    <a:pt x="321736" y="109375"/>
                    <a:pt x="305234" y="74514"/>
                    <a:pt x="278778" y="47965"/>
                  </a:cubicBezTo>
                  <a:cubicBezTo>
                    <a:pt x="252327" y="21410"/>
                    <a:pt x="217534" y="4786"/>
                    <a:pt x="180273" y="900"/>
                  </a:cubicBezTo>
                  <a:close/>
                  <a:moveTo>
                    <a:pt x="174984" y="249697"/>
                  </a:moveTo>
                  <a:cubicBezTo>
                    <a:pt x="156946" y="252116"/>
                    <a:pt x="138617" y="248820"/>
                    <a:pt x="122555" y="240277"/>
                  </a:cubicBezTo>
                  <a:cubicBezTo>
                    <a:pt x="106488" y="231725"/>
                    <a:pt x="93505" y="218366"/>
                    <a:pt x="85427" y="202047"/>
                  </a:cubicBezTo>
                  <a:cubicBezTo>
                    <a:pt x="77349" y="185733"/>
                    <a:pt x="74579" y="167300"/>
                    <a:pt x="77507" y="149329"/>
                  </a:cubicBezTo>
                  <a:cubicBezTo>
                    <a:pt x="80440" y="131372"/>
                    <a:pt x="88922" y="114773"/>
                    <a:pt x="101766" y="101883"/>
                  </a:cubicBezTo>
                  <a:cubicBezTo>
                    <a:pt x="114610" y="88986"/>
                    <a:pt x="131176" y="80452"/>
                    <a:pt x="149113" y="77461"/>
                  </a:cubicBezTo>
                  <a:cubicBezTo>
                    <a:pt x="167057" y="74470"/>
                    <a:pt x="185493" y="77181"/>
                    <a:pt x="201825" y="85220"/>
                  </a:cubicBezTo>
                  <a:cubicBezTo>
                    <a:pt x="218145" y="93247"/>
                    <a:pt x="231543" y="106194"/>
                    <a:pt x="240132" y="122247"/>
                  </a:cubicBezTo>
                  <a:cubicBezTo>
                    <a:pt x="248725" y="138293"/>
                    <a:pt x="252068" y="156625"/>
                    <a:pt x="249714" y="174684"/>
                  </a:cubicBezTo>
                  <a:cubicBezTo>
                    <a:pt x="247233" y="193670"/>
                    <a:pt x="238569" y="211305"/>
                    <a:pt x="225058" y="224868"/>
                  </a:cubicBezTo>
                  <a:cubicBezTo>
                    <a:pt x="211546" y="238425"/>
                    <a:pt x="193948" y="247154"/>
                    <a:pt x="174984" y="249697"/>
                  </a:cubicBezTo>
                  <a:close/>
                  <a:moveTo>
                    <a:pt x="412780" y="7358"/>
                  </a:moveTo>
                  <a:cubicBezTo>
                    <a:pt x="407126" y="7370"/>
                    <a:pt x="401534" y="8646"/>
                    <a:pt x="396435" y="11091"/>
                  </a:cubicBezTo>
                  <a:cubicBezTo>
                    <a:pt x="391328" y="13536"/>
                    <a:pt x="386833" y="17092"/>
                    <a:pt x="383276" y="21498"/>
                  </a:cubicBezTo>
                  <a:cubicBezTo>
                    <a:pt x="379712" y="25899"/>
                    <a:pt x="377174" y="31042"/>
                    <a:pt x="375859" y="36548"/>
                  </a:cubicBezTo>
                  <a:cubicBezTo>
                    <a:pt x="374537" y="42053"/>
                    <a:pt x="374448" y="47787"/>
                    <a:pt x="375620" y="53325"/>
                  </a:cubicBezTo>
                  <a:cubicBezTo>
                    <a:pt x="379202" y="71282"/>
                    <a:pt x="395956" y="83537"/>
                    <a:pt x="414209" y="83537"/>
                  </a:cubicBezTo>
                  <a:lnTo>
                    <a:pt x="520143" y="83537"/>
                  </a:lnTo>
                  <a:lnTo>
                    <a:pt x="355289" y="301846"/>
                  </a:lnTo>
                  <a:cubicBezTo>
                    <a:pt x="354067" y="303455"/>
                    <a:pt x="353324" y="305379"/>
                    <a:pt x="353136" y="307389"/>
                  </a:cubicBezTo>
                  <a:cubicBezTo>
                    <a:pt x="352940" y="309399"/>
                    <a:pt x="353319" y="311428"/>
                    <a:pt x="354212" y="313237"/>
                  </a:cubicBezTo>
                  <a:cubicBezTo>
                    <a:pt x="355113" y="315047"/>
                    <a:pt x="356491" y="316581"/>
                    <a:pt x="358204" y="317647"/>
                  </a:cubicBezTo>
                  <a:cubicBezTo>
                    <a:pt x="359923" y="318714"/>
                    <a:pt x="361900" y="319286"/>
                    <a:pt x="363921" y="319295"/>
                  </a:cubicBezTo>
                  <a:lnTo>
                    <a:pt x="622504" y="319295"/>
                  </a:lnTo>
                  <a:cubicBezTo>
                    <a:pt x="640744" y="319295"/>
                    <a:pt x="657518" y="307037"/>
                    <a:pt x="661099" y="289082"/>
                  </a:cubicBezTo>
                  <a:cubicBezTo>
                    <a:pt x="662271" y="283539"/>
                    <a:pt x="662185" y="277805"/>
                    <a:pt x="660861" y="272299"/>
                  </a:cubicBezTo>
                  <a:cubicBezTo>
                    <a:pt x="659537" y="266794"/>
                    <a:pt x="657004" y="261650"/>
                    <a:pt x="653451" y="257250"/>
                  </a:cubicBezTo>
                  <a:cubicBezTo>
                    <a:pt x="649898" y="252849"/>
                    <a:pt x="645402" y="249297"/>
                    <a:pt x="640297" y="246849"/>
                  </a:cubicBezTo>
                  <a:cubicBezTo>
                    <a:pt x="635191" y="244391"/>
                    <a:pt x="629610" y="243115"/>
                    <a:pt x="623952" y="243105"/>
                  </a:cubicBezTo>
                  <a:lnTo>
                    <a:pt x="494883" y="243105"/>
                  </a:lnTo>
                  <a:lnTo>
                    <a:pt x="659613" y="24972"/>
                  </a:lnTo>
                  <a:cubicBezTo>
                    <a:pt x="660842" y="23340"/>
                    <a:pt x="661595" y="21403"/>
                    <a:pt x="661785" y="19371"/>
                  </a:cubicBezTo>
                  <a:cubicBezTo>
                    <a:pt x="661976" y="17340"/>
                    <a:pt x="661604" y="15295"/>
                    <a:pt x="660690" y="13473"/>
                  </a:cubicBezTo>
                  <a:cubicBezTo>
                    <a:pt x="659785" y="11637"/>
                    <a:pt x="658385" y="10101"/>
                    <a:pt x="656661" y="9021"/>
                  </a:cubicBezTo>
                  <a:cubicBezTo>
                    <a:pt x="654937" y="7942"/>
                    <a:pt x="652927" y="7363"/>
                    <a:pt x="650888" y="7358"/>
                  </a:cubicBezTo>
                  <a:lnTo>
                    <a:pt x="412780" y="7358"/>
                  </a:lnTo>
                  <a:close/>
                  <a:moveTo>
                    <a:pt x="1446105" y="8240"/>
                  </a:moveTo>
                  <a:cubicBezTo>
                    <a:pt x="1437514" y="10272"/>
                    <a:pt x="1429894" y="15174"/>
                    <a:pt x="1424484" y="22127"/>
                  </a:cubicBezTo>
                  <a:cubicBezTo>
                    <a:pt x="1419112" y="29080"/>
                    <a:pt x="1416254" y="37666"/>
                    <a:pt x="1416378" y="46473"/>
                  </a:cubicBezTo>
                  <a:lnTo>
                    <a:pt x="1416378" y="173313"/>
                  </a:lnTo>
                  <a:lnTo>
                    <a:pt x="1210980" y="9758"/>
                  </a:lnTo>
                  <a:cubicBezTo>
                    <a:pt x="1209361" y="8475"/>
                    <a:pt x="1207427" y="7675"/>
                    <a:pt x="1205389" y="7453"/>
                  </a:cubicBezTo>
                  <a:cubicBezTo>
                    <a:pt x="1203341" y="7230"/>
                    <a:pt x="1201274" y="7580"/>
                    <a:pt x="1199426" y="8482"/>
                  </a:cubicBezTo>
                  <a:cubicBezTo>
                    <a:pt x="1197569" y="9377"/>
                    <a:pt x="1196006" y="10773"/>
                    <a:pt x="1194921" y="12520"/>
                  </a:cubicBezTo>
                  <a:cubicBezTo>
                    <a:pt x="1193835" y="14273"/>
                    <a:pt x="1193254" y="16285"/>
                    <a:pt x="1193263" y="18343"/>
                  </a:cubicBezTo>
                  <a:lnTo>
                    <a:pt x="1193263" y="280243"/>
                  </a:lnTo>
                  <a:cubicBezTo>
                    <a:pt x="1193120" y="289054"/>
                    <a:pt x="1195987" y="297645"/>
                    <a:pt x="1201388" y="304589"/>
                  </a:cubicBezTo>
                  <a:cubicBezTo>
                    <a:pt x="1206789" y="311542"/>
                    <a:pt x="1214409" y="316447"/>
                    <a:pt x="1222962" y="318486"/>
                  </a:cubicBezTo>
                  <a:cubicBezTo>
                    <a:pt x="1228525" y="319714"/>
                    <a:pt x="1234288" y="319667"/>
                    <a:pt x="1239803" y="318362"/>
                  </a:cubicBezTo>
                  <a:cubicBezTo>
                    <a:pt x="1245346" y="317066"/>
                    <a:pt x="1250518" y="314533"/>
                    <a:pt x="1254966" y="310961"/>
                  </a:cubicBezTo>
                  <a:cubicBezTo>
                    <a:pt x="1259415" y="307389"/>
                    <a:pt x="1263006" y="302874"/>
                    <a:pt x="1265444" y="297721"/>
                  </a:cubicBezTo>
                  <a:cubicBezTo>
                    <a:pt x="1267882" y="292587"/>
                    <a:pt x="1269159" y="286958"/>
                    <a:pt x="1269159" y="281272"/>
                  </a:cubicBezTo>
                  <a:lnTo>
                    <a:pt x="1269159" y="153323"/>
                  </a:lnTo>
                  <a:lnTo>
                    <a:pt x="1474538" y="316885"/>
                  </a:lnTo>
                  <a:cubicBezTo>
                    <a:pt x="1476195" y="318171"/>
                    <a:pt x="1478138" y="318962"/>
                    <a:pt x="1480148" y="319190"/>
                  </a:cubicBezTo>
                  <a:cubicBezTo>
                    <a:pt x="1482224" y="319419"/>
                    <a:pt x="1484291" y="319057"/>
                    <a:pt x="1486120" y="318162"/>
                  </a:cubicBezTo>
                  <a:cubicBezTo>
                    <a:pt x="1487949" y="317266"/>
                    <a:pt x="1489530" y="315866"/>
                    <a:pt x="1490625" y="314123"/>
                  </a:cubicBezTo>
                  <a:cubicBezTo>
                    <a:pt x="1491721" y="312380"/>
                    <a:pt x="1492273" y="310361"/>
                    <a:pt x="1492273" y="308303"/>
                  </a:cubicBezTo>
                  <a:lnTo>
                    <a:pt x="1492273" y="45444"/>
                  </a:lnTo>
                  <a:cubicBezTo>
                    <a:pt x="1492273" y="39748"/>
                    <a:pt x="1490997" y="34123"/>
                    <a:pt x="1488559" y="28985"/>
                  </a:cubicBezTo>
                  <a:cubicBezTo>
                    <a:pt x="1486120" y="23848"/>
                    <a:pt x="1482529" y="19327"/>
                    <a:pt x="1478081" y="15759"/>
                  </a:cubicBezTo>
                  <a:cubicBezTo>
                    <a:pt x="1473633" y="12190"/>
                    <a:pt x="1468461" y="9656"/>
                    <a:pt x="1462908" y="8354"/>
                  </a:cubicBezTo>
                  <a:cubicBezTo>
                    <a:pt x="1457364" y="7059"/>
                    <a:pt x="1451649" y="7015"/>
                    <a:pt x="1446105" y="8240"/>
                  </a:cubicBezTo>
                  <a:close/>
                  <a:moveTo>
                    <a:pt x="911265" y="76254"/>
                  </a:moveTo>
                  <a:cubicBezTo>
                    <a:pt x="998152" y="76254"/>
                    <a:pt x="1063066" y="122196"/>
                    <a:pt x="1063066" y="163286"/>
                  </a:cubicBezTo>
                  <a:cubicBezTo>
                    <a:pt x="1063066" y="204383"/>
                    <a:pt x="998152" y="250325"/>
                    <a:pt x="911265" y="250325"/>
                  </a:cubicBezTo>
                  <a:cubicBezTo>
                    <a:pt x="824397" y="250325"/>
                    <a:pt x="759483" y="204383"/>
                    <a:pt x="759483" y="163286"/>
                  </a:cubicBezTo>
                  <a:cubicBezTo>
                    <a:pt x="759483" y="122196"/>
                    <a:pt x="824397" y="76254"/>
                    <a:pt x="911265" y="76254"/>
                  </a:cubicBezTo>
                  <a:close/>
                  <a:moveTo>
                    <a:pt x="911265" y="67"/>
                  </a:moveTo>
                  <a:cubicBezTo>
                    <a:pt x="785515" y="67"/>
                    <a:pt x="683578" y="73142"/>
                    <a:pt x="683578" y="163286"/>
                  </a:cubicBezTo>
                  <a:cubicBezTo>
                    <a:pt x="683578" y="253421"/>
                    <a:pt x="785515" y="326506"/>
                    <a:pt x="911265" y="326506"/>
                  </a:cubicBezTo>
                  <a:cubicBezTo>
                    <a:pt x="1037024" y="326506"/>
                    <a:pt x="1138961" y="253421"/>
                    <a:pt x="1138961" y="163286"/>
                  </a:cubicBezTo>
                  <a:cubicBezTo>
                    <a:pt x="1138961" y="73142"/>
                    <a:pt x="1037024" y="67"/>
                    <a:pt x="911265" y="67"/>
                  </a:cubicBezTo>
                  <a:close/>
                </a:path>
              </a:pathLst>
            </a:custGeom>
            <a:grpFill/>
            <a:ln w="76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34234386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8">
          <p15:clr>
            <a:srgbClr val="F26B43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_title_ligh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DDB7B6FF-BCB4-0D7F-43C7-738D0A9ACD9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641985" y="6415289"/>
            <a:ext cx="1044575" cy="231716"/>
            <a:chOff x="8489504" y="910877"/>
            <a:chExt cx="2734509" cy="606592"/>
          </a:xfrm>
          <a:solidFill>
            <a:schemeClr val="tx1"/>
          </a:solidFill>
        </p:grpSpPr>
        <p:sp>
          <p:nvSpPr>
            <p:cNvPr id="6" name="Полилиния 5">
              <a:extLst>
                <a:ext uri="{FF2B5EF4-FFF2-40B4-BE49-F238E27FC236}">
                  <a16:creationId xmlns:a16="http://schemas.microsoft.com/office/drawing/2014/main" id="{60AE0B07-6FE3-17A5-A55E-AE65600F26E5}"/>
                </a:ext>
              </a:extLst>
            </p:cNvPr>
            <p:cNvSpPr/>
            <p:nvPr/>
          </p:nvSpPr>
          <p:spPr>
            <a:xfrm>
              <a:off x="10064626" y="910877"/>
              <a:ext cx="1159387" cy="606592"/>
            </a:xfrm>
            <a:custGeom>
              <a:avLst/>
              <a:gdLst>
                <a:gd name="connsiteX0" fmla="*/ 0 w 1159387"/>
                <a:gd name="connsiteY0" fmla="*/ 178242 h 606592"/>
                <a:gd name="connsiteX1" fmla="*/ 0 w 1159387"/>
                <a:gd name="connsiteY1" fmla="*/ 237024 h 606592"/>
                <a:gd name="connsiteX2" fmla="*/ 9135 w 1159387"/>
                <a:gd name="connsiteY2" fmla="*/ 246098 h 606592"/>
                <a:gd name="connsiteX3" fmla="*/ 30214 w 1159387"/>
                <a:gd name="connsiteY3" fmla="*/ 250009 h 606592"/>
                <a:gd name="connsiteX4" fmla="*/ 32261 w 1159387"/>
                <a:gd name="connsiteY4" fmla="*/ 250607 h 606592"/>
                <a:gd name="connsiteX5" fmla="*/ 85030 w 1159387"/>
                <a:gd name="connsiteY5" fmla="*/ 319338 h 606592"/>
                <a:gd name="connsiteX6" fmla="*/ 85030 w 1159387"/>
                <a:gd name="connsiteY6" fmla="*/ 483817 h 606592"/>
                <a:gd name="connsiteX7" fmla="*/ 120863 w 1159387"/>
                <a:gd name="connsiteY7" fmla="*/ 570989 h 606592"/>
                <a:gd name="connsiteX8" fmla="*/ 205874 w 1159387"/>
                <a:gd name="connsiteY8" fmla="*/ 606364 h 606592"/>
                <a:gd name="connsiteX9" fmla="*/ 207284 w 1159387"/>
                <a:gd name="connsiteY9" fmla="*/ 606364 h 606592"/>
                <a:gd name="connsiteX10" fmla="*/ 235964 w 1159387"/>
                <a:gd name="connsiteY10" fmla="*/ 606364 h 606592"/>
                <a:gd name="connsiteX11" fmla="*/ 247356 w 1159387"/>
                <a:gd name="connsiteY11" fmla="*/ 593268 h 606592"/>
                <a:gd name="connsiteX12" fmla="*/ 247337 w 1159387"/>
                <a:gd name="connsiteY12" fmla="*/ 563750 h 606592"/>
                <a:gd name="connsiteX13" fmla="*/ 247337 w 1159387"/>
                <a:gd name="connsiteY13" fmla="*/ 541928 h 606592"/>
                <a:gd name="connsiteX14" fmla="*/ 236802 w 1159387"/>
                <a:gd name="connsiteY14" fmla="*/ 530565 h 606592"/>
                <a:gd name="connsiteX15" fmla="*/ 197454 w 1159387"/>
                <a:gd name="connsiteY15" fmla="*/ 530527 h 606592"/>
                <a:gd name="connsiteX16" fmla="*/ 159506 w 1159387"/>
                <a:gd name="connsiteY16" fmla="*/ 492285 h 606592"/>
                <a:gd name="connsiteX17" fmla="*/ 159506 w 1159387"/>
                <a:gd name="connsiteY17" fmla="*/ 403084 h 606592"/>
                <a:gd name="connsiteX18" fmla="*/ 159506 w 1159387"/>
                <a:gd name="connsiteY18" fmla="*/ 316772 h 606592"/>
                <a:gd name="connsiteX19" fmla="*/ 100365 w 1159387"/>
                <a:gd name="connsiteY19" fmla="*/ 207274 h 606592"/>
                <a:gd name="connsiteX20" fmla="*/ 99080 w 1159387"/>
                <a:gd name="connsiteY20" fmla="*/ 206423 h 606592"/>
                <a:gd name="connsiteX21" fmla="*/ 100356 w 1159387"/>
                <a:gd name="connsiteY21" fmla="*/ 205547 h 606592"/>
                <a:gd name="connsiteX22" fmla="*/ 159506 w 1159387"/>
                <a:gd name="connsiteY22" fmla="*/ 90665 h 606592"/>
                <a:gd name="connsiteX23" fmla="*/ 159506 w 1159387"/>
                <a:gd name="connsiteY23" fmla="*/ 10992 h 606592"/>
                <a:gd name="connsiteX24" fmla="*/ 148962 w 1159387"/>
                <a:gd name="connsiteY24" fmla="*/ 0 h 606592"/>
                <a:gd name="connsiteX25" fmla="*/ 95565 w 1159387"/>
                <a:gd name="connsiteY25" fmla="*/ 0 h 606592"/>
                <a:gd name="connsiteX26" fmla="*/ 85030 w 1159387"/>
                <a:gd name="connsiteY26" fmla="*/ 10992 h 606592"/>
                <a:gd name="connsiteX27" fmla="*/ 85030 w 1159387"/>
                <a:gd name="connsiteY27" fmla="*/ 90665 h 606592"/>
                <a:gd name="connsiteX28" fmla="*/ 32366 w 1159387"/>
                <a:gd name="connsiteY28" fmla="*/ 162761 h 606592"/>
                <a:gd name="connsiteX29" fmla="*/ 30214 w 1159387"/>
                <a:gd name="connsiteY29" fmla="*/ 163402 h 606592"/>
                <a:gd name="connsiteX30" fmla="*/ 9135 w 1159387"/>
                <a:gd name="connsiteY30" fmla="*/ 167302 h 606592"/>
                <a:gd name="connsiteX31" fmla="*/ 0 w 1159387"/>
                <a:gd name="connsiteY31" fmla="*/ 178242 h 606592"/>
                <a:gd name="connsiteX32" fmla="*/ 933768 w 1159387"/>
                <a:gd name="connsiteY32" fmla="*/ 313343 h 606592"/>
                <a:gd name="connsiteX33" fmla="*/ 933768 w 1159387"/>
                <a:gd name="connsiteY33" fmla="*/ 468558 h 606592"/>
                <a:gd name="connsiteX34" fmla="*/ 930749 w 1159387"/>
                <a:gd name="connsiteY34" fmla="*/ 475902 h 606592"/>
                <a:gd name="connsiteX35" fmla="*/ 923472 w 1159387"/>
                <a:gd name="connsiteY35" fmla="*/ 478940 h 606592"/>
                <a:gd name="connsiteX36" fmla="*/ 869627 w 1159387"/>
                <a:gd name="connsiteY36" fmla="*/ 478902 h 606592"/>
                <a:gd name="connsiteX37" fmla="*/ 859349 w 1159387"/>
                <a:gd name="connsiteY37" fmla="*/ 468530 h 606592"/>
                <a:gd name="connsiteX38" fmla="*/ 859349 w 1159387"/>
                <a:gd name="connsiteY38" fmla="*/ 10375 h 606592"/>
                <a:gd name="connsiteX39" fmla="*/ 869636 w 1159387"/>
                <a:gd name="connsiteY39" fmla="*/ 0 h 606592"/>
                <a:gd name="connsiteX40" fmla="*/ 923472 w 1159387"/>
                <a:gd name="connsiteY40" fmla="*/ 0 h 606592"/>
                <a:gd name="connsiteX41" fmla="*/ 933768 w 1159387"/>
                <a:gd name="connsiteY41" fmla="*/ 10375 h 606592"/>
                <a:gd name="connsiteX42" fmla="*/ 933768 w 1159387"/>
                <a:gd name="connsiteY42" fmla="*/ 193355 h 606592"/>
                <a:gd name="connsiteX43" fmla="*/ 1159388 w 1159387"/>
                <a:gd name="connsiteY43" fmla="*/ 312995 h 606592"/>
                <a:gd name="connsiteX44" fmla="*/ 1159388 w 1159387"/>
                <a:gd name="connsiteY44" fmla="*/ 468520 h 606592"/>
                <a:gd name="connsiteX45" fmla="*/ 1156378 w 1159387"/>
                <a:gd name="connsiteY45" fmla="*/ 475854 h 606592"/>
                <a:gd name="connsiteX46" fmla="*/ 1149101 w 1159387"/>
                <a:gd name="connsiteY46" fmla="*/ 478893 h 606592"/>
                <a:gd name="connsiteX47" fmla="*/ 1095199 w 1159387"/>
                <a:gd name="connsiteY47" fmla="*/ 478893 h 606592"/>
                <a:gd name="connsiteX48" fmla="*/ 1087922 w 1159387"/>
                <a:gd name="connsiteY48" fmla="*/ 475854 h 606592"/>
                <a:gd name="connsiteX49" fmla="*/ 1084912 w 1159387"/>
                <a:gd name="connsiteY49" fmla="*/ 468520 h 606592"/>
                <a:gd name="connsiteX50" fmla="*/ 1084912 w 1159387"/>
                <a:gd name="connsiteY50" fmla="*/ 312995 h 606592"/>
                <a:gd name="connsiteX51" fmla="*/ 966868 w 1159387"/>
                <a:gd name="connsiteY51" fmla="*/ 246504 h 606592"/>
                <a:gd name="connsiteX52" fmla="*/ 933768 w 1159387"/>
                <a:gd name="connsiteY52" fmla="*/ 313343 h 606592"/>
                <a:gd name="connsiteX53" fmla="*/ 596563 w 1159387"/>
                <a:gd name="connsiteY53" fmla="*/ 207040 h 606592"/>
                <a:gd name="connsiteX54" fmla="*/ 549471 w 1159387"/>
                <a:gd name="connsiteY54" fmla="*/ 323084 h 606592"/>
                <a:gd name="connsiteX55" fmla="*/ 596563 w 1159387"/>
                <a:gd name="connsiteY55" fmla="*/ 439145 h 606592"/>
                <a:gd name="connsiteX56" fmla="*/ 797522 w 1159387"/>
                <a:gd name="connsiteY56" fmla="*/ 460995 h 606592"/>
                <a:gd name="connsiteX57" fmla="*/ 799923 w 1159387"/>
                <a:gd name="connsiteY57" fmla="*/ 459357 h 606592"/>
                <a:gd name="connsiteX58" fmla="*/ 805247 w 1159387"/>
                <a:gd name="connsiteY58" fmla="*/ 455385 h 606592"/>
                <a:gd name="connsiteX59" fmla="*/ 806018 w 1159387"/>
                <a:gd name="connsiteY59" fmla="*/ 438745 h 606592"/>
                <a:gd name="connsiteX60" fmla="*/ 790226 w 1159387"/>
                <a:gd name="connsiteY60" fmla="*/ 417067 h 606592"/>
                <a:gd name="connsiteX61" fmla="*/ 776110 w 1159387"/>
                <a:gd name="connsiteY61" fmla="*/ 397747 h 606592"/>
                <a:gd name="connsiteX62" fmla="*/ 760975 w 1159387"/>
                <a:gd name="connsiteY62" fmla="*/ 394585 h 606592"/>
                <a:gd name="connsiteX63" fmla="*/ 757003 w 1159387"/>
                <a:gd name="connsiteY63" fmla="*/ 397067 h 606592"/>
                <a:gd name="connsiteX64" fmla="*/ 619737 w 1159387"/>
                <a:gd name="connsiteY64" fmla="*/ 323084 h 606592"/>
                <a:gd name="connsiteX65" fmla="*/ 756945 w 1159387"/>
                <a:gd name="connsiteY65" fmla="*/ 249203 h 606592"/>
                <a:gd name="connsiteX66" fmla="*/ 760975 w 1159387"/>
                <a:gd name="connsiteY66" fmla="*/ 251591 h 606592"/>
                <a:gd name="connsiteX67" fmla="*/ 776148 w 1159387"/>
                <a:gd name="connsiteY67" fmla="*/ 248416 h 606592"/>
                <a:gd name="connsiteX68" fmla="*/ 790207 w 1159387"/>
                <a:gd name="connsiteY68" fmla="*/ 229138 h 606592"/>
                <a:gd name="connsiteX69" fmla="*/ 804618 w 1159387"/>
                <a:gd name="connsiteY69" fmla="*/ 209395 h 606592"/>
                <a:gd name="connsiteX70" fmla="*/ 799903 w 1159387"/>
                <a:gd name="connsiteY70" fmla="*/ 186809 h 606592"/>
                <a:gd name="connsiteX71" fmla="*/ 797522 w 1159387"/>
                <a:gd name="connsiteY71" fmla="*/ 185195 h 606592"/>
                <a:gd name="connsiteX72" fmla="*/ 596563 w 1159387"/>
                <a:gd name="connsiteY72" fmla="*/ 207040 h 606592"/>
                <a:gd name="connsiteX73" fmla="*/ 293714 w 1159387"/>
                <a:gd name="connsiteY73" fmla="*/ 350313 h 606592"/>
                <a:gd name="connsiteX74" fmla="*/ 469385 w 1159387"/>
                <a:gd name="connsiteY74" fmla="*/ 350313 h 606592"/>
                <a:gd name="connsiteX75" fmla="*/ 507323 w 1159387"/>
                <a:gd name="connsiteY75" fmla="*/ 312290 h 606592"/>
                <a:gd name="connsiteX76" fmla="*/ 472890 w 1159387"/>
                <a:gd name="connsiteY76" fmla="*/ 208836 h 606592"/>
                <a:gd name="connsiteX77" fmla="*/ 368190 w 1159387"/>
                <a:gd name="connsiteY77" fmla="*/ 159530 h 606592"/>
                <a:gd name="connsiteX78" fmla="*/ 219228 w 1159387"/>
                <a:gd name="connsiteY78" fmla="*/ 323103 h 606592"/>
                <a:gd name="connsiteX79" fmla="*/ 375915 w 1159387"/>
                <a:gd name="connsiteY79" fmla="*/ 486674 h 606592"/>
                <a:gd name="connsiteX80" fmla="*/ 502398 w 1159387"/>
                <a:gd name="connsiteY80" fmla="*/ 450623 h 606592"/>
                <a:gd name="connsiteX81" fmla="*/ 505913 w 1159387"/>
                <a:gd name="connsiteY81" fmla="*/ 435907 h 606592"/>
                <a:gd name="connsiteX82" fmla="*/ 504818 w 1159387"/>
                <a:gd name="connsiteY82" fmla="*/ 434088 h 606592"/>
                <a:gd name="connsiteX83" fmla="*/ 478519 w 1159387"/>
                <a:gd name="connsiteY83" fmla="*/ 391689 h 606592"/>
                <a:gd name="connsiteX84" fmla="*/ 464460 w 1159387"/>
                <a:gd name="connsiteY84" fmla="*/ 388476 h 606592"/>
                <a:gd name="connsiteX85" fmla="*/ 377335 w 1159387"/>
                <a:gd name="connsiteY85" fmla="*/ 414990 h 606592"/>
                <a:gd name="connsiteX86" fmla="*/ 293714 w 1159387"/>
                <a:gd name="connsiteY86" fmla="*/ 350313 h 606592"/>
                <a:gd name="connsiteX87" fmla="*/ 430732 w 1159387"/>
                <a:gd name="connsiteY87" fmla="*/ 287912 h 606592"/>
                <a:gd name="connsiteX88" fmla="*/ 368190 w 1159387"/>
                <a:gd name="connsiteY88" fmla="*/ 232071 h 606592"/>
                <a:gd name="connsiteX89" fmla="*/ 296524 w 1159387"/>
                <a:gd name="connsiteY89" fmla="*/ 287912 h 606592"/>
                <a:gd name="connsiteX90" fmla="*/ 430732 w 1159387"/>
                <a:gd name="connsiteY90" fmla="*/ 287912 h 606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</a:cxnLst>
              <a:rect l="l" t="t" r="r" b="b"/>
              <a:pathLst>
                <a:path w="1159387" h="606592">
                  <a:moveTo>
                    <a:pt x="0" y="178242"/>
                  </a:moveTo>
                  <a:lnTo>
                    <a:pt x="0" y="237024"/>
                  </a:lnTo>
                  <a:cubicBezTo>
                    <a:pt x="695" y="241577"/>
                    <a:pt x="4220" y="245266"/>
                    <a:pt x="9135" y="246098"/>
                  </a:cubicBezTo>
                  <a:cubicBezTo>
                    <a:pt x="16869" y="247387"/>
                    <a:pt x="27404" y="249197"/>
                    <a:pt x="30214" y="250009"/>
                  </a:cubicBezTo>
                  <a:cubicBezTo>
                    <a:pt x="30833" y="250193"/>
                    <a:pt x="31518" y="250390"/>
                    <a:pt x="32261" y="250607"/>
                  </a:cubicBezTo>
                  <a:cubicBezTo>
                    <a:pt x="46749" y="254784"/>
                    <a:pt x="83697" y="265433"/>
                    <a:pt x="85030" y="319338"/>
                  </a:cubicBezTo>
                  <a:lnTo>
                    <a:pt x="85030" y="483817"/>
                  </a:lnTo>
                  <a:cubicBezTo>
                    <a:pt x="85030" y="516573"/>
                    <a:pt x="97670" y="547958"/>
                    <a:pt x="120863" y="570989"/>
                  </a:cubicBezTo>
                  <a:cubicBezTo>
                    <a:pt x="143342" y="593696"/>
                    <a:pt x="174261" y="606402"/>
                    <a:pt x="205874" y="606364"/>
                  </a:cubicBezTo>
                  <a:lnTo>
                    <a:pt x="207284" y="606364"/>
                  </a:lnTo>
                  <a:cubicBezTo>
                    <a:pt x="207284" y="606364"/>
                    <a:pt x="207284" y="606879"/>
                    <a:pt x="235964" y="606364"/>
                  </a:cubicBezTo>
                  <a:cubicBezTo>
                    <a:pt x="243232" y="606231"/>
                    <a:pt x="247461" y="601383"/>
                    <a:pt x="247356" y="593268"/>
                  </a:cubicBezTo>
                  <a:cubicBezTo>
                    <a:pt x="247222" y="582028"/>
                    <a:pt x="247527" y="573246"/>
                    <a:pt x="247337" y="563750"/>
                  </a:cubicBezTo>
                  <a:cubicBezTo>
                    <a:pt x="247184" y="555816"/>
                    <a:pt x="247337" y="548520"/>
                    <a:pt x="247337" y="541928"/>
                  </a:cubicBezTo>
                  <a:cubicBezTo>
                    <a:pt x="247337" y="535804"/>
                    <a:pt x="242422" y="530794"/>
                    <a:pt x="236802" y="530565"/>
                  </a:cubicBezTo>
                  <a:cubicBezTo>
                    <a:pt x="226258" y="530527"/>
                    <a:pt x="211504" y="530527"/>
                    <a:pt x="197454" y="530527"/>
                  </a:cubicBezTo>
                  <a:cubicBezTo>
                    <a:pt x="177071" y="530527"/>
                    <a:pt x="159506" y="513401"/>
                    <a:pt x="159506" y="492285"/>
                  </a:cubicBezTo>
                  <a:lnTo>
                    <a:pt x="159506" y="403084"/>
                  </a:lnTo>
                  <a:cubicBezTo>
                    <a:pt x="160202" y="402874"/>
                    <a:pt x="159506" y="317750"/>
                    <a:pt x="159506" y="316772"/>
                  </a:cubicBezTo>
                  <a:cubicBezTo>
                    <a:pt x="157544" y="243958"/>
                    <a:pt x="109233" y="212964"/>
                    <a:pt x="100365" y="207274"/>
                  </a:cubicBezTo>
                  <a:cubicBezTo>
                    <a:pt x="99708" y="206855"/>
                    <a:pt x="99270" y="206569"/>
                    <a:pt x="99080" y="206423"/>
                  </a:cubicBezTo>
                  <a:cubicBezTo>
                    <a:pt x="99270" y="206264"/>
                    <a:pt x="99708" y="205979"/>
                    <a:pt x="100356" y="205547"/>
                  </a:cubicBezTo>
                  <a:cubicBezTo>
                    <a:pt x="109395" y="199604"/>
                    <a:pt x="159506" y="166622"/>
                    <a:pt x="159506" y="90665"/>
                  </a:cubicBezTo>
                  <a:lnTo>
                    <a:pt x="159506" y="10992"/>
                  </a:lnTo>
                  <a:cubicBezTo>
                    <a:pt x="159506" y="4922"/>
                    <a:pt x="155287" y="0"/>
                    <a:pt x="148962" y="0"/>
                  </a:cubicBezTo>
                  <a:lnTo>
                    <a:pt x="95565" y="0"/>
                  </a:lnTo>
                  <a:cubicBezTo>
                    <a:pt x="89945" y="0"/>
                    <a:pt x="85030" y="4922"/>
                    <a:pt x="85030" y="10992"/>
                  </a:cubicBezTo>
                  <a:lnTo>
                    <a:pt x="85030" y="90665"/>
                  </a:lnTo>
                  <a:cubicBezTo>
                    <a:pt x="85030" y="147350"/>
                    <a:pt x="47054" y="158469"/>
                    <a:pt x="32366" y="162761"/>
                  </a:cubicBezTo>
                  <a:cubicBezTo>
                    <a:pt x="31576" y="162997"/>
                    <a:pt x="30861" y="163206"/>
                    <a:pt x="30214" y="163402"/>
                  </a:cubicBezTo>
                  <a:cubicBezTo>
                    <a:pt x="27404" y="164209"/>
                    <a:pt x="16869" y="166026"/>
                    <a:pt x="9135" y="167302"/>
                  </a:cubicBezTo>
                  <a:cubicBezTo>
                    <a:pt x="3515" y="168248"/>
                    <a:pt x="0" y="172858"/>
                    <a:pt x="0" y="178242"/>
                  </a:cubicBezTo>
                  <a:close/>
                  <a:moveTo>
                    <a:pt x="933768" y="313343"/>
                  </a:moveTo>
                  <a:lnTo>
                    <a:pt x="933768" y="468558"/>
                  </a:lnTo>
                  <a:cubicBezTo>
                    <a:pt x="933768" y="471320"/>
                    <a:pt x="932682" y="473949"/>
                    <a:pt x="930749" y="475902"/>
                  </a:cubicBezTo>
                  <a:cubicBezTo>
                    <a:pt x="928825" y="477845"/>
                    <a:pt x="926206" y="478940"/>
                    <a:pt x="923472" y="478940"/>
                  </a:cubicBezTo>
                  <a:cubicBezTo>
                    <a:pt x="909270" y="478921"/>
                    <a:pt x="883819" y="478912"/>
                    <a:pt x="869627" y="478902"/>
                  </a:cubicBezTo>
                  <a:cubicBezTo>
                    <a:pt x="863950" y="478893"/>
                    <a:pt x="859349" y="474254"/>
                    <a:pt x="859349" y="468530"/>
                  </a:cubicBezTo>
                  <a:cubicBezTo>
                    <a:pt x="859349" y="405427"/>
                    <a:pt x="859349" y="73513"/>
                    <a:pt x="859349" y="10375"/>
                  </a:cubicBezTo>
                  <a:cubicBezTo>
                    <a:pt x="859349" y="4648"/>
                    <a:pt x="863959" y="0"/>
                    <a:pt x="869636" y="0"/>
                  </a:cubicBezTo>
                  <a:cubicBezTo>
                    <a:pt x="883838" y="0"/>
                    <a:pt x="909279" y="0"/>
                    <a:pt x="923472" y="0"/>
                  </a:cubicBezTo>
                  <a:cubicBezTo>
                    <a:pt x="929158" y="0"/>
                    <a:pt x="933768" y="4648"/>
                    <a:pt x="933768" y="10375"/>
                  </a:cubicBezTo>
                  <a:cubicBezTo>
                    <a:pt x="933768" y="50513"/>
                    <a:pt x="933768" y="193355"/>
                    <a:pt x="933768" y="193355"/>
                  </a:cubicBezTo>
                  <a:cubicBezTo>
                    <a:pt x="1013169" y="118433"/>
                    <a:pt x="1159388" y="172318"/>
                    <a:pt x="1159388" y="312995"/>
                  </a:cubicBezTo>
                  <a:lnTo>
                    <a:pt x="1159388" y="468520"/>
                  </a:lnTo>
                  <a:cubicBezTo>
                    <a:pt x="1159388" y="471273"/>
                    <a:pt x="1158302" y="473911"/>
                    <a:pt x="1156378" y="475854"/>
                  </a:cubicBezTo>
                  <a:cubicBezTo>
                    <a:pt x="1154445" y="477797"/>
                    <a:pt x="1151835" y="478893"/>
                    <a:pt x="1149101" y="478893"/>
                  </a:cubicBezTo>
                  <a:cubicBezTo>
                    <a:pt x="1134899" y="478893"/>
                    <a:pt x="1109401" y="478893"/>
                    <a:pt x="1095199" y="478893"/>
                  </a:cubicBezTo>
                  <a:cubicBezTo>
                    <a:pt x="1092465" y="478893"/>
                    <a:pt x="1089855" y="477797"/>
                    <a:pt x="1087922" y="475854"/>
                  </a:cubicBezTo>
                  <a:cubicBezTo>
                    <a:pt x="1085998" y="473911"/>
                    <a:pt x="1084912" y="471273"/>
                    <a:pt x="1084912" y="468520"/>
                  </a:cubicBezTo>
                  <a:cubicBezTo>
                    <a:pt x="1084912" y="432211"/>
                    <a:pt x="1084912" y="312995"/>
                    <a:pt x="1084912" y="312995"/>
                  </a:cubicBezTo>
                  <a:cubicBezTo>
                    <a:pt x="1084912" y="239513"/>
                    <a:pt x="1011121" y="217047"/>
                    <a:pt x="966868" y="246504"/>
                  </a:cubicBezTo>
                  <a:cubicBezTo>
                    <a:pt x="947885" y="259141"/>
                    <a:pt x="933768" y="281804"/>
                    <a:pt x="933768" y="313343"/>
                  </a:cubicBezTo>
                  <a:close/>
                  <a:moveTo>
                    <a:pt x="596563" y="207040"/>
                  </a:moveTo>
                  <a:cubicBezTo>
                    <a:pt x="564235" y="238922"/>
                    <a:pt x="549471" y="280953"/>
                    <a:pt x="549471" y="323084"/>
                  </a:cubicBezTo>
                  <a:cubicBezTo>
                    <a:pt x="549471" y="365223"/>
                    <a:pt x="564235" y="407246"/>
                    <a:pt x="596563" y="439145"/>
                  </a:cubicBezTo>
                  <a:cubicBezTo>
                    <a:pt x="650665" y="494085"/>
                    <a:pt x="734285" y="501400"/>
                    <a:pt x="797522" y="460995"/>
                  </a:cubicBezTo>
                  <a:cubicBezTo>
                    <a:pt x="798208" y="460481"/>
                    <a:pt x="799037" y="459938"/>
                    <a:pt x="799923" y="459357"/>
                  </a:cubicBezTo>
                  <a:cubicBezTo>
                    <a:pt x="801761" y="458147"/>
                    <a:pt x="803828" y="456795"/>
                    <a:pt x="805247" y="455385"/>
                  </a:cubicBezTo>
                  <a:cubicBezTo>
                    <a:pt x="808762" y="451909"/>
                    <a:pt x="810762" y="445470"/>
                    <a:pt x="806018" y="438745"/>
                  </a:cubicBezTo>
                  <a:cubicBezTo>
                    <a:pt x="801761" y="432697"/>
                    <a:pt x="796170" y="425153"/>
                    <a:pt x="790226" y="417067"/>
                  </a:cubicBezTo>
                  <a:cubicBezTo>
                    <a:pt x="785121" y="410132"/>
                    <a:pt x="780339" y="403665"/>
                    <a:pt x="776110" y="397747"/>
                  </a:cubicBezTo>
                  <a:cubicBezTo>
                    <a:pt x="772671" y="392947"/>
                    <a:pt x="765890" y="391664"/>
                    <a:pt x="760975" y="394585"/>
                  </a:cubicBezTo>
                  <a:cubicBezTo>
                    <a:pt x="759565" y="395461"/>
                    <a:pt x="758393" y="396172"/>
                    <a:pt x="757003" y="397067"/>
                  </a:cubicBezTo>
                  <a:cubicBezTo>
                    <a:pt x="686032" y="442936"/>
                    <a:pt x="619737" y="382374"/>
                    <a:pt x="619737" y="323084"/>
                  </a:cubicBezTo>
                  <a:cubicBezTo>
                    <a:pt x="619737" y="263795"/>
                    <a:pt x="687384" y="203573"/>
                    <a:pt x="756945" y="249203"/>
                  </a:cubicBezTo>
                  <a:cubicBezTo>
                    <a:pt x="758308" y="250105"/>
                    <a:pt x="759565" y="250708"/>
                    <a:pt x="760975" y="251591"/>
                  </a:cubicBezTo>
                  <a:cubicBezTo>
                    <a:pt x="765890" y="254512"/>
                    <a:pt x="772805" y="253115"/>
                    <a:pt x="776148" y="248416"/>
                  </a:cubicBezTo>
                  <a:cubicBezTo>
                    <a:pt x="780377" y="242497"/>
                    <a:pt x="785102" y="236065"/>
                    <a:pt x="790207" y="229138"/>
                  </a:cubicBezTo>
                  <a:cubicBezTo>
                    <a:pt x="795560" y="221854"/>
                    <a:pt x="800580" y="215072"/>
                    <a:pt x="804618" y="209395"/>
                  </a:cubicBezTo>
                  <a:cubicBezTo>
                    <a:pt x="811362" y="199928"/>
                    <a:pt x="809571" y="193191"/>
                    <a:pt x="799903" y="186809"/>
                  </a:cubicBezTo>
                  <a:cubicBezTo>
                    <a:pt x="799027" y="186231"/>
                    <a:pt x="798199" y="185691"/>
                    <a:pt x="797522" y="185195"/>
                  </a:cubicBezTo>
                  <a:cubicBezTo>
                    <a:pt x="734285" y="144778"/>
                    <a:pt x="650665" y="152087"/>
                    <a:pt x="596563" y="207040"/>
                  </a:cubicBezTo>
                  <a:close/>
                  <a:moveTo>
                    <a:pt x="293714" y="350313"/>
                  </a:moveTo>
                  <a:lnTo>
                    <a:pt x="469385" y="350313"/>
                  </a:lnTo>
                  <a:cubicBezTo>
                    <a:pt x="490463" y="350313"/>
                    <a:pt x="507323" y="333283"/>
                    <a:pt x="507323" y="312290"/>
                  </a:cubicBezTo>
                  <a:cubicBezTo>
                    <a:pt x="507323" y="265561"/>
                    <a:pt x="499588" y="240644"/>
                    <a:pt x="472890" y="208836"/>
                  </a:cubicBezTo>
                  <a:cubicBezTo>
                    <a:pt x="445486" y="176865"/>
                    <a:pt x="401919" y="159530"/>
                    <a:pt x="368190" y="159530"/>
                  </a:cubicBezTo>
                  <a:cubicBezTo>
                    <a:pt x="283875" y="159530"/>
                    <a:pt x="219228" y="231722"/>
                    <a:pt x="219228" y="323103"/>
                  </a:cubicBezTo>
                  <a:cubicBezTo>
                    <a:pt x="219228" y="435697"/>
                    <a:pt x="306354" y="486674"/>
                    <a:pt x="375915" y="486674"/>
                  </a:cubicBezTo>
                  <a:cubicBezTo>
                    <a:pt x="425807" y="486674"/>
                    <a:pt x="464460" y="474616"/>
                    <a:pt x="502398" y="450623"/>
                  </a:cubicBezTo>
                  <a:cubicBezTo>
                    <a:pt x="506618" y="447470"/>
                    <a:pt x="508723" y="441003"/>
                    <a:pt x="505913" y="435907"/>
                  </a:cubicBezTo>
                  <a:lnTo>
                    <a:pt x="504818" y="434088"/>
                  </a:lnTo>
                  <a:cubicBezTo>
                    <a:pt x="497150" y="421362"/>
                    <a:pt x="486558" y="403789"/>
                    <a:pt x="478519" y="391689"/>
                  </a:cubicBezTo>
                  <a:cubicBezTo>
                    <a:pt x="475709" y="386901"/>
                    <a:pt x="469385" y="385492"/>
                    <a:pt x="464460" y="388476"/>
                  </a:cubicBezTo>
                  <a:cubicBezTo>
                    <a:pt x="440571" y="402722"/>
                    <a:pt x="415273" y="415266"/>
                    <a:pt x="377335" y="414990"/>
                  </a:cubicBezTo>
                  <a:cubicBezTo>
                    <a:pt x="342197" y="414742"/>
                    <a:pt x="304954" y="392280"/>
                    <a:pt x="293714" y="350313"/>
                  </a:cubicBezTo>
                  <a:close/>
                  <a:moveTo>
                    <a:pt x="430732" y="287912"/>
                  </a:moveTo>
                  <a:cubicBezTo>
                    <a:pt x="424407" y="240694"/>
                    <a:pt x="392079" y="232071"/>
                    <a:pt x="368190" y="232071"/>
                  </a:cubicBezTo>
                  <a:cubicBezTo>
                    <a:pt x="335872" y="232071"/>
                    <a:pt x="308478" y="256182"/>
                    <a:pt x="296524" y="287912"/>
                  </a:cubicBezTo>
                  <a:lnTo>
                    <a:pt x="430732" y="287912"/>
                  </a:lnTo>
                  <a:close/>
                </a:path>
              </a:pathLst>
            </a:custGeom>
            <a:grpFill/>
            <a:ln w="76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7" name="Полилиния 6">
              <a:extLst>
                <a:ext uri="{FF2B5EF4-FFF2-40B4-BE49-F238E27FC236}">
                  <a16:creationId xmlns:a16="http://schemas.microsoft.com/office/drawing/2014/main" id="{B898C728-5E02-E127-800E-915A6CED6D5D}"/>
                </a:ext>
              </a:extLst>
            </p:cNvPr>
            <p:cNvSpPr/>
            <p:nvPr/>
          </p:nvSpPr>
          <p:spPr>
            <a:xfrm>
              <a:off x="8489504" y="1070894"/>
              <a:ext cx="1492273" cy="326563"/>
            </a:xfrm>
            <a:custGeom>
              <a:avLst/>
              <a:gdLst>
                <a:gd name="connsiteX0" fmla="*/ 180273 w 1492273"/>
                <a:gd name="connsiteY0" fmla="*/ 900 h 326563"/>
                <a:gd name="connsiteX1" fmla="*/ 83526 w 1492273"/>
                <a:gd name="connsiteY1" fmla="*/ 20775 h 326563"/>
                <a:gd name="connsiteX2" fmla="*/ 15954 w 1492273"/>
                <a:gd name="connsiteY2" fmla="*/ 92853 h 326563"/>
                <a:gd name="connsiteX3" fmla="*/ 2323 w 1492273"/>
                <a:gd name="connsiteY3" fmla="*/ 190737 h 326563"/>
                <a:gd name="connsiteX4" fmla="*/ 47618 w 1492273"/>
                <a:gd name="connsiteY4" fmla="*/ 278557 h 326563"/>
                <a:gd name="connsiteX5" fmla="*/ 135243 w 1492273"/>
                <a:gd name="connsiteY5" fmla="*/ 324153 h 326563"/>
                <a:gd name="connsiteX6" fmla="*/ 233098 w 1492273"/>
                <a:gd name="connsiteY6" fmla="*/ 310818 h 326563"/>
                <a:gd name="connsiteX7" fmla="*/ 305341 w 1492273"/>
                <a:gd name="connsiteY7" fmla="*/ 243429 h 326563"/>
                <a:gd name="connsiteX8" fmla="*/ 325507 w 1492273"/>
                <a:gd name="connsiteY8" fmla="*/ 146675 h 326563"/>
                <a:gd name="connsiteX9" fmla="*/ 278778 w 1492273"/>
                <a:gd name="connsiteY9" fmla="*/ 47965 h 326563"/>
                <a:gd name="connsiteX10" fmla="*/ 180273 w 1492273"/>
                <a:gd name="connsiteY10" fmla="*/ 900 h 326563"/>
                <a:gd name="connsiteX11" fmla="*/ 174984 w 1492273"/>
                <a:gd name="connsiteY11" fmla="*/ 249697 h 326563"/>
                <a:gd name="connsiteX12" fmla="*/ 122555 w 1492273"/>
                <a:gd name="connsiteY12" fmla="*/ 240277 h 326563"/>
                <a:gd name="connsiteX13" fmla="*/ 85427 w 1492273"/>
                <a:gd name="connsiteY13" fmla="*/ 202047 h 326563"/>
                <a:gd name="connsiteX14" fmla="*/ 77507 w 1492273"/>
                <a:gd name="connsiteY14" fmla="*/ 149329 h 326563"/>
                <a:gd name="connsiteX15" fmla="*/ 101766 w 1492273"/>
                <a:gd name="connsiteY15" fmla="*/ 101883 h 326563"/>
                <a:gd name="connsiteX16" fmla="*/ 149113 w 1492273"/>
                <a:gd name="connsiteY16" fmla="*/ 77461 h 326563"/>
                <a:gd name="connsiteX17" fmla="*/ 201825 w 1492273"/>
                <a:gd name="connsiteY17" fmla="*/ 85220 h 326563"/>
                <a:gd name="connsiteX18" fmla="*/ 240132 w 1492273"/>
                <a:gd name="connsiteY18" fmla="*/ 122247 h 326563"/>
                <a:gd name="connsiteX19" fmla="*/ 249714 w 1492273"/>
                <a:gd name="connsiteY19" fmla="*/ 174684 h 326563"/>
                <a:gd name="connsiteX20" fmla="*/ 225058 w 1492273"/>
                <a:gd name="connsiteY20" fmla="*/ 224868 h 326563"/>
                <a:gd name="connsiteX21" fmla="*/ 174984 w 1492273"/>
                <a:gd name="connsiteY21" fmla="*/ 249697 h 326563"/>
                <a:gd name="connsiteX22" fmla="*/ 412780 w 1492273"/>
                <a:gd name="connsiteY22" fmla="*/ 7358 h 326563"/>
                <a:gd name="connsiteX23" fmla="*/ 396435 w 1492273"/>
                <a:gd name="connsiteY23" fmla="*/ 11091 h 326563"/>
                <a:gd name="connsiteX24" fmla="*/ 383276 w 1492273"/>
                <a:gd name="connsiteY24" fmla="*/ 21498 h 326563"/>
                <a:gd name="connsiteX25" fmla="*/ 375859 w 1492273"/>
                <a:gd name="connsiteY25" fmla="*/ 36548 h 326563"/>
                <a:gd name="connsiteX26" fmla="*/ 375620 w 1492273"/>
                <a:gd name="connsiteY26" fmla="*/ 53325 h 326563"/>
                <a:gd name="connsiteX27" fmla="*/ 414209 w 1492273"/>
                <a:gd name="connsiteY27" fmla="*/ 83537 h 326563"/>
                <a:gd name="connsiteX28" fmla="*/ 520143 w 1492273"/>
                <a:gd name="connsiteY28" fmla="*/ 83537 h 326563"/>
                <a:gd name="connsiteX29" fmla="*/ 355289 w 1492273"/>
                <a:gd name="connsiteY29" fmla="*/ 301846 h 326563"/>
                <a:gd name="connsiteX30" fmla="*/ 353136 w 1492273"/>
                <a:gd name="connsiteY30" fmla="*/ 307389 h 326563"/>
                <a:gd name="connsiteX31" fmla="*/ 354212 w 1492273"/>
                <a:gd name="connsiteY31" fmla="*/ 313237 h 326563"/>
                <a:gd name="connsiteX32" fmla="*/ 358204 w 1492273"/>
                <a:gd name="connsiteY32" fmla="*/ 317647 h 326563"/>
                <a:gd name="connsiteX33" fmla="*/ 363921 w 1492273"/>
                <a:gd name="connsiteY33" fmla="*/ 319295 h 326563"/>
                <a:gd name="connsiteX34" fmla="*/ 622504 w 1492273"/>
                <a:gd name="connsiteY34" fmla="*/ 319295 h 326563"/>
                <a:gd name="connsiteX35" fmla="*/ 661099 w 1492273"/>
                <a:gd name="connsiteY35" fmla="*/ 289082 h 326563"/>
                <a:gd name="connsiteX36" fmla="*/ 660861 w 1492273"/>
                <a:gd name="connsiteY36" fmla="*/ 272299 h 326563"/>
                <a:gd name="connsiteX37" fmla="*/ 653451 w 1492273"/>
                <a:gd name="connsiteY37" fmla="*/ 257250 h 326563"/>
                <a:gd name="connsiteX38" fmla="*/ 640297 w 1492273"/>
                <a:gd name="connsiteY38" fmla="*/ 246849 h 326563"/>
                <a:gd name="connsiteX39" fmla="*/ 623952 w 1492273"/>
                <a:gd name="connsiteY39" fmla="*/ 243105 h 326563"/>
                <a:gd name="connsiteX40" fmla="*/ 494883 w 1492273"/>
                <a:gd name="connsiteY40" fmla="*/ 243105 h 326563"/>
                <a:gd name="connsiteX41" fmla="*/ 659613 w 1492273"/>
                <a:gd name="connsiteY41" fmla="*/ 24972 h 326563"/>
                <a:gd name="connsiteX42" fmla="*/ 661785 w 1492273"/>
                <a:gd name="connsiteY42" fmla="*/ 19371 h 326563"/>
                <a:gd name="connsiteX43" fmla="*/ 660690 w 1492273"/>
                <a:gd name="connsiteY43" fmla="*/ 13473 h 326563"/>
                <a:gd name="connsiteX44" fmla="*/ 656661 w 1492273"/>
                <a:gd name="connsiteY44" fmla="*/ 9021 h 326563"/>
                <a:gd name="connsiteX45" fmla="*/ 650888 w 1492273"/>
                <a:gd name="connsiteY45" fmla="*/ 7358 h 326563"/>
                <a:gd name="connsiteX46" fmla="*/ 412780 w 1492273"/>
                <a:gd name="connsiteY46" fmla="*/ 7358 h 326563"/>
                <a:gd name="connsiteX47" fmla="*/ 1446105 w 1492273"/>
                <a:gd name="connsiteY47" fmla="*/ 8240 h 326563"/>
                <a:gd name="connsiteX48" fmla="*/ 1424484 w 1492273"/>
                <a:gd name="connsiteY48" fmla="*/ 22127 h 326563"/>
                <a:gd name="connsiteX49" fmla="*/ 1416378 w 1492273"/>
                <a:gd name="connsiteY49" fmla="*/ 46473 h 326563"/>
                <a:gd name="connsiteX50" fmla="*/ 1416378 w 1492273"/>
                <a:gd name="connsiteY50" fmla="*/ 173313 h 326563"/>
                <a:gd name="connsiteX51" fmla="*/ 1210980 w 1492273"/>
                <a:gd name="connsiteY51" fmla="*/ 9758 h 326563"/>
                <a:gd name="connsiteX52" fmla="*/ 1205389 w 1492273"/>
                <a:gd name="connsiteY52" fmla="*/ 7453 h 326563"/>
                <a:gd name="connsiteX53" fmla="*/ 1199426 w 1492273"/>
                <a:gd name="connsiteY53" fmla="*/ 8482 h 326563"/>
                <a:gd name="connsiteX54" fmla="*/ 1194921 w 1492273"/>
                <a:gd name="connsiteY54" fmla="*/ 12520 h 326563"/>
                <a:gd name="connsiteX55" fmla="*/ 1193263 w 1492273"/>
                <a:gd name="connsiteY55" fmla="*/ 18343 h 326563"/>
                <a:gd name="connsiteX56" fmla="*/ 1193263 w 1492273"/>
                <a:gd name="connsiteY56" fmla="*/ 280243 h 326563"/>
                <a:gd name="connsiteX57" fmla="*/ 1201388 w 1492273"/>
                <a:gd name="connsiteY57" fmla="*/ 304589 h 326563"/>
                <a:gd name="connsiteX58" fmla="*/ 1222962 w 1492273"/>
                <a:gd name="connsiteY58" fmla="*/ 318486 h 326563"/>
                <a:gd name="connsiteX59" fmla="*/ 1239803 w 1492273"/>
                <a:gd name="connsiteY59" fmla="*/ 318362 h 326563"/>
                <a:gd name="connsiteX60" fmla="*/ 1254966 w 1492273"/>
                <a:gd name="connsiteY60" fmla="*/ 310961 h 326563"/>
                <a:gd name="connsiteX61" fmla="*/ 1265444 w 1492273"/>
                <a:gd name="connsiteY61" fmla="*/ 297721 h 326563"/>
                <a:gd name="connsiteX62" fmla="*/ 1269159 w 1492273"/>
                <a:gd name="connsiteY62" fmla="*/ 281272 h 326563"/>
                <a:gd name="connsiteX63" fmla="*/ 1269159 w 1492273"/>
                <a:gd name="connsiteY63" fmla="*/ 153323 h 326563"/>
                <a:gd name="connsiteX64" fmla="*/ 1474538 w 1492273"/>
                <a:gd name="connsiteY64" fmla="*/ 316885 h 326563"/>
                <a:gd name="connsiteX65" fmla="*/ 1480148 w 1492273"/>
                <a:gd name="connsiteY65" fmla="*/ 319190 h 326563"/>
                <a:gd name="connsiteX66" fmla="*/ 1486120 w 1492273"/>
                <a:gd name="connsiteY66" fmla="*/ 318162 h 326563"/>
                <a:gd name="connsiteX67" fmla="*/ 1490625 w 1492273"/>
                <a:gd name="connsiteY67" fmla="*/ 314123 h 326563"/>
                <a:gd name="connsiteX68" fmla="*/ 1492273 w 1492273"/>
                <a:gd name="connsiteY68" fmla="*/ 308303 h 326563"/>
                <a:gd name="connsiteX69" fmla="*/ 1492273 w 1492273"/>
                <a:gd name="connsiteY69" fmla="*/ 45444 h 326563"/>
                <a:gd name="connsiteX70" fmla="*/ 1488559 w 1492273"/>
                <a:gd name="connsiteY70" fmla="*/ 28985 h 326563"/>
                <a:gd name="connsiteX71" fmla="*/ 1478081 w 1492273"/>
                <a:gd name="connsiteY71" fmla="*/ 15759 h 326563"/>
                <a:gd name="connsiteX72" fmla="*/ 1462908 w 1492273"/>
                <a:gd name="connsiteY72" fmla="*/ 8354 h 326563"/>
                <a:gd name="connsiteX73" fmla="*/ 1446105 w 1492273"/>
                <a:gd name="connsiteY73" fmla="*/ 8240 h 326563"/>
                <a:gd name="connsiteX74" fmla="*/ 911265 w 1492273"/>
                <a:gd name="connsiteY74" fmla="*/ 76254 h 326563"/>
                <a:gd name="connsiteX75" fmla="*/ 1063066 w 1492273"/>
                <a:gd name="connsiteY75" fmla="*/ 163286 h 326563"/>
                <a:gd name="connsiteX76" fmla="*/ 911265 w 1492273"/>
                <a:gd name="connsiteY76" fmla="*/ 250325 h 326563"/>
                <a:gd name="connsiteX77" fmla="*/ 759483 w 1492273"/>
                <a:gd name="connsiteY77" fmla="*/ 163286 h 326563"/>
                <a:gd name="connsiteX78" fmla="*/ 911265 w 1492273"/>
                <a:gd name="connsiteY78" fmla="*/ 76254 h 326563"/>
                <a:gd name="connsiteX79" fmla="*/ 911265 w 1492273"/>
                <a:gd name="connsiteY79" fmla="*/ 67 h 326563"/>
                <a:gd name="connsiteX80" fmla="*/ 683578 w 1492273"/>
                <a:gd name="connsiteY80" fmla="*/ 163286 h 326563"/>
                <a:gd name="connsiteX81" fmla="*/ 911265 w 1492273"/>
                <a:gd name="connsiteY81" fmla="*/ 326506 h 326563"/>
                <a:gd name="connsiteX82" fmla="*/ 1138961 w 1492273"/>
                <a:gd name="connsiteY82" fmla="*/ 163286 h 326563"/>
                <a:gd name="connsiteX83" fmla="*/ 911265 w 1492273"/>
                <a:gd name="connsiteY83" fmla="*/ 67 h 3265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</a:cxnLst>
              <a:rect l="l" t="t" r="r" b="b"/>
              <a:pathLst>
                <a:path w="1492273" h="326563">
                  <a:moveTo>
                    <a:pt x="180273" y="900"/>
                  </a:moveTo>
                  <a:cubicBezTo>
                    <a:pt x="146739" y="-2638"/>
                    <a:pt x="112948" y="4310"/>
                    <a:pt x="83526" y="20775"/>
                  </a:cubicBezTo>
                  <a:cubicBezTo>
                    <a:pt x="54104" y="37240"/>
                    <a:pt x="30499" y="62424"/>
                    <a:pt x="15954" y="92853"/>
                  </a:cubicBezTo>
                  <a:cubicBezTo>
                    <a:pt x="1417" y="123295"/>
                    <a:pt x="-3344" y="157489"/>
                    <a:pt x="2323" y="190737"/>
                  </a:cubicBezTo>
                  <a:cubicBezTo>
                    <a:pt x="7990" y="223998"/>
                    <a:pt x="23812" y="254669"/>
                    <a:pt x="47618" y="278557"/>
                  </a:cubicBezTo>
                  <a:cubicBezTo>
                    <a:pt x="71412" y="302455"/>
                    <a:pt x="102030" y="318381"/>
                    <a:pt x="135243" y="324153"/>
                  </a:cubicBezTo>
                  <a:cubicBezTo>
                    <a:pt x="168455" y="329925"/>
                    <a:pt x="202644" y="325277"/>
                    <a:pt x="233098" y="310818"/>
                  </a:cubicBezTo>
                  <a:cubicBezTo>
                    <a:pt x="263559" y="296359"/>
                    <a:pt x="288801" y="272814"/>
                    <a:pt x="305341" y="243429"/>
                  </a:cubicBezTo>
                  <a:cubicBezTo>
                    <a:pt x="321894" y="214035"/>
                    <a:pt x="328933" y="180240"/>
                    <a:pt x="325507" y="146675"/>
                  </a:cubicBezTo>
                  <a:cubicBezTo>
                    <a:pt x="321736" y="109375"/>
                    <a:pt x="305234" y="74514"/>
                    <a:pt x="278778" y="47965"/>
                  </a:cubicBezTo>
                  <a:cubicBezTo>
                    <a:pt x="252327" y="21410"/>
                    <a:pt x="217534" y="4786"/>
                    <a:pt x="180273" y="900"/>
                  </a:cubicBezTo>
                  <a:close/>
                  <a:moveTo>
                    <a:pt x="174984" y="249697"/>
                  </a:moveTo>
                  <a:cubicBezTo>
                    <a:pt x="156946" y="252116"/>
                    <a:pt x="138617" y="248820"/>
                    <a:pt x="122555" y="240277"/>
                  </a:cubicBezTo>
                  <a:cubicBezTo>
                    <a:pt x="106488" y="231725"/>
                    <a:pt x="93505" y="218366"/>
                    <a:pt x="85427" y="202047"/>
                  </a:cubicBezTo>
                  <a:cubicBezTo>
                    <a:pt x="77349" y="185733"/>
                    <a:pt x="74579" y="167300"/>
                    <a:pt x="77507" y="149329"/>
                  </a:cubicBezTo>
                  <a:cubicBezTo>
                    <a:pt x="80440" y="131372"/>
                    <a:pt x="88922" y="114773"/>
                    <a:pt x="101766" y="101883"/>
                  </a:cubicBezTo>
                  <a:cubicBezTo>
                    <a:pt x="114610" y="88986"/>
                    <a:pt x="131176" y="80452"/>
                    <a:pt x="149113" y="77461"/>
                  </a:cubicBezTo>
                  <a:cubicBezTo>
                    <a:pt x="167057" y="74470"/>
                    <a:pt x="185493" y="77181"/>
                    <a:pt x="201825" y="85220"/>
                  </a:cubicBezTo>
                  <a:cubicBezTo>
                    <a:pt x="218145" y="93247"/>
                    <a:pt x="231543" y="106194"/>
                    <a:pt x="240132" y="122247"/>
                  </a:cubicBezTo>
                  <a:cubicBezTo>
                    <a:pt x="248725" y="138293"/>
                    <a:pt x="252068" y="156625"/>
                    <a:pt x="249714" y="174684"/>
                  </a:cubicBezTo>
                  <a:cubicBezTo>
                    <a:pt x="247233" y="193670"/>
                    <a:pt x="238569" y="211305"/>
                    <a:pt x="225058" y="224868"/>
                  </a:cubicBezTo>
                  <a:cubicBezTo>
                    <a:pt x="211546" y="238425"/>
                    <a:pt x="193948" y="247154"/>
                    <a:pt x="174984" y="249697"/>
                  </a:cubicBezTo>
                  <a:close/>
                  <a:moveTo>
                    <a:pt x="412780" y="7358"/>
                  </a:moveTo>
                  <a:cubicBezTo>
                    <a:pt x="407126" y="7370"/>
                    <a:pt x="401534" y="8646"/>
                    <a:pt x="396435" y="11091"/>
                  </a:cubicBezTo>
                  <a:cubicBezTo>
                    <a:pt x="391328" y="13536"/>
                    <a:pt x="386833" y="17092"/>
                    <a:pt x="383276" y="21498"/>
                  </a:cubicBezTo>
                  <a:cubicBezTo>
                    <a:pt x="379712" y="25899"/>
                    <a:pt x="377174" y="31042"/>
                    <a:pt x="375859" y="36548"/>
                  </a:cubicBezTo>
                  <a:cubicBezTo>
                    <a:pt x="374537" y="42053"/>
                    <a:pt x="374448" y="47787"/>
                    <a:pt x="375620" y="53325"/>
                  </a:cubicBezTo>
                  <a:cubicBezTo>
                    <a:pt x="379202" y="71282"/>
                    <a:pt x="395956" y="83537"/>
                    <a:pt x="414209" y="83537"/>
                  </a:cubicBezTo>
                  <a:lnTo>
                    <a:pt x="520143" y="83537"/>
                  </a:lnTo>
                  <a:lnTo>
                    <a:pt x="355289" y="301846"/>
                  </a:lnTo>
                  <a:cubicBezTo>
                    <a:pt x="354067" y="303455"/>
                    <a:pt x="353324" y="305379"/>
                    <a:pt x="353136" y="307389"/>
                  </a:cubicBezTo>
                  <a:cubicBezTo>
                    <a:pt x="352940" y="309399"/>
                    <a:pt x="353319" y="311428"/>
                    <a:pt x="354212" y="313237"/>
                  </a:cubicBezTo>
                  <a:cubicBezTo>
                    <a:pt x="355113" y="315047"/>
                    <a:pt x="356491" y="316581"/>
                    <a:pt x="358204" y="317647"/>
                  </a:cubicBezTo>
                  <a:cubicBezTo>
                    <a:pt x="359923" y="318714"/>
                    <a:pt x="361900" y="319286"/>
                    <a:pt x="363921" y="319295"/>
                  </a:cubicBezTo>
                  <a:lnTo>
                    <a:pt x="622504" y="319295"/>
                  </a:lnTo>
                  <a:cubicBezTo>
                    <a:pt x="640744" y="319295"/>
                    <a:pt x="657518" y="307037"/>
                    <a:pt x="661099" y="289082"/>
                  </a:cubicBezTo>
                  <a:cubicBezTo>
                    <a:pt x="662271" y="283539"/>
                    <a:pt x="662185" y="277805"/>
                    <a:pt x="660861" y="272299"/>
                  </a:cubicBezTo>
                  <a:cubicBezTo>
                    <a:pt x="659537" y="266794"/>
                    <a:pt x="657004" y="261650"/>
                    <a:pt x="653451" y="257250"/>
                  </a:cubicBezTo>
                  <a:cubicBezTo>
                    <a:pt x="649898" y="252849"/>
                    <a:pt x="645402" y="249297"/>
                    <a:pt x="640297" y="246849"/>
                  </a:cubicBezTo>
                  <a:cubicBezTo>
                    <a:pt x="635191" y="244391"/>
                    <a:pt x="629610" y="243115"/>
                    <a:pt x="623952" y="243105"/>
                  </a:cubicBezTo>
                  <a:lnTo>
                    <a:pt x="494883" y="243105"/>
                  </a:lnTo>
                  <a:lnTo>
                    <a:pt x="659613" y="24972"/>
                  </a:lnTo>
                  <a:cubicBezTo>
                    <a:pt x="660842" y="23340"/>
                    <a:pt x="661595" y="21403"/>
                    <a:pt x="661785" y="19371"/>
                  </a:cubicBezTo>
                  <a:cubicBezTo>
                    <a:pt x="661976" y="17340"/>
                    <a:pt x="661604" y="15295"/>
                    <a:pt x="660690" y="13473"/>
                  </a:cubicBezTo>
                  <a:cubicBezTo>
                    <a:pt x="659785" y="11637"/>
                    <a:pt x="658385" y="10101"/>
                    <a:pt x="656661" y="9021"/>
                  </a:cubicBezTo>
                  <a:cubicBezTo>
                    <a:pt x="654937" y="7942"/>
                    <a:pt x="652927" y="7363"/>
                    <a:pt x="650888" y="7358"/>
                  </a:cubicBezTo>
                  <a:lnTo>
                    <a:pt x="412780" y="7358"/>
                  </a:lnTo>
                  <a:close/>
                  <a:moveTo>
                    <a:pt x="1446105" y="8240"/>
                  </a:moveTo>
                  <a:cubicBezTo>
                    <a:pt x="1437514" y="10272"/>
                    <a:pt x="1429894" y="15174"/>
                    <a:pt x="1424484" y="22127"/>
                  </a:cubicBezTo>
                  <a:cubicBezTo>
                    <a:pt x="1419112" y="29080"/>
                    <a:pt x="1416254" y="37666"/>
                    <a:pt x="1416378" y="46473"/>
                  </a:cubicBezTo>
                  <a:lnTo>
                    <a:pt x="1416378" y="173313"/>
                  </a:lnTo>
                  <a:lnTo>
                    <a:pt x="1210980" y="9758"/>
                  </a:lnTo>
                  <a:cubicBezTo>
                    <a:pt x="1209361" y="8475"/>
                    <a:pt x="1207427" y="7675"/>
                    <a:pt x="1205389" y="7453"/>
                  </a:cubicBezTo>
                  <a:cubicBezTo>
                    <a:pt x="1203341" y="7230"/>
                    <a:pt x="1201274" y="7580"/>
                    <a:pt x="1199426" y="8482"/>
                  </a:cubicBezTo>
                  <a:cubicBezTo>
                    <a:pt x="1197569" y="9377"/>
                    <a:pt x="1196006" y="10773"/>
                    <a:pt x="1194921" y="12520"/>
                  </a:cubicBezTo>
                  <a:cubicBezTo>
                    <a:pt x="1193835" y="14273"/>
                    <a:pt x="1193254" y="16285"/>
                    <a:pt x="1193263" y="18343"/>
                  </a:cubicBezTo>
                  <a:lnTo>
                    <a:pt x="1193263" y="280243"/>
                  </a:lnTo>
                  <a:cubicBezTo>
                    <a:pt x="1193120" y="289054"/>
                    <a:pt x="1195987" y="297645"/>
                    <a:pt x="1201388" y="304589"/>
                  </a:cubicBezTo>
                  <a:cubicBezTo>
                    <a:pt x="1206789" y="311542"/>
                    <a:pt x="1214409" y="316447"/>
                    <a:pt x="1222962" y="318486"/>
                  </a:cubicBezTo>
                  <a:cubicBezTo>
                    <a:pt x="1228525" y="319714"/>
                    <a:pt x="1234288" y="319667"/>
                    <a:pt x="1239803" y="318362"/>
                  </a:cubicBezTo>
                  <a:cubicBezTo>
                    <a:pt x="1245346" y="317066"/>
                    <a:pt x="1250518" y="314533"/>
                    <a:pt x="1254966" y="310961"/>
                  </a:cubicBezTo>
                  <a:cubicBezTo>
                    <a:pt x="1259415" y="307389"/>
                    <a:pt x="1263006" y="302874"/>
                    <a:pt x="1265444" y="297721"/>
                  </a:cubicBezTo>
                  <a:cubicBezTo>
                    <a:pt x="1267882" y="292587"/>
                    <a:pt x="1269159" y="286958"/>
                    <a:pt x="1269159" y="281272"/>
                  </a:cubicBezTo>
                  <a:lnTo>
                    <a:pt x="1269159" y="153323"/>
                  </a:lnTo>
                  <a:lnTo>
                    <a:pt x="1474538" y="316885"/>
                  </a:lnTo>
                  <a:cubicBezTo>
                    <a:pt x="1476195" y="318171"/>
                    <a:pt x="1478138" y="318962"/>
                    <a:pt x="1480148" y="319190"/>
                  </a:cubicBezTo>
                  <a:cubicBezTo>
                    <a:pt x="1482224" y="319419"/>
                    <a:pt x="1484291" y="319057"/>
                    <a:pt x="1486120" y="318162"/>
                  </a:cubicBezTo>
                  <a:cubicBezTo>
                    <a:pt x="1487949" y="317266"/>
                    <a:pt x="1489530" y="315866"/>
                    <a:pt x="1490625" y="314123"/>
                  </a:cubicBezTo>
                  <a:cubicBezTo>
                    <a:pt x="1491721" y="312380"/>
                    <a:pt x="1492273" y="310361"/>
                    <a:pt x="1492273" y="308303"/>
                  </a:cubicBezTo>
                  <a:lnTo>
                    <a:pt x="1492273" y="45444"/>
                  </a:lnTo>
                  <a:cubicBezTo>
                    <a:pt x="1492273" y="39748"/>
                    <a:pt x="1490997" y="34123"/>
                    <a:pt x="1488559" y="28985"/>
                  </a:cubicBezTo>
                  <a:cubicBezTo>
                    <a:pt x="1486120" y="23848"/>
                    <a:pt x="1482529" y="19327"/>
                    <a:pt x="1478081" y="15759"/>
                  </a:cubicBezTo>
                  <a:cubicBezTo>
                    <a:pt x="1473633" y="12190"/>
                    <a:pt x="1468461" y="9656"/>
                    <a:pt x="1462908" y="8354"/>
                  </a:cubicBezTo>
                  <a:cubicBezTo>
                    <a:pt x="1457364" y="7059"/>
                    <a:pt x="1451649" y="7015"/>
                    <a:pt x="1446105" y="8240"/>
                  </a:cubicBezTo>
                  <a:close/>
                  <a:moveTo>
                    <a:pt x="911265" y="76254"/>
                  </a:moveTo>
                  <a:cubicBezTo>
                    <a:pt x="998152" y="76254"/>
                    <a:pt x="1063066" y="122196"/>
                    <a:pt x="1063066" y="163286"/>
                  </a:cubicBezTo>
                  <a:cubicBezTo>
                    <a:pt x="1063066" y="204383"/>
                    <a:pt x="998152" y="250325"/>
                    <a:pt x="911265" y="250325"/>
                  </a:cubicBezTo>
                  <a:cubicBezTo>
                    <a:pt x="824397" y="250325"/>
                    <a:pt x="759483" y="204383"/>
                    <a:pt x="759483" y="163286"/>
                  </a:cubicBezTo>
                  <a:cubicBezTo>
                    <a:pt x="759483" y="122196"/>
                    <a:pt x="824397" y="76254"/>
                    <a:pt x="911265" y="76254"/>
                  </a:cubicBezTo>
                  <a:close/>
                  <a:moveTo>
                    <a:pt x="911265" y="67"/>
                  </a:moveTo>
                  <a:cubicBezTo>
                    <a:pt x="785515" y="67"/>
                    <a:pt x="683578" y="73142"/>
                    <a:pt x="683578" y="163286"/>
                  </a:cubicBezTo>
                  <a:cubicBezTo>
                    <a:pt x="683578" y="253421"/>
                    <a:pt x="785515" y="326506"/>
                    <a:pt x="911265" y="326506"/>
                  </a:cubicBezTo>
                  <a:cubicBezTo>
                    <a:pt x="1037024" y="326506"/>
                    <a:pt x="1138961" y="253421"/>
                    <a:pt x="1138961" y="163286"/>
                  </a:cubicBezTo>
                  <a:cubicBezTo>
                    <a:pt x="1138961" y="73142"/>
                    <a:pt x="1037024" y="67"/>
                    <a:pt x="911265" y="67"/>
                  </a:cubicBezTo>
                  <a:close/>
                </a:path>
              </a:pathLst>
            </a:custGeom>
            <a:grpFill/>
            <a:ln w="76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9C6A208F-2A8F-8640-1889-7EF3989875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560661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33" imgH="233" progId="TCLayout.ActiveDocument.1">
                  <p:embed/>
                </p:oleObj>
              </mc:Choice>
              <mc:Fallback>
                <p:oleObj name="Слайд think-cell" r:id="rId3" imgW="233" imgH="233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9C6A208F-2A8F-8640-1889-7EF3989875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Объект 2">
            <a:extLst>
              <a:ext uri="{FF2B5EF4-FFF2-40B4-BE49-F238E27FC236}">
                <a16:creationId xmlns:a16="http://schemas.microsoft.com/office/drawing/2014/main" id="{91C59567-F70E-CC32-748F-63A920CFAA0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763" y="1520824"/>
            <a:ext cx="10910887" cy="4741864"/>
          </a:xfrm>
        </p:spPr>
        <p:txBody>
          <a:bodyPr/>
          <a:lstStyle>
            <a:lvl1pPr>
              <a:lnSpc>
                <a:spcPct val="100000"/>
              </a:lnSpc>
              <a:spcAft>
                <a:spcPts val="1200"/>
              </a:spcAft>
              <a:defRPr sz="2400"/>
            </a:lvl1pPr>
            <a:lvl2pPr>
              <a:lnSpc>
                <a:spcPct val="100000"/>
              </a:lnSpc>
              <a:spcAft>
                <a:spcPts val="1200"/>
              </a:spcAft>
              <a:defRPr sz="2400"/>
            </a:lvl2pPr>
            <a:lvl3pPr>
              <a:lnSpc>
                <a:spcPct val="100000"/>
              </a:lnSpc>
              <a:spcAft>
                <a:spcPts val="1200"/>
              </a:spcAft>
              <a:defRPr sz="2400"/>
            </a:lvl3pPr>
            <a:lvl4pPr>
              <a:lnSpc>
                <a:spcPct val="100000"/>
              </a:lnSpc>
              <a:spcAft>
                <a:spcPts val="1200"/>
              </a:spcAft>
              <a:defRPr sz="2400"/>
            </a:lvl4pPr>
            <a:lvl5pPr>
              <a:lnSpc>
                <a:spcPct val="100000"/>
              </a:lnSpc>
              <a:spcAft>
                <a:spcPts val="1200"/>
              </a:spcAft>
              <a:defRPr sz="24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1CD188B5-4A1B-CBD8-E7B6-3AA0E6DAFA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5099" y="420493"/>
            <a:ext cx="10910888" cy="78315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2000"/>
              </a:lnSpc>
              <a:defRPr sz="4400" spc="-30" baseline="0"/>
            </a:lvl1pPr>
          </a:lstStyle>
          <a:p>
            <a:r>
              <a:rPr lang="ru-RU" dirty="0"/>
              <a:t>Заголовок слайда в 1 строку</a:t>
            </a:r>
          </a:p>
        </p:txBody>
      </p:sp>
      <p:sp>
        <p:nvSpPr>
          <p:cNvPr id="38" name="Прямоугольник: скругленные углы 37">
            <a:extLst>
              <a:ext uri="{FF2B5EF4-FFF2-40B4-BE49-F238E27FC236}">
                <a16:creationId xmlns:a16="http://schemas.microsoft.com/office/drawing/2014/main" id="{7B5F198A-2559-F2F6-5327-6954972E8252}"/>
              </a:ext>
            </a:extLst>
          </p:cNvPr>
          <p:cNvSpPr/>
          <p:nvPr/>
        </p:nvSpPr>
        <p:spPr>
          <a:xfrm>
            <a:off x="-2138458" y="54865"/>
            <a:ext cx="1928241" cy="2826069"/>
          </a:xfrm>
          <a:prstGeom prst="roundRect">
            <a:avLst>
              <a:gd name="adj" fmla="val 5926"/>
            </a:avLst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9" name="Прямоугольник: скругленные верхние углы 38">
            <a:extLst>
              <a:ext uri="{FF2B5EF4-FFF2-40B4-BE49-F238E27FC236}">
                <a16:creationId xmlns:a16="http://schemas.microsoft.com/office/drawing/2014/main" id="{7F566F0E-F78F-3D2D-3421-869755AFA559}"/>
              </a:ext>
            </a:extLst>
          </p:cNvPr>
          <p:cNvSpPr/>
          <p:nvPr/>
        </p:nvSpPr>
        <p:spPr>
          <a:xfrm>
            <a:off x="-2136930" y="0"/>
            <a:ext cx="1926713" cy="2880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36000" rtlCol="0" anchor="ctr"/>
          <a:lstStyle/>
          <a:p>
            <a:pPr algn="ctr"/>
            <a:r>
              <a:rPr lang="ru-RU" sz="1100" b="1">
                <a:solidFill>
                  <a:schemeClr val="tx1"/>
                </a:solidFill>
              </a:rPr>
              <a:t>Размеры текста</a:t>
            </a:r>
          </a:p>
        </p:txBody>
      </p:sp>
      <p:graphicFrame>
        <p:nvGraphicFramePr>
          <p:cNvPr id="40" name="Таблица 46">
            <a:extLst>
              <a:ext uri="{FF2B5EF4-FFF2-40B4-BE49-F238E27FC236}">
                <a16:creationId xmlns:a16="http://schemas.microsoft.com/office/drawing/2014/main" id="{90C90852-1187-6692-C182-38F701835EF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42695781"/>
              </p:ext>
            </p:extLst>
          </p:nvPr>
        </p:nvGraphicFramePr>
        <p:xfrm>
          <a:off x="-2046114" y="312643"/>
          <a:ext cx="1958731" cy="2142000"/>
        </p:xfrm>
        <a:graphic>
          <a:graphicData uri="http://schemas.openxmlformats.org/drawingml/2006/table">
            <a:tbl>
              <a:tblPr/>
              <a:tblGrid>
                <a:gridCol w="532517">
                  <a:extLst>
                    <a:ext uri="{9D8B030D-6E8A-4147-A177-3AD203B41FA5}">
                      <a16:colId xmlns:a16="http://schemas.microsoft.com/office/drawing/2014/main" val="2594385797"/>
                    </a:ext>
                  </a:extLst>
                </a:gridCol>
                <a:gridCol w="1426214">
                  <a:extLst>
                    <a:ext uri="{9D8B030D-6E8A-4147-A177-3AD203B41FA5}">
                      <a16:colId xmlns:a16="http://schemas.microsoft.com/office/drawing/2014/main" val="1017723076"/>
                    </a:ext>
                  </a:extLst>
                </a:gridCol>
              </a:tblGrid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en-US" sz="1200" b="1"/>
                        <a:t>5</a:t>
                      </a:r>
                      <a:r>
                        <a:rPr lang="ru-RU" sz="1200" b="1"/>
                        <a:t>4+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0" spc="-40" baseline="0"/>
                        <a:t>акцентные цифр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8329665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en-US" sz="1200" b="1"/>
                        <a:t>44</a:t>
                      </a:r>
                      <a:endParaRPr lang="ru-RU" sz="1200" b="1"/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заголовки и самые </a:t>
                      </a:r>
                      <a:br>
                        <a:rPr lang="ru-RU" sz="1000" spc="-40" baseline="0"/>
                      </a:br>
                      <a:r>
                        <a:rPr lang="ru-RU" sz="1000" spc="-40" baseline="0"/>
                        <a:t>важные данные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17697917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en-US" sz="1200" b="1"/>
                        <a:t>32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en-US" sz="1200" b="1"/>
                        <a:t>24</a:t>
                      </a:r>
                      <a:endParaRPr lang="ru-RU" sz="1200" b="1"/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подзаголовки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72780009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en-US" sz="1200" b="1"/>
                        <a:t>24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</a:t>
                      </a:r>
                      <a:r>
                        <a:rPr lang="en-US" sz="1200" b="1"/>
                        <a:t>8</a:t>
                      </a:r>
                      <a:endParaRPr lang="ru-RU" sz="1200" b="1"/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основной текст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0685745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</a:t>
                      </a:r>
                      <a:r>
                        <a:rPr lang="en-US" sz="1200" b="1">
                          <a:solidFill>
                            <a:schemeClr val="tx1"/>
                          </a:solidFill>
                        </a:rPr>
                        <a:t>8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</a:t>
                      </a:r>
                      <a:r>
                        <a:rPr lang="en-US" sz="1200" b="1">
                          <a:solidFill>
                            <a:schemeClr val="tx1"/>
                          </a:solidFill>
                        </a:rPr>
                        <a:t>4</a:t>
                      </a:r>
                      <a:endParaRPr lang="ru-RU" sz="1200" b="1">
                        <a:solidFill>
                          <a:schemeClr val="tx1"/>
                        </a:solidFill>
                      </a:endParaRP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торой уровень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текста (менее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ажная информация)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1997433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</a:t>
                      </a:r>
                      <a:r>
                        <a:rPr lang="en-US" sz="1200" b="1">
                          <a:solidFill>
                            <a:schemeClr val="tx1"/>
                          </a:solidFill>
                        </a:rPr>
                        <a:t>2</a:t>
                      </a:r>
                      <a:endParaRPr lang="ru-RU" sz="1200" b="1">
                        <a:solidFill>
                          <a:schemeClr val="tx1"/>
                        </a:solidFill>
                      </a:endParaRP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сноски, пояснения, </a:t>
                      </a:r>
                      <a:br>
                        <a:rPr lang="en-US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большие таблиц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76660845"/>
                  </a:ext>
                </a:extLst>
              </a:tr>
            </a:tbl>
          </a:graphicData>
        </a:graphic>
      </p:graphicFrame>
      <p:sp>
        <p:nvSpPr>
          <p:cNvPr id="41" name="Полилиния: фигура 40">
            <a:extLst>
              <a:ext uri="{FF2B5EF4-FFF2-40B4-BE49-F238E27FC236}">
                <a16:creationId xmlns:a16="http://schemas.microsoft.com/office/drawing/2014/main" id="{16881EB9-3774-1E79-046E-FF7CB7E5BD88}"/>
              </a:ext>
            </a:extLst>
          </p:cNvPr>
          <p:cNvSpPr/>
          <p:nvPr/>
        </p:nvSpPr>
        <p:spPr>
          <a:xfrm>
            <a:off x="-2004344" y="2488864"/>
            <a:ext cx="216624" cy="228657"/>
          </a:xfrm>
          <a:custGeom>
            <a:avLst/>
            <a:gdLst>
              <a:gd name="connsiteX0" fmla="*/ 72536 w 171450"/>
              <a:gd name="connsiteY0" fmla="*/ 162210 h 180974"/>
              <a:gd name="connsiteX1" fmla="*/ 98923 w 171450"/>
              <a:gd name="connsiteY1" fmla="*/ 162210 h 180974"/>
              <a:gd name="connsiteX2" fmla="*/ 103600 w 171450"/>
              <a:gd name="connsiteY2" fmla="*/ 172160 h 180974"/>
              <a:gd name="connsiteX3" fmla="*/ 85726 w 171450"/>
              <a:gd name="connsiteY3" fmla="*/ 180974 h 180974"/>
              <a:gd name="connsiteX4" fmla="*/ 67852 w 171450"/>
              <a:gd name="connsiteY4" fmla="*/ 172160 h 180974"/>
              <a:gd name="connsiteX5" fmla="*/ 72536 w 171450"/>
              <a:gd name="connsiteY5" fmla="*/ 162210 h 180974"/>
              <a:gd name="connsiteX6" fmla="*/ 152400 w 171450"/>
              <a:gd name="connsiteY6" fmla="*/ 76200 h 180974"/>
              <a:gd name="connsiteX7" fmla="*/ 161925 w 171450"/>
              <a:gd name="connsiteY7" fmla="*/ 76200 h 180974"/>
              <a:gd name="connsiteX8" fmla="*/ 171450 w 171450"/>
              <a:gd name="connsiteY8" fmla="*/ 85725 h 180974"/>
              <a:gd name="connsiteX9" fmla="*/ 161925 w 171450"/>
              <a:gd name="connsiteY9" fmla="*/ 95250 h 180974"/>
              <a:gd name="connsiteX10" fmla="*/ 152400 w 171450"/>
              <a:gd name="connsiteY10" fmla="*/ 95250 h 180974"/>
              <a:gd name="connsiteX11" fmla="*/ 142875 w 171450"/>
              <a:gd name="connsiteY11" fmla="*/ 85725 h 180974"/>
              <a:gd name="connsiteX12" fmla="*/ 152400 w 171450"/>
              <a:gd name="connsiteY12" fmla="*/ 76200 h 180974"/>
              <a:gd name="connsiteX13" fmla="*/ 9525 w 171450"/>
              <a:gd name="connsiteY13" fmla="*/ 76200 h 180974"/>
              <a:gd name="connsiteX14" fmla="*/ 19050 w 171450"/>
              <a:gd name="connsiteY14" fmla="*/ 76200 h 180974"/>
              <a:gd name="connsiteX15" fmla="*/ 28575 w 171450"/>
              <a:gd name="connsiteY15" fmla="*/ 85725 h 180974"/>
              <a:gd name="connsiteX16" fmla="*/ 19050 w 171450"/>
              <a:gd name="connsiteY16" fmla="*/ 95250 h 180974"/>
              <a:gd name="connsiteX17" fmla="*/ 9525 w 171450"/>
              <a:gd name="connsiteY17" fmla="*/ 95250 h 180974"/>
              <a:gd name="connsiteX18" fmla="*/ 0 w 171450"/>
              <a:gd name="connsiteY18" fmla="*/ 85725 h 180974"/>
              <a:gd name="connsiteX19" fmla="*/ 9525 w 171450"/>
              <a:gd name="connsiteY19" fmla="*/ 76200 h 180974"/>
              <a:gd name="connsiteX20" fmla="*/ 85725 w 171450"/>
              <a:gd name="connsiteY20" fmla="*/ 38100 h 180974"/>
              <a:gd name="connsiteX21" fmla="*/ 133350 w 171450"/>
              <a:gd name="connsiteY21" fmla="*/ 85725 h 180974"/>
              <a:gd name="connsiteX22" fmla="*/ 123174 w 171450"/>
              <a:gd name="connsiteY22" fmla="*/ 114596 h 180974"/>
              <a:gd name="connsiteX23" fmla="*/ 114300 w 171450"/>
              <a:gd name="connsiteY23" fmla="*/ 138113 h 180974"/>
              <a:gd name="connsiteX24" fmla="*/ 85725 w 171450"/>
              <a:gd name="connsiteY24" fmla="*/ 152400 h 180974"/>
              <a:gd name="connsiteX25" fmla="*/ 57150 w 171450"/>
              <a:gd name="connsiteY25" fmla="*/ 138113 h 180974"/>
              <a:gd name="connsiteX26" fmla="*/ 48275 w 171450"/>
              <a:gd name="connsiteY26" fmla="*/ 114596 h 180974"/>
              <a:gd name="connsiteX27" fmla="*/ 38100 w 171450"/>
              <a:gd name="connsiteY27" fmla="*/ 85725 h 180974"/>
              <a:gd name="connsiteX28" fmla="*/ 85725 w 171450"/>
              <a:gd name="connsiteY28" fmla="*/ 38100 h 180974"/>
              <a:gd name="connsiteX29" fmla="*/ 136141 w 171450"/>
              <a:gd name="connsiteY29" fmla="*/ 21840 h 180974"/>
              <a:gd name="connsiteX30" fmla="*/ 149611 w 171450"/>
              <a:gd name="connsiteY30" fmla="*/ 21840 h 180974"/>
              <a:gd name="connsiteX31" fmla="*/ 149611 w 171450"/>
              <a:gd name="connsiteY31" fmla="*/ 35310 h 180974"/>
              <a:gd name="connsiteX32" fmla="*/ 140086 w 171450"/>
              <a:gd name="connsiteY32" fmla="*/ 44835 h 180974"/>
              <a:gd name="connsiteX33" fmla="*/ 126616 w 171450"/>
              <a:gd name="connsiteY33" fmla="*/ 44835 h 180974"/>
              <a:gd name="connsiteX34" fmla="*/ 126616 w 171450"/>
              <a:gd name="connsiteY34" fmla="*/ 31365 h 180974"/>
              <a:gd name="connsiteX35" fmla="*/ 21840 w 171450"/>
              <a:gd name="connsiteY35" fmla="*/ 21840 h 180974"/>
              <a:gd name="connsiteX36" fmla="*/ 35310 w 171450"/>
              <a:gd name="connsiteY36" fmla="*/ 21840 h 180974"/>
              <a:gd name="connsiteX37" fmla="*/ 44835 w 171450"/>
              <a:gd name="connsiteY37" fmla="*/ 31365 h 180974"/>
              <a:gd name="connsiteX38" fmla="*/ 44835 w 171450"/>
              <a:gd name="connsiteY38" fmla="*/ 44835 h 180974"/>
              <a:gd name="connsiteX39" fmla="*/ 31365 w 171450"/>
              <a:gd name="connsiteY39" fmla="*/ 44835 h 180974"/>
              <a:gd name="connsiteX40" fmla="*/ 21840 w 171450"/>
              <a:gd name="connsiteY40" fmla="*/ 35310 h 180974"/>
              <a:gd name="connsiteX41" fmla="*/ 21840 w 171450"/>
              <a:gd name="connsiteY41" fmla="*/ 21840 h 180974"/>
              <a:gd name="connsiteX42" fmla="*/ 85725 w 171450"/>
              <a:gd name="connsiteY42" fmla="*/ 0 h 180974"/>
              <a:gd name="connsiteX43" fmla="*/ 95250 w 171450"/>
              <a:gd name="connsiteY43" fmla="*/ 9525 h 180974"/>
              <a:gd name="connsiteX44" fmla="*/ 95250 w 171450"/>
              <a:gd name="connsiteY44" fmla="*/ 19050 h 180974"/>
              <a:gd name="connsiteX45" fmla="*/ 85725 w 171450"/>
              <a:gd name="connsiteY45" fmla="*/ 28575 h 180974"/>
              <a:gd name="connsiteX46" fmla="*/ 76200 w 171450"/>
              <a:gd name="connsiteY46" fmla="*/ 19050 h 180974"/>
              <a:gd name="connsiteX47" fmla="*/ 76200 w 171450"/>
              <a:gd name="connsiteY47" fmla="*/ 9525 h 180974"/>
              <a:gd name="connsiteX48" fmla="*/ 85725 w 171450"/>
              <a:gd name="connsiteY48" fmla="*/ 0 h 18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1450" h="180974">
                <a:moveTo>
                  <a:pt x="72536" y="162210"/>
                </a:moveTo>
                <a:cubicBezTo>
                  <a:pt x="80449" y="164140"/>
                  <a:pt x="90933" y="164211"/>
                  <a:pt x="98923" y="162210"/>
                </a:cubicBezTo>
                <a:cubicBezTo>
                  <a:pt x="105617" y="160534"/>
                  <a:pt x="105617" y="166533"/>
                  <a:pt x="103600" y="172160"/>
                </a:cubicBezTo>
                <a:cubicBezTo>
                  <a:pt x="100950" y="179549"/>
                  <a:pt x="95451" y="180974"/>
                  <a:pt x="85726" y="180974"/>
                </a:cubicBezTo>
                <a:cubicBezTo>
                  <a:pt x="76000" y="180974"/>
                  <a:pt x="70501" y="179549"/>
                  <a:pt x="67852" y="172160"/>
                </a:cubicBezTo>
                <a:cubicBezTo>
                  <a:pt x="65835" y="166534"/>
                  <a:pt x="65835" y="160576"/>
                  <a:pt x="72536" y="162210"/>
                </a:cubicBezTo>
                <a:close/>
                <a:moveTo>
                  <a:pt x="152400" y="76200"/>
                </a:moveTo>
                <a:lnTo>
                  <a:pt x="161925" y="76200"/>
                </a:lnTo>
                <a:cubicBezTo>
                  <a:pt x="167186" y="76200"/>
                  <a:pt x="171450" y="80464"/>
                  <a:pt x="171450" y="85725"/>
                </a:cubicBezTo>
                <a:cubicBezTo>
                  <a:pt x="171450" y="90986"/>
                  <a:pt x="167186" y="95250"/>
                  <a:pt x="161925" y="95250"/>
                </a:cubicBezTo>
                <a:lnTo>
                  <a:pt x="152400" y="95250"/>
                </a:lnTo>
                <a:cubicBezTo>
                  <a:pt x="147139" y="95250"/>
                  <a:pt x="142875" y="90986"/>
                  <a:pt x="142875" y="85725"/>
                </a:cubicBezTo>
                <a:cubicBezTo>
                  <a:pt x="142875" y="80464"/>
                  <a:pt x="147139" y="76200"/>
                  <a:pt x="152400" y="76200"/>
                </a:cubicBezTo>
                <a:close/>
                <a:moveTo>
                  <a:pt x="9525" y="76200"/>
                </a:moveTo>
                <a:lnTo>
                  <a:pt x="19050" y="76200"/>
                </a:lnTo>
                <a:cubicBezTo>
                  <a:pt x="24310" y="76200"/>
                  <a:pt x="28575" y="80464"/>
                  <a:pt x="28575" y="85725"/>
                </a:cubicBezTo>
                <a:cubicBezTo>
                  <a:pt x="28575" y="90986"/>
                  <a:pt x="24310" y="95250"/>
                  <a:pt x="19050" y="95250"/>
                </a:cubicBezTo>
                <a:lnTo>
                  <a:pt x="9525" y="95250"/>
                </a:lnTo>
                <a:cubicBezTo>
                  <a:pt x="4265" y="95250"/>
                  <a:pt x="0" y="90986"/>
                  <a:pt x="0" y="85725"/>
                </a:cubicBezTo>
                <a:cubicBezTo>
                  <a:pt x="0" y="80464"/>
                  <a:pt x="4265" y="76200"/>
                  <a:pt x="9525" y="76200"/>
                </a:cubicBezTo>
                <a:close/>
                <a:moveTo>
                  <a:pt x="85725" y="38100"/>
                </a:moveTo>
                <a:cubicBezTo>
                  <a:pt x="112027" y="38100"/>
                  <a:pt x="133350" y="58671"/>
                  <a:pt x="133350" y="85725"/>
                </a:cubicBezTo>
                <a:cubicBezTo>
                  <a:pt x="133350" y="100663"/>
                  <a:pt x="128144" y="107793"/>
                  <a:pt x="123174" y="114596"/>
                </a:cubicBezTo>
                <a:cubicBezTo>
                  <a:pt x="118639" y="120807"/>
                  <a:pt x="114300" y="126748"/>
                  <a:pt x="114300" y="138113"/>
                </a:cubicBezTo>
                <a:cubicBezTo>
                  <a:pt x="114300" y="147638"/>
                  <a:pt x="104775" y="152400"/>
                  <a:pt x="85725" y="152400"/>
                </a:cubicBezTo>
                <a:cubicBezTo>
                  <a:pt x="66675" y="152400"/>
                  <a:pt x="57150" y="147638"/>
                  <a:pt x="57150" y="138113"/>
                </a:cubicBezTo>
                <a:cubicBezTo>
                  <a:pt x="57150" y="126748"/>
                  <a:pt x="52811" y="120807"/>
                  <a:pt x="48275" y="114596"/>
                </a:cubicBezTo>
                <a:cubicBezTo>
                  <a:pt x="43306" y="107793"/>
                  <a:pt x="38100" y="100663"/>
                  <a:pt x="38100" y="85725"/>
                </a:cubicBezTo>
                <a:cubicBezTo>
                  <a:pt x="38100" y="57150"/>
                  <a:pt x="59422" y="38100"/>
                  <a:pt x="85725" y="38100"/>
                </a:cubicBezTo>
                <a:close/>
                <a:moveTo>
                  <a:pt x="136141" y="21840"/>
                </a:moveTo>
                <a:cubicBezTo>
                  <a:pt x="139860" y="18120"/>
                  <a:pt x="145891" y="18120"/>
                  <a:pt x="149611" y="21840"/>
                </a:cubicBezTo>
                <a:cubicBezTo>
                  <a:pt x="153330" y="25560"/>
                  <a:pt x="153330" y="31590"/>
                  <a:pt x="149611" y="35310"/>
                </a:cubicBezTo>
                <a:lnTo>
                  <a:pt x="140086" y="44835"/>
                </a:lnTo>
                <a:cubicBezTo>
                  <a:pt x="136366" y="48555"/>
                  <a:pt x="130335" y="48555"/>
                  <a:pt x="126616" y="44835"/>
                </a:cubicBezTo>
                <a:cubicBezTo>
                  <a:pt x="122896" y="41115"/>
                  <a:pt x="122896" y="35085"/>
                  <a:pt x="126616" y="31365"/>
                </a:cubicBezTo>
                <a:close/>
                <a:moveTo>
                  <a:pt x="21840" y="21840"/>
                </a:moveTo>
                <a:cubicBezTo>
                  <a:pt x="25560" y="18120"/>
                  <a:pt x="31590" y="18120"/>
                  <a:pt x="35310" y="21840"/>
                </a:cubicBezTo>
                <a:lnTo>
                  <a:pt x="44835" y="31365"/>
                </a:lnTo>
                <a:cubicBezTo>
                  <a:pt x="48555" y="35085"/>
                  <a:pt x="48555" y="41115"/>
                  <a:pt x="44835" y="44835"/>
                </a:cubicBezTo>
                <a:cubicBezTo>
                  <a:pt x="41115" y="48555"/>
                  <a:pt x="35085" y="48555"/>
                  <a:pt x="31365" y="44835"/>
                </a:cubicBezTo>
                <a:lnTo>
                  <a:pt x="21840" y="35310"/>
                </a:lnTo>
                <a:cubicBezTo>
                  <a:pt x="18120" y="31590"/>
                  <a:pt x="18120" y="25560"/>
                  <a:pt x="21840" y="21840"/>
                </a:cubicBezTo>
                <a:close/>
                <a:moveTo>
                  <a:pt x="85725" y="0"/>
                </a:moveTo>
                <a:cubicBezTo>
                  <a:pt x="90986" y="0"/>
                  <a:pt x="95250" y="4265"/>
                  <a:pt x="95250" y="9525"/>
                </a:cubicBezTo>
                <a:lnTo>
                  <a:pt x="95250" y="19050"/>
                </a:lnTo>
                <a:cubicBezTo>
                  <a:pt x="95250" y="24310"/>
                  <a:pt x="90986" y="28575"/>
                  <a:pt x="85725" y="28575"/>
                </a:cubicBezTo>
                <a:cubicBezTo>
                  <a:pt x="80464" y="28575"/>
                  <a:pt x="76200" y="24310"/>
                  <a:pt x="76200" y="19050"/>
                </a:cubicBezTo>
                <a:lnTo>
                  <a:pt x="76200" y="9525"/>
                </a:lnTo>
                <a:cubicBezTo>
                  <a:pt x="76200" y="4265"/>
                  <a:pt x="80464" y="0"/>
                  <a:pt x="85725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3575B971-17FB-73BD-BC0C-C9F8A9DB1D14}"/>
              </a:ext>
            </a:extLst>
          </p:cNvPr>
          <p:cNvSpPr txBox="1"/>
          <p:nvPr/>
        </p:nvSpPr>
        <p:spPr>
          <a:xfrm>
            <a:off x="-1691344" y="2506490"/>
            <a:ext cx="1373969" cy="2428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</a:pPr>
            <a:r>
              <a:rPr lang="ru-RU" sz="900" b="0">
                <a:solidFill>
                  <a:schemeClr val="accent1"/>
                </a:solidFill>
              </a:rPr>
              <a:t>Используй эти размеры </a:t>
            </a:r>
            <a:br>
              <a:rPr lang="ru-RU" sz="900" b="0">
                <a:solidFill>
                  <a:schemeClr val="accent1"/>
                </a:solidFill>
              </a:rPr>
            </a:br>
            <a:r>
              <a:rPr lang="ru-RU" sz="900" b="0">
                <a:solidFill>
                  <a:schemeClr val="accent1"/>
                </a:solidFill>
              </a:rPr>
              <a:t>по всей презентации</a:t>
            </a:r>
          </a:p>
        </p:txBody>
      </p:sp>
      <p:sp>
        <p:nvSpPr>
          <p:cNvPr id="5" name="Номер слайда 5">
            <a:extLst>
              <a:ext uri="{FF2B5EF4-FFF2-40B4-BE49-F238E27FC236}">
                <a16:creationId xmlns:a16="http://schemas.microsoft.com/office/drawing/2014/main" id="{37F91FFE-0848-C32B-3DE7-253AE66324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57744" y="6430370"/>
            <a:ext cx="908050" cy="216000"/>
          </a:xfrm>
        </p:spPr>
        <p:txBody>
          <a:bodyPr/>
          <a:lstStyle>
            <a:lvl1pPr>
              <a:defRPr>
                <a:solidFill>
                  <a:srgbClr val="5A6C7D"/>
                </a:solidFill>
              </a:defRPr>
            </a:lvl1pPr>
          </a:lstStyle>
          <a:p>
            <a:fld id="{EB5249F5-0093-48B0-B996-C4E44A87EAF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7" name="Нижний колонтитул 4">
            <a:extLst>
              <a:ext uri="{FF2B5EF4-FFF2-40B4-BE49-F238E27FC236}">
                <a16:creationId xmlns:a16="http://schemas.microsoft.com/office/drawing/2014/main" id="{3533BB9A-69F9-284C-B8F9-524632360E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458800" y="6465600"/>
            <a:ext cx="7274114" cy="144500"/>
          </a:xfrm>
        </p:spPr>
        <p:txBody>
          <a:bodyPr anchor="b"/>
          <a:lstStyle>
            <a:lvl1pPr>
              <a:defRPr sz="1000">
                <a:solidFill>
                  <a:srgbClr val="5A6C7D"/>
                </a:solidFill>
              </a:defRPr>
            </a:lvl1pPr>
          </a:lstStyle>
          <a:p>
            <a:endParaRPr lang="ru-RU" dirty="0"/>
          </a:p>
        </p:txBody>
      </p:sp>
      <p:grpSp>
        <p:nvGrpSpPr>
          <p:cNvPr id="108" name="Группа 107">
            <a:extLst>
              <a:ext uri="{FF2B5EF4-FFF2-40B4-BE49-F238E27FC236}">
                <a16:creationId xmlns:a16="http://schemas.microsoft.com/office/drawing/2014/main" id="{BD89BFE4-C341-1B47-9B71-F50873234CE8}"/>
              </a:ext>
            </a:extLst>
          </p:cNvPr>
          <p:cNvGrpSpPr/>
          <p:nvPr userDrawn="1"/>
        </p:nvGrpSpPr>
        <p:grpSpPr>
          <a:xfrm>
            <a:off x="-2138458" y="3080607"/>
            <a:ext cx="1935384" cy="3777393"/>
            <a:chOff x="-2138458" y="3080607"/>
            <a:chExt cx="1935384" cy="3777393"/>
          </a:xfrm>
        </p:grpSpPr>
        <p:grpSp>
          <p:nvGrpSpPr>
            <p:cNvPr id="109" name="Группа 108">
              <a:extLst>
                <a:ext uri="{FF2B5EF4-FFF2-40B4-BE49-F238E27FC236}">
                  <a16:creationId xmlns:a16="http://schemas.microsoft.com/office/drawing/2014/main" id="{834BC7B3-5C70-524F-ADD8-52F3C5F107E0}"/>
                </a:ext>
              </a:extLst>
            </p:cNvPr>
            <p:cNvGrpSpPr/>
            <p:nvPr userDrawn="1"/>
          </p:nvGrpSpPr>
          <p:grpSpPr>
            <a:xfrm>
              <a:off x="-2131314" y="5782119"/>
              <a:ext cx="1928240" cy="1075881"/>
              <a:chOff x="-2131314" y="5782119"/>
              <a:chExt cx="1928240" cy="1075881"/>
            </a:xfrm>
          </p:grpSpPr>
          <p:sp>
            <p:nvSpPr>
              <p:cNvPr id="135" name="Прямоугольник: скругленные углы 89">
                <a:extLst>
                  <a:ext uri="{FF2B5EF4-FFF2-40B4-BE49-F238E27FC236}">
                    <a16:creationId xmlns:a16="http://schemas.microsoft.com/office/drawing/2014/main" id="{5217C7F2-4697-C849-9729-B97317BDCD65}"/>
                  </a:ext>
                </a:extLst>
              </p:cNvPr>
              <p:cNvSpPr/>
              <p:nvPr/>
            </p:nvSpPr>
            <p:spPr>
              <a:xfrm>
                <a:off x="-2131314" y="5782119"/>
                <a:ext cx="1928240" cy="1075881"/>
              </a:xfrm>
              <a:prstGeom prst="roundRect">
                <a:avLst>
                  <a:gd name="adj" fmla="val 12985"/>
                </a:avLst>
              </a:prstGeom>
              <a:solidFill>
                <a:schemeClr val="bg1">
                  <a:alpha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36" name="TextBox 135">
                <a:extLst>
                  <a:ext uri="{FF2B5EF4-FFF2-40B4-BE49-F238E27FC236}">
                    <a16:creationId xmlns:a16="http://schemas.microsoft.com/office/drawing/2014/main" id="{FC583186-DDFC-904C-BE35-F43E5AEB75EF}"/>
                  </a:ext>
                </a:extLst>
              </p:cNvPr>
              <p:cNvSpPr txBox="1"/>
              <p:nvPr/>
            </p:nvSpPr>
            <p:spPr>
              <a:xfrm>
                <a:off x="-1788338" y="5868204"/>
                <a:ext cx="1155882" cy="151095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pPr algn="l">
                  <a:lnSpc>
                    <a:spcPct val="90000"/>
                  </a:lnSpc>
                </a:pPr>
                <a:r>
                  <a:rPr lang="ru-RU" sz="1000" b="1">
                    <a:solidFill>
                      <a:schemeClr val="accent1"/>
                    </a:solidFill>
                  </a:rPr>
                  <a:t>Шаблон </a:t>
                </a:r>
                <a:r>
                  <a:rPr lang="en-US" sz="1000" b="1">
                    <a:solidFill>
                      <a:schemeClr val="accent1"/>
                    </a:solidFill>
                  </a:rPr>
                  <a:t>Ozon</a:t>
                </a:r>
                <a:endParaRPr lang="ru-RU" sz="1000" b="1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37" name="Рисунок 93">
                <a:extLst>
                  <a:ext uri="{FF2B5EF4-FFF2-40B4-BE49-F238E27FC236}">
                    <a16:creationId xmlns:a16="http://schemas.microsoft.com/office/drawing/2014/main" id="{39A53F60-DC92-BC4D-9DBA-E0749A80126E}"/>
                  </a:ext>
                </a:extLst>
              </p:cNvPr>
              <p:cNvSpPr/>
              <p:nvPr/>
            </p:nvSpPr>
            <p:spPr>
              <a:xfrm>
                <a:off x="-2004963" y="5853908"/>
                <a:ext cx="161099" cy="161099"/>
              </a:xfrm>
              <a:custGeom>
                <a:avLst/>
                <a:gdLst>
                  <a:gd name="connsiteX0" fmla="*/ 85725 w 171450"/>
                  <a:gd name="connsiteY0" fmla="*/ 171450 h 171450"/>
                  <a:gd name="connsiteX1" fmla="*/ 171450 w 171450"/>
                  <a:gd name="connsiteY1" fmla="*/ 85725 h 171450"/>
                  <a:gd name="connsiteX2" fmla="*/ 85725 w 171450"/>
                  <a:gd name="connsiteY2" fmla="*/ 0 h 171450"/>
                  <a:gd name="connsiteX3" fmla="*/ 0 w 171450"/>
                  <a:gd name="connsiteY3" fmla="*/ 85725 h 171450"/>
                  <a:gd name="connsiteX4" fmla="*/ 85725 w 171450"/>
                  <a:gd name="connsiteY4" fmla="*/ 171450 h 171450"/>
                  <a:gd name="connsiteX5" fmla="*/ 130560 w 171450"/>
                  <a:gd name="connsiteY5" fmla="*/ 73410 h 171450"/>
                  <a:gd name="connsiteX6" fmla="*/ 82935 w 171450"/>
                  <a:gd name="connsiteY6" fmla="*/ 121035 h 171450"/>
                  <a:gd name="connsiteX7" fmla="*/ 69465 w 171450"/>
                  <a:gd name="connsiteY7" fmla="*/ 121035 h 171450"/>
                  <a:gd name="connsiteX8" fmla="*/ 40890 w 171450"/>
                  <a:gd name="connsiteY8" fmla="*/ 92460 h 171450"/>
                  <a:gd name="connsiteX9" fmla="*/ 40890 w 171450"/>
                  <a:gd name="connsiteY9" fmla="*/ 78990 h 171450"/>
                  <a:gd name="connsiteX10" fmla="*/ 54360 w 171450"/>
                  <a:gd name="connsiteY10" fmla="*/ 78990 h 171450"/>
                  <a:gd name="connsiteX11" fmla="*/ 76200 w 171450"/>
                  <a:gd name="connsiteY11" fmla="*/ 100830 h 171450"/>
                  <a:gd name="connsiteX12" fmla="*/ 117090 w 171450"/>
                  <a:gd name="connsiteY12" fmla="*/ 59940 h 171450"/>
                  <a:gd name="connsiteX13" fmla="*/ 130560 w 171450"/>
                  <a:gd name="connsiteY13" fmla="*/ 59940 h 171450"/>
                  <a:gd name="connsiteX14" fmla="*/ 130560 w 171450"/>
                  <a:gd name="connsiteY14" fmla="*/ 73410 h 171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71450" h="171450">
                    <a:moveTo>
                      <a:pt x="85725" y="171450"/>
                    </a:moveTo>
                    <a:cubicBezTo>
                      <a:pt x="138915" y="171450"/>
                      <a:pt x="171450" y="138915"/>
                      <a:pt x="171450" y="85725"/>
                    </a:cubicBezTo>
                    <a:cubicBezTo>
                      <a:pt x="171450" y="32535"/>
                      <a:pt x="138915" y="0"/>
                      <a:pt x="85725" y="0"/>
                    </a:cubicBezTo>
                    <a:cubicBezTo>
                      <a:pt x="32535" y="0"/>
                      <a:pt x="0" y="32535"/>
                      <a:pt x="0" y="85725"/>
                    </a:cubicBezTo>
                    <a:cubicBezTo>
                      <a:pt x="0" y="138915"/>
                      <a:pt x="32535" y="171450"/>
                      <a:pt x="85725" y="171450"/>
                    </a:cubicBezTo>
                    <a:close/>
                    <a:moveTo>
                      <a:pt x="130560" y="73410"/>
                    </a:moveTo>
                    <a:lnTo>
                      <a:pt x="82935" y="121035"/>
                    </a:lnTo>
                    <a:cubicBezTo>
                      <a:pt x="79216" y="124755"/>
                      <a:pt x="73184" y="124755"/>
                      <a:pt x="69465" y="121035"/>
                    </a:cubicBezTo>
                    <a:lnTo>
                      <a:pt x="40890" y="92460"/>
                    </a:lnTo>
                    <a:cubicBezTo>
                      <a:pt x="37170" y="88741"/>
                      <a:pt x="37170" y="82709"/>
                      <a:pt x="40890" y="78990"/>
                    </a:cubicBezTo>
                    <a:cubicBezTo>
                      <a:pt x="44610" y="75270"/>
                      <a:pt x="50640" y="75270"/>
                      <a:pt x="54360" y="78990"/>
                    </a:cubicBezTo>
                    <a:lnTo>
                      <a:pt x="76200" y="100830"/>
                    </a:lnTo>
                    <a:lnTo>
                      <a:pt x="117090" y="59940"/>
                    </a:lnTo>
                    <a:cubicBezTo>
                      <a:pt x="120809" y="56220"/>
                      <a:pt x="126841" y="56220"/>
                      <a:pt x="130560" y="59940"/>
                    </a:cubicBezTo>
                    <a:cubicBezTo>
                      <a:pt x="134280" y="63660"/>
                      <a:pt x="134280" y="69691"/>
                      <a:pt x="130560" y="734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38" name="TextBox 137">
                <a:extLst>
                  <a:ext uri="{FF2B5EF4-FFF2-40B4-BE49-F238E27FC236}">
                    <a16:creationId xmlns:a16="http://schemas.microsoft.com/office/drawing/2014/main" id="{6B979AC4-0565-544F-BD17-2769D5F3B3F7}"/>
                  </a:ext>
                </a:extLst>
              </p:cNvPr>
              <p:cNvSpPr txBox="1"/>
              <p:nvPr/>
            </p:nvSpPr>
            <p:spPr>
              <a:xfrm>
                <a:off x="-2004962" y="6072106"/>
                <a:ext cx="1687587" cy="60024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l">
                  <a:lnSpc>
                    <a:spcPct val="110000"/>
                  </a:lnSpc>
                </a:pPr>
                <a:r>
                  <a:rPr lang="ru-RU" sz="900" spc="-30" baseline="0">
                    <a:solidFill>
                      <a:schemeClr val="tx2"/>
                    </a:solidFill>
                  </a:rPr>
                  <a:t>Если нужно больше материалов: </a:t>
                </a:r>
                <a:r>
                  <a:rPr lang="ru-RU" sz="900" b="1" spc="-30" baseline="0">
                    <a:solidFill>
                      <a:schemeClr val="tx2"/>
                    </a:solidFill>
                  </a:rPr>
                  <a:t>правое меню </a:t>
                </a:r>
                <a:r>
                  <a:rPr lang="en-US" sz="900" b="1" spc="-30" baseline="0">
                    <a:solidFill>
                      <a:schemeClr val="tx2"/>
                    </a:solidFill>
                  </a:rPr>
                  <a:t>Staff — Brand </a:t>
                </a:r>
                <a:r>
                  <a:rPr lang="ru-RU" sz="900" b="1" spc="-30" baseline="0">
                    <a:solidFill>
                      <a:schemeClr val="tx2"/>
                    </a:solidFill>
                  </a:rPr>
                  <a:t>— Всё для презентаций. </a:t>
                </a:r>
                <a:r>
                  <a:rPr lang="ru-RU" sz="900" b="0" spc="-30" baseline="0">
                    <a:solidFill>
                      <a:schemeClr val="tx2"/>
                    </a:solidFill>
                  </a:rPr>
                  <a:t>Или пиши нам на </a:t>
                </a:r>
                <a:r>
                  <a:rPr lang="en-US" sz="900" b="0" spc="-30" baseline="0">
                    <a:solidFill>
                      <a:schemeClr val="tx2"/>
                    </a:solidFill>
                  </a:rPr>
                  <a:t>presentations@ozon.ru.</a:t>
                </a:r>
                <a:r>
                  <a:rPr lang="ru-RU" sz="900" b="0" spc="-30" baseline="0">
                    <a:solidFill>
                      <a:schemeClr val="tx2"/>
                    </a:solidFill>
                  </a:rPr>
                  <a:t> </a:t>
                </a:r>
              </a:p>
            </p:txBody>
          </p:sp>
        </p:grpSp>
        <p:grpSp>
          <p:nvGrpSpPr>
            <p:cNvPr id="110" name="Группа 109">
              <a:extLst>
                <a:ext uri="{FF2B5EF4-FFF2-40B4-BE49-F238E27FC236}">
                  <a16:creationId xmlns:a16="http://schemas.microsoft.com/office/drawing/2014/main" id="{2969F078-F215-5C48-8DA5-5E62D47FE51E}"/>
                </a:ext>
              </a:extLst>
            </p:cNvPr>
            <p:cNvGrpSpPr/>
            <p:nvPr userDrawn="1"/>
          </p:nvGrpSpPr>
          <p:grpSpPr>
            <a:xfrm>
              <a:off x="-2138458" y="3080607"/>
              <a:ext cx="1928241" cy="2523683"/>
              <a:chOff x="-2138458" y="3070447"/>
              <a:chExt cx="1928241" cy="2523683"/>
            </a:xfrm>
          </p:grpSpPr>
          <p:sp>
            <p:nvSpPr>
              <p:cNvPr id="111" name="Прямоугольник: скругленные углы 57">
                <a:extLst>
                  <a:ext uri="{FF2B5EF4-FFF2-40B4-BE49-F238E27FC236}">
                    <a16:creationId xmlns:a16="http://schemas.microsoft.com/office/drawing/2014/main" id="{BA8E07D1-5D78-8A41-AF3B-B182ED2754F4}"/>
                  </a:ext>
                </a:extLst>
              </p:cNvPr>
              <p:cNvSpPr/>
              <p:nvPr/>
            </p:nvSpPr>
            <p:spPr>
              <a:xfrm>
                <a:off x="-2138458" y="3125312"/>
                <a:ext cx="1928241" cy="2468818"/>
              </a:xfrm>
              <a:prstGeom prst="roundRect">
                <a:avLst>
                  <a:gd name="adj" fmla="val 5926"/>
                </a:avLst>
              </a:prstGeom>
              <a:solidFill>
                <a:schemeClr val="bg1">
                  <a:alpha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12" name="Прямоугольник: скругленные верхние углы 58">
                <a:extLst>
                  <a:ext uri="{FF2B5EF4-FFF2-40B4-BE49-F238E27FC236}">
                    <a16:creationId xmlns:a16="http://schemas.microsoft.com/office/drawing/2014/main" id="{60938D9F-E19D-FF4B-A2C5-144BA9918D0D}"/>
                  </a:ext>
                </a:extLst>
              </p:cNvPr>
              <p:cNvSpPr/>
              <p:nvPr/>
            </p:nvSpPr>
            <p:spPr>
              <a:xfrm>
                <a:off x="-2136930" y="3070447"/>
                <a:ext cx="1926713" cy="2880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accent6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36000" rtlCol="0" anchor="ctr"/>
              <a:lstStyle/>
              <a:p>
                <a:pPr algn="ctr"/>
                <a:r>
                  <a:rPr lang="ru-RU" sz="1100" b="1">
                    <a:solidFill>
                      <a:schemeClr val="tx1"/>
                    </a:solidFill>
                  </a:rPr>
                  <a:t>Цвета </a:t>
                </a:r>
                <a:r>
                  <a:rPr lang="en-US" sz="1100" b="1">
                    <a:solidFill>
                      <a:schemeClr val="tx1"/>
                    </a:solidFill>
                  </a:rPr>
                  <a:t>Ozon</a:t>
                </a:r>
                <a:endParaRPr lang="ru-RU" sz="1100" b="1">
                  <a:solidFill>
                    <a:schemeClr val="tx1"/>
                  </a:solidFill>
                </a:endParaRPr>
              </a:p>
            </p:txBody>
          </p:sp>
          <p:sp>
            <p:nvSpPr>
              <p:cNvPr id="113" name="TextBox 112">
                <a:extLst>
                  <a:ext uri="{FF2B5EF4-FFF2-40B4-BE49-F238E27FC236}">
                    <a16:creationId xmlns:a16="http://schemas.microsoft.com/office/drawing/2014/main" id="{D2C25D91-90BB-E64E-80BC-FF2F371E3358}"/>
                  </a:ext>
                </a:extLst>
              </p:cNvPr>
              <p:cNvSpPr txBox="1"/>
              <p:nvPr/>
            </p:nvSpPr>
            <p:spPr>
              <a:xfrm>
                <a:off x="-2003446" y="3412239"/>
                <a:ext cx="1638525" cy="17162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l"/>
                <a:r>
                  <a:rPr lang="ru-RU" sz="1000" dirty="0"/>
                  <a:t>Цвет текста </a:t>
                </a:r>
              </a:p>
            </p:txBody>
          </p:sp>
          <p:sp>
            <p:nvSpPr>
              <p:cNvPr id="114" name="Прямоугольник: скругленные углы 61">
                <a:extLst>
                  <a:ext uri="{FF2B5EF4-FFF2-40B4-BE49-F238E27FC236}">
                    <a16:creationId xmlns:a16="http://schemas.microsoft.com/office/drawing/2014/main" id="{3A77C429-0EDB-0340-A4D2-EA9F85F17989}"/>
                  </a:ext>
                </a:extLst>
              </p:cNvPr>
              <p:cNvSpPr/>
              <p:nvPr userDrawn="1"/>
            </p:nvSpPr>
            <p:spPr>
              <a:xfrm>
                <a:off x="-2004344" y="3611632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tx1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15" name="Прямоугольник: скругленные углы 62">
                <a:extLst>
                  <a:ext uri="{FF2B5EF4-FFF2-40B4-BE49-F238E27FC236}">
                    <a16:creationId xmlns:a16="http://schemas.microsoft.com/office/drawing/2014/main" id="{740F1B91-58A6-7C49-BA12-5E631058543D}"/>
                  </a:ext>
                </a:extLst>
              </p:cNvPr>
              <p:cNvSpPr/>
              <p:nvPr/>
            </p:nvSpPr>
            <p:spPr>
              <a:xfrm>
                <a:off x="-1738339" y="3611632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accent6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16" name="Прямоугольник: скругленные углы 63">
                <a:extLst>
                  <a:ext uri="{FF2B5EF4-FFF2-40B4-BE49-F238E27FC236}">
                    <a16:creationId xmlns:a16="http://schemas.microsoft.com/office/drawing/2014/main" id="{DCF0F58B-DBBB-A548-8606-CFB0E9CFC841}"/>
                  </a:ext>
                </a:extLst>
              </p:cNvPr>
              <p:cNvSpPr/>
              <p:nvPr/>
            </p:nvSpPr>
            <p:spPr>
              <a:xfrm>
                <a:off x="-1739900" y="4646897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accent3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17" name="Прямоугольник: скругленные углы 68">
                <a:extLst>
                  <a:ext uri="{FF2B5EF4-FFF2-40B4-BE49-F238E27FC236}">
                    <a16:creationId xmlns:a16="http://schemas.microsoft.com/office/drawing/2014/main" id="{BBB5C707-1A45-6B41-AE89-AE36E0EEDF3F}"/>
                  </a:ext>
                </a:extLst>
              </p:cNvPr>
              <p:cNvSpPr/>
              <p:nvPr/>
            </p:nvSpPr>
            <p:spPr>
              <a:xfrm>
                <a:off x="-2004963" y="4646897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accent1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18" name="TextBox 117">
                <a:extLst>
                  <a:ext uri="{FF2B5EF4-FFF2-40B4-BE49-F238E27FC236}">
                    <a16:creationId xmlns:a16="http://schemas.microsoft.com/office/drawing/2014/main" id="{10AF350A-F228-9D46-8228-C2006B46C831}"/>
                  </a:ext>
                </a:extLst>
              </p:cNvPr>
              <p:cNvSpPr txBox="1"/>
              <p:nvPr/>
            </p:nvSpPr>
            <p:spPr>
              <a:xfrm>
                <a:off x="-2003446" y="3935644"/>
                <a:ext cx="1638525" cy="17162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l"/>
                <a:r>
                  <a:rPr lang="ru-RU" sz="1000"/>
                  <a:t>Цвет больших плашек</a:t>
                </a:r>
              </a:p>
            </p:txBody>
          </p:sp>
          <p:sp>
            <p:nvSpPr>
              <p:cNvPr id="119" name="Прямоугольник: скругленные углы 70">
                <a:extLst>
                  <a:ext uri="{FF2B5EF4-FFF2-40B4-BE49-F238E27FC236}">
                    <a16:creationId xmlns:a16="http://schemas.microsoft.com/office/drawing/2014/main" id="{0B82D208-C021-4A43-BA7B-1A1BBCBD27B0}"/>
                  </a:ext>
                </a:extLst>
              </p:cNvPr>
              <p:cNvSpPr/>
              <p:nvPr/>
            </p:nvSpPr>
            <p:spPr>
              <a:xfrm>
                <a:off x="-1209774" y="4131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accent2">
                  <a:lumMod val="20000"/>
                  <a:lumOff val="80000"/>
                </a:schemeClr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20" name="Прямоугольник: скругленные углы 71">
                <a:extLst>
                  <a:ext uri="{FF2B5EF4-FFF2-40B4-BE49-F238E27FC236}">
                    <a16:creationId xmlns:a16="http://schemas.microsoft.com/office/drawing/2014/main" id="{EB6C1208-56F6-CC4A-8274-94EA92BF9714}"/>
                  </a:ext>
                </a:extLst>
              </p:cNvPr>
              <p:cNvSpPr/>
              <p:nvPr/>
            </p:nvSpPr>
            <p:spPr>
              <a:xfrm>
                <a:off x="-2004963" y="4131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accent6">
                  <a:lumMod val="20000"/>
                  <a:lumOff val="80000"/>
                </a:schemeClr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21" name="Прямоугольник: скругленные углы 74">
                <a:extLst>
                  <a:ext uri="{FF2B5EF4-FFF2-40B4-BE49-F238E27FC236}">
                    <a16:creationId xmlns:a16="http://schemas.microsoft.com/office/drawing/2014/main" id="{4A968071-A79E-B84E-9BC5-BB5AE9B37327}"/>
                  </a:ext>
                </a:extLst>
              </p:cNvPr>
              <p:cNvSpPr/>
              <p:nvPr/>
            </p:nvSpPr>
            <p:spPr>
              <a:xfrm>
                <a:off x="-1475201" y="4131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accent5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22" name="TextBox 121">
                <a:extLst>
                  <a:ext uri="{FF2B5EF4-FFF2-40B4-BE49-F238E27FC236}">
                    <a16:creationId xmlns:a16="http://schemas.microsoft.com/office/drawing/2014/main" id="{89754C95-231D-B242-8E40-42E570622A38}"/>
                  </a:ext>
                </a:extLst>
              </p:cNvPr>
              <p:cNvSpPr txBox="1"/>
              <p:nvPr/>
            </p:nvSpPr>
            <p:spPr>
              <a:xfrm>
                <a:off x="-2003446" y="4451492"/>
                <a:ext cx="1638525" cy="17162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l"/>
                <a:r>
                  <a:rPr lang="ru-RU" sz="1000"/>
                  <a:t>Цвета маленьких плашек</a:t>
                </a:r>
              </a:p>
            </p:txBody>
          </p:sp>
          <p:sp>
            <p:nvSpPr>
              <p:cNvPr id="123" name="Прямоугольник: скругленные углы 82">
                <a:extLst>
                  <a:ext uri="{FF2B5EF4-FFF2-40B4-BE49-F238E27FC236}">
                    <a16:creationId xmlns:a16="http://schemas.microsoft.com/office/drawing/2014/main" id="{48244B61-4FE3-494E-A759-779D4173ED2C}"/>
                  </a:ext>
                </a:extLst>
              </p:cNvPr>
              <p:cNvSpPr/>
              <p:nvPr userDrawn="1"/>
            </p:nvSpPr>
            <p:spPr>
              <a:xfrm>
                <a:off x="-1739900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B7EDC9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24" name="Прямоугольник: скругленные углы 83">
                <a:extLst>
                  <a:ext uri="{FF2B5EF4-FFF2-40B4-BE49-F238E27FC236}">
                    <a16:creationId xmlns:a16="http://schemas.microsoft.com/office/drawing/2014/main" id="{A28D6D7E-757B-0548-B01F-811EE63AF0D7}"/>
                  </a:ext>
                </a:extLst>
              </p:cNvPr>
              <p:cNvSpPr/>
              <p:nvPr/>
            </p:nvSpPr>
            <p:spPr>
              <a:xfrm>
                <a:off x="-1474837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FFA800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25" name="Прямоугольник: скругленные углы 84">
                <a:extLst>
                  <a:ext uri="{FF2B5EF4-FFF2-40B4-BE49-F238E27FC236}">
                    <a16:creationId xmlns:a16="http://schemas.microsoft.com/office/drawing/2014/main" id="{EC12264D-60CC-2941-A2D5-986F8230811D}"/>
                  </a:ext>
                </a:extLst>
              </p:cNvPr>
              <p:cNvSpPr/>
              <p:nvPr/>
            </p:nvSpPr>
            <p:spPr>
              <a:xfrm>
                <a:off x="-2004963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10C44C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26" name="TextBox 125">
                <a:extLst>
                  <a:ext uri="{FF2B5EF4-FFF2-40B4-BE49-F238E27FC236}">
                    <a16:creationId xmlns:a16="http://schemas.microsoft.com/office/drawing/2014/main" id="{FF0FDEB6-74FB-7D48-84BD-929415B84CD6}"/>
                  </a:ext>
                </a:extLst>
              </p:cNvPr>
              <p:cNvSpPr txBox="1"/>
              <p:nvPr/>
            </p:nvSpPr>
            <p:spPr>
              <a:xfrm>
                <a:off x="-2003446" y="4973480"/>
                <a:ext cx="1638525" cy="17162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l"/>
                <a:r>
                  <a:rPr lang="ru-RU" sz="900"/>
                  <a:t>Рост / падение показателей</a:t>
                </a:r>
              </a:p>
            </p:txBody>
          </p:sp>
          <p:sp>
            <p:nvSpPr>
              <p:cNvPr id="127" name="Прямоугольник: скругленные углы 13">
                <a:extLst>
                  <a:ext uri="{FF2B5EF4-FFF2-40B4-BE49-F238E27FC236}">
                    <a16:creationId xmlns:a16="http://schemas.microsoft.com/office/drawing/2014/main" id="{DBB56AF9-4B8A-D948-92F8-5C656226D42A}"/>
                  </a:ext>
                </a:extLst>
              </p:cNvPr>
              <p:cNvSpPr/>
              <p:nvPr/>
            </p:nvSpPr>
            <p:spPr>
              <a:xfrm>
                <a:off x="-944711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F53C14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28" name="Прямоугольник: скругленные углы 14">
                <a:extLst>
                  <a:ext uri="{FF2B5EF4-FFF2-40B4-BE49-F238E27FC236}">
                    <a16:creationId xmlns:a16="http://schemas.microsoft.com/office/drawing/2014/main" id="{E5865762-5817-3948-90BF-C383B0E13803}"/>
                  </a:ext>
                </a:extLst>
              </p:cNvPr>
              <p:cNvSpPr/>
              <p:nvPr/>
            </p:nvSpPr>
            <p:spPr>
              <a:xfrm>
                <a:off x="-679648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FCC4B8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29" name="Прямоугольник: скругленные углы 15">
                <a:extLst>
                  <a:ext uri="{FF2B5EF4-FFF2-40B4-BE49-F238E27FC236}">
                    <a16:creationId xmlns:a16="http://schemas.microsoft.com/office/drawing/2014/main" id="{B6F0FF74-E048-D44F-81D4-8EAF2714191B}"/>
                  </a:ext>
                </a:extLst>
              </p:cNvPr>
              <p:cNvSpPr/>
              <p:nvPr/>
            </p:nvSpPr>
            <p:spPr>
              <a:xfrm>
                <a:off x="-1209774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FFE5B2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30" name="Прямоугольник: скругленные углы 20">
                <a:extLst>
                  <a:ext uri="{FF2B5EF4-FFF2-40B4-BE49-F238E27FC236}">
                    <a16:creationId xmlns:a16="http://schemas.microsoft.com/office/drawing/2014/main" id="{FCE31E5B-D877-844B-AD8D-6C96B45AA384}"/>
                  </a:ext>
                </a:extLst>
              </p:cNvPr>
              <p:cNvSpPr/>
              <p:nvPr userDrawn="1"/>
            </p:nvSpPr>
            <p:spPr>
              <a:xfrm>
                <a:off x="-944711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F53C14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31" name="Прямоугольник: скругленные углы 21">
                <a:extLst>
                  <a:ext uri="{FF2B5EF4-FFF2-40B4-BE49-F238E27FC236}">
                    <a16:creationId xmlns:a16="http://schemas.microsoft.com/office/drawing/2014/main" id="{579A5768-EB25-2147-837F-96AA6EBFDCF8}"/>
                  </a:ext>
                </a:extLst>
              </p:cNvPr>
              <p:cNvSpPr/>
              <p:nvPr userDrawn="1"/>
            </p:nvSpPr>
            <p:spPr>
              <a:xfrm>
                <a:off x="-679648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FCC4B8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32" name="Прямоугольник: скругленные углы 22">
                <a:extLst>
                  <a:ext uri="{FF2B5EF4-FFF2-40B4-BE49-F238E27FC236}">
                    <a16:creationId xmlns:a16="http://schemas.microsoft.com/office/drawing/2014/main" id="{F851E1D3-D231-D141-9846-508981BCF64C}"/>
                  </a:ext>
                </a:extLst>
              </p:cNvPr>
              <p:cNvSpPr/>
              <p:nvPr userDrawn="1"/>
            </p:nvSpPr>
            <p:spPr>
              <a:xfrm>
                <a:off x="-1209774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FFE5B2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33" name="Прямоугольник: скругленные углы 79">
                <a:extLst>
                  <a:ext uri="{FF2B5EF4-FFF2-40B4-BE49-F238E27FC236}">
                    <a16:creationId xmlns:a16="http://schemas.microsoft.com/office/drawing/2014/main" id="{45406E7B-B207-844F-81FD-6B1178F1B353}"/>
                  </a:ext>
                </a:extLst>
              </p:cNvPr>
              <p:cNvSpPr/>
              <p:nvPr userDrawn="1"/>
            </p:nvSpPr>
            <p:spPr>
              <a:xfrm>
                <a:off x="-1735356" y="4136975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bg1"/>
              </a:solidFill>
              <a:ln w="12700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34" name="Прямоугольник: скругленные углы 63">
                <a:extLst>
                  <a:ext uri="{FF2B5EF4-FFF2-40B4-BE49-F238E27FC236}">
                    <a16:creationId xmlns:a16="http://schemas.microsoft.com/office/drawing/2014/main" id="{A658E357-7580-F642-8B18-619020470BBB}"/>
                  </a:ext>
                </a:extLst>
              </p:cNvPr>
              <p:cNvSpPr/>
              <p:nvPr userDrawn="1"/>
            </p:nvSpPr>
            <p:spPr>
              <a:xfrm>
                <a:off x="-1476289" y="4646897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accent2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238090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8">
          <p15:clr>
            <a:srgbClr val="F26B43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_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Прямоугольник: скругленные углы 30">
            <a:extLst>
              <a:ext uri="{FF2B5EF4-FFF2-40B4-BE49-F238E27FC236}">
                <a16:creationId xmlns:a16="http://schemas.microsoft.com/office/drawing/2014/main" id="{B5CEA510-779D-B186-51D9-A7BE6A4D8CBF}"/>
              </a:ext>
            </a:extLst>
          </p:cNvPr>
          <p:cNvSpPr/>
          <p:nvPr/>
        </p:nvSpPr>
        <p:spPr>
          <a:xfrm>
            <a:off x="-2138458" y="54865"/>
            <a:ext cx="1928241" cy="2826069"/>
          </a:xfrm>
          <a:prstGeom prst="roundRect">
            <a:avLst>
              <a:gd name="adj" fmla="val 5926"/>
            </a:avLst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" name="Прямоугольник: скругленные верхние углы 31">
            <a:extLst>
              <a:ext uri="{FF2B5EF4-FFF2-40B4-BE49-F238E27FC236}">
                <a16:creationId xmlns:a16="http://schemas.microsoft.com/office/drawing/2014/main" id="{A1C959ED-4845-914A-5E46-E2BC8420265D}"/>
              </a:ext>
            </a:extLst>
          </p:cNvPr>
          <p:cNvSpPr/>
          <p:nvPr/>
        </p:nvSpPr>
        <p:spPr>
          <a:xfrm>
            <a:off x="-2136930" y="0"/>
            <a:ext cx="1926713" cy="2880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36000" rtlCol="0" anchor="ctr"/>
          <a:lstStyle/>
          <a:p>
            <a:pPr algn="ctr"/>
            <a:r>
              <a:rPr lang="ru-RU" sz="1100" b="1">
                <a:solidFill>
                  <a:schemeClr val="tx1"/>
                </a:solidFill>
              </a:rPr>
              <a:t>Размеры текста</a:t>
            </a:r>
          </a:p>
        </p:txBody>
      </p:sp>
      <p:graphicFrame>
        <p:nvGraphicFramePr>
          <p:cNvPr id="33" name="Таблица 46">
            <a:extLst>
              <a:ext uri="{FF2B5EF4-FFF2-40B4-BE49-F238E27FC236}">
                <a16:creationId xmlns:a16="http://schemas.microsoft.com/office/drawing/2014/main" id="{E10B7DDB-30E3-5914-1530-1B343B89ECF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64283051"/>
              </p:ext>
            </p:extLst>
          </p:nvPr>
        </p:nvGraphicFramePr>
        <p:xfrm>
          <a:off x="-2046114" y="312643"/>
          <a:ext cx="1958731" cy="2142000"/>
        </p:xfrm>
        <a:graphic>
          <a:graphicData uri="http://schemas.openxmlformats.org/drawingml/2006/table">
            <a:tbl>
              <a:tblPr/>
              <a:tblGrid>
                <a:gridCol w="532517">
                  <a:extLst>
                    <a:ext uri="{9D8B030D-6E8A-4147-A177-3AD203B41FA5}">
                      <a16:colId xmlns:a16="http://schemas.microsoft.com/office/drawing/2014/main" val="2594385797"/>
                    </a:ext>
                  </a:extLst>
                </a:gridCol>
                <a:gridCol w="1426214">
                  <a:extLst>
                    <a:ext uri="{9D8B030D-6E8A-4147-A177-3AD203B41FA5}">
                      <a16:colId xmlns:a16="http://schemas.microsoft.com/office/drawing/2014/main" val="1017723076"/>
                    </a:ext>
                  </a:extLst>
                </a:gridCol>
              </a:tblGrid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44+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0" spc="-40" baseline="0"/>
                        <a:t>акцентные цифр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8329665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32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заголовки и самые </a:t>
                      </a:r>
                      <a:br>
                        <a:rPr lang="ru-RU" sz="1000" spc="-40" baseline="0"/>
                      </a:br>
                      <a:r>
                        <a:rPr lang="ru-RU" sz="1000" spc="-40" baseline="0"/>
                        <a:t>важные данные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17697917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24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8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подзаголовки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72780009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18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4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основной текст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0685745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4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2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торой уровень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текста (менее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ажная информация)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1997433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0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сноски, пояснения, </a:t>
                      </a:r>
                      <a:br>
                        <a:rPr lang="en-US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большие таблиц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76660845"/>
                  </a:ext>
                </a:extLst>
              </a:tr>
            </a:tbl>
          </a:graphicData>
        </a:graphic>
      </p:graphicFrame>
      <p:sp>
        <p:nvSpPr>
          <p:cNvPr id="34" name="Полилиния: фигура 33">
            <a:extLst>
              <a:ext uri="{FF2B5EF4-FFF2-40B4-BE49-F238E27FC236}">
                <a16:creationId xmlns:a16="http://schemas.microsoft.com/office/drawing/2014/main" id="{E3D1AAE3-78D4-3900-EC14-93255434D8AD}"/>
              </a:ext>
            </a:extLst>
          </p:cNvPr>
          <p:cNvSpPr/>
          <p:nvPr/>
        </p:nvSpPr>
        <p:spPr>
          <a:xfrm>
            <a:off x="-2004344" y="2488864"/>
            <a:ext cx="216624" cy="228657"/>
          </a:xfrm>
          <a:custGeom>
            <a:avLst/>
            <a:gdLst>
              <a:gd name="connsiteX0" fmla="*/ 72536 w 171450"/>
              <a:gd name="connsiteY0" fmla="*/ 162210 h 180974"/>
              <a:gd name="connsiteX1" fmla="*/ 98923 w 171450"/>
              <a:gd name="connsiteY1" fmla="*/ 162210 h 180974"/>
              <a:gd name="connsiteX2" fmla="*/ 103600 w 171450"/>
              <a:gd name="connsiteY2" fmla="*/ 172160 h 180974"/>
              <a:gd name="connsiteX3" fmla="*/ 85726 w 171450"/>
              <a:gd name="connsiteY3" fmla="*/ 180974 h 180974"/>
              <a:gd name="connsiteX4" fmla="*/ 67852 w 171450"/>
              <a:gd name="connsiteY4" fmla="*/ 172160 h 180974"/>
              <a:gd name="connsiteX5" fmla="*/ 72536 w 171450"/>
              <a:gd name="connsiteY5" fmla="*/ 162210 h 180974"/>
              <a:gd name="connsiteX6" fmla="*/ 152400 w 171450"/>
              <a:gd name="connsiteY6" fmla="*/ 76200 h 180974"/>
              <a:gd name="connsiteX7" fmla="*/ 161925 w 171450"/>
              <a:gd name="connsiteY7" fmla="*/ 76200 h 180974"/>
              <a:gd name="connsiteX8" fmla="*/ 171450 w 171450"/>
              <a:gd name="connsiteY8" fmla="*/ 85725 h 180974"/>
              <a:gd name="connsiteX9" fmla="*/ 161925 w 171450"/>
              <a:gd name="connsiteY9" fmla="*/ 95250 h 180974"/>
              <a:gd name="connsiteX10" fmla="*/ 152400 w 171450"/>
              <a:gd name="connsiteY10" fmla="*/ 95250 h 180974"/>
              <a:gd name="connsiteX11" fmla="*/ 142875 w 171450"/>
              <a:gd name="connsiteY11" fmla="*/ 85725 h 180974"/>
              <a:gd name="connsiteX12" fmla="*/ 152400 w 171450"/>
              <a:gd name="connsiteY12" fmla="*/ 76200 h 180974"/>
              <a:gd name="connsiteX13" fmla="*/ 9525 w 171450"/>
              <a:gd name="connsiteY13" fmla="*/ 76200 h 180974"/>
              <a:gd name="connsiteX14" fmla="*/ 19050 w 171450"/>
              <a:gd name="connsiteY14" fmla="*/ 76200 h 180974"/>
              <a:gd name="connsiteX15" fmla="*/ 28575 w 171450"/>
              <a:gd name="connsiteY15" fmla="*/ 85725 h 180974"/>
              <a:gd name="connsiteX16" fmla="*/ 19050 w 171450"/>
              <a:gd name="connsiteY16" fmla="*/ 95250 h 180974"/>
              <a:gd name="connsiteX17" fmla="*/ 9525 w 171450"/>
              <a:gd name="connsiteY17" fmla="*/ 95250 h 180974"/>
              <a:gd name="connsiteX18" fmla="*/ 0 w 171450"/>
              <a:gd name="connsiteY18" fmla="*/ 85725 h 180974"/>
              <a:gd name="connsiteX19" fmla="*/ 9525 w 171450"/>
              <a:gd name="connsiteY19" fmla="*/ 76200 h 180974"/>
              <a:gd name="connsiteX20" fmla="*/ 85725 w 171450"/>
              <a:gd name="connsiteY20" fmla="*/ 38100 h 180974"/>
              <a:gd name="connsiteX21" fmla="*/ 133350 w 171450"/>
              <a:gd name="connsiteY21" fmla="*/ 85725 h 180974"/>
              <a:gd name="connsiteX22" fmla="*/ 123174 w 171450"/>
              <a:gd name="connsiteY22" fmla="*/ 114596 h 180974"/>
              <a:gd name="connsiteX23" fmla="*/ 114300 w 171450"/>
              <a:gd name="connsiteY23" fmla="*/ 138113 h 180974"/>
              <a:gd name="connsiteX24" fmla="*/ 85725 w 171450"/>
              <a:gd name="connsiteY24" fmla="*/ 152400 h 180974"/>
              <a:gd name="connsiteX25" fmla="*/ 57150 w 171450"/>
              <a:gd name="connsiteY25" fmla="*/ 138113 h 180974"/>
              <a:gd name="connsiteX26" fmla="*/ 48275 w 171450"/>
              <a:gd name="connsiteY26" fmla="*/ 114596 h 180974"/>
              <a:gd name="connsiteX27" fmla="*/ 38100 w 171450"/>
              <a:gd name="connsiteY27" fmla="*/ 85725 h 180974"/>
              <a:gd name="connsiteX28" fmla="*/ 85725 w 171450"/>
              <a:gd name="connsiteY28" fmla="*/ 38100 h 180974"/>
              <a:gd name="connsiteX29" fmla="*/ 136141 w 171450"/>
              <a:gd name="connsiteY29" fmla="*/ 21840 h 180974"/>
              <a:gd name="connsiteX30" fmla="*/ 149611 w 171450"/>
              <a:gd name="connsiteY30" fmla="*/ 21840 h 180974"/>
              <a:gd name="connsiteX31" fmla="*/ 149611 w 171450"/>
              <a:gd name="connsiteY31" fmla="*/ 35310 h 180974"/>
              <a:gd name="connsiteX32" fmla="*/ 140086 w 171450"/>
              <a:gd name="connsiteY32" fmla="*/ 44835 h 180974"/>
              <a:gd name="connsiteX33" fmla="*/ 126616 w 171450"/>
              <a:gd name="connsiteY33" fmla="*/ 44835 h 180974"/>
              <a:gd name="connsiteX34" fmla="*/ 126616 w 171450"/>
              <a:gd name="connsiteY34" fmla="*/ 31365 h 180974"/>
              <a:gd name="connsiteX35" fmla="*/ 21840 w 171450"/>
              <a:gd name="connsiteY35" fmla="*/ 21840 h 180974"/>
              <a:gd name="connsiteX36" fmla="*/ 35310 w 171450"/>
              <a:gd name="connsiteY36" fmla="*/ 21840 h 180974"/>
              <a:gd name="connsiteX37" fmla="*/ 44835 w 171450"/>
              <a:gd name="connsiteY37" fmla="*/ 31365 h 180974"/>
              <a:gd name="connsiteX38" fmla="*/ 44835 w 171450"/>
              <a:gd name="connsiteY38" fmla="*/ 44835 h 180974"/>
              <a:gd name="connsiteX39" fmla="*/ 31365 w 171450"/>
              <a:gd name="connsiteY39" fmla="*/ 44835 h 180974"/>
              <a:gd name="connsiteX40" fmla="*/ 21840 w 171450"/>
              <a:gd name="connsiteY40" fmla="*/ 35310 h 180974"/>
              <a:gd name="connsiteX41" fmla="*/ 21840 w 171450"/>
              <a:gd name="connsiteY41" fmla="*/ 21840 h 180974"/>
              <a:gd name="connsiteX42" fmla="*/ 85725 w 171450"/>
              <a:gd name="connsiteY42" fmla="*/ 0 h 180974"/>
              <a:gd name="connsiteX43" fmla="*/ 95250 w 171450"/>
              <a:gd name="connsiteY43" fmla="*/ 9525 h 180974"/>
              <a:gd name="connsiteX44" fmla="*/ 95250 w 171450"/>
              <a:gd name="connsiteY44" fmla="*/ 19050 h 180974"/>
              <a:gd name="connsiteX45" fmla="*/ 85725 w 171450"/>
              <a:gd name="connsiteY45" fmla="*/ 28575 h 180974"/>
              <a:gd name="connsiteX46" fmla="*/ 76200 w 171450"/>
              <a:gd name="connsiteY46" fmla="*/ 19050 h 180974"/>
              <a:gd name="connsiteX47" fmla="*/ 76200 w 171450"/>
              <a:gd name="connsiteY47" fmla="*/ 9525 h 180974"/>
              <a:gd name="connsiteX48" fmla="*/ 85725 w 171450"/>
              <a:gd name="connsiteY48" fmla="*/ 0 h 18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1450" h="180974">
                <a:moveTo>
                  <a:pt x="72536" y="162210"/>
                </a:moveTo>
                <a:cubicBezTo>
                  <a:pt x="80449" y="164140"/>
                  <a:pt x="90933" y="164211"/>
                  <a:pt x="98923" y="162210"/>
                </a:cubicBezTo>
                <a:cubicBezTo>
                  <a:pt x="105617" y="160534"/>
                  <a:pt x="105617" y="166533"/>
                  <a:pt x="103600" y="172160"/>
                </a:cubicBezTo>
                <a:cubicBezTo>
                  <a:pt x="100950" y="179549"/>
                  <a:pt x="95451" y="180974"/>
                  <a:pt x="85726" y="180974"/>
                </a:cubicBezTo>
                <a:cubicBezTo>
                  <a:pt x="76000" y="180974"/>
                  <a:pt x="70501" y="179549"/>
                  <a:pt x="67852" y="172160"/>
                </a:cubicBezTo>
                <a:cubicBezTo>
                  <a:pt x="65835" y="166534"/>
                  <a:pt x="65835" y="160576"/>
                  <a:pt x="72536" y="162210"/>
                </a:cubicBezTo>
                <a:close/>
                <a:moveTo>
                  <a:pt x="152400" y="76200"/>
                </a:moveTo>
                <a:lnTo>
                  <a:pt x="161925" y="76200"/>
                </a:lnTo>
                <a:cubicBezTo>
                  <a:pt x="167186" y="76200"/>
                  <a:pt x="171450" y="80464"/>
                  <a:pt x="171450" y="85725"/>
                </a:cubicBezTo>
                <a:cubicBezTo>
                  <a:pt x="171450" y="90986"/>
                  <a:pt x="167186" y="95250"/>
                  <a:pt x="161925" y="95250"/>
                </a:cubicBezTo>
                <a:lnTo>
                  <a:pt x="152400" y="95250"/>
                </a:lnTo>
                <a:cubicBezTo>
                  <a:pt x="147139" y="95250"/>
                  <a:pt x="142875" y="90986"/>
                  <a:pt x="142875" y="85725"/>
                </a:cubicBezTo>
                <a:cubicBezTo>
                  <a:pt x="142875" y="80464"/>
                  <a:pt x="147139" y="76200"/>
                  <a:pt x="152400" y="76200"/>
                </a:cubicBezTo>
                <a:close/>
                <a:moveTo>
                  <a:pt x="9525" y="76200"/>
                </a:moveTo>
                <a:lnTo>
                  <a:pt x="19050" y="76200"/>
                </a:lnTo>
                <a:cubicBezTo>
                  <a:pt x="24310" y="76200"/>
                  <a:pt x="28575" y="80464"/>
                  <a:pt x="28575" y="85725"/>
                </a:cubicBezTo>
                <a:cubicBezTo>
                  <a:pt x="28575" y="90986"/>
                  <a:pt x="24310" y="95250"/>
                  <a:pt x="19050" y="95250"/>
                </a:cubicBezTo>
                <a:lnTo>
                  <a:pt x="9525" y="95250"/>
                </a:lnTo>
                <a:cubicBezTo>
                  <a:pt x="4265" y="95250"/>
                  <a:pt x="0" y="90986"/>
                  <a:pt x="0" y="85725"/>
                </a:cubicBezTo>
                <a:cubicBezTo>
                  <a:pt x="0" y="80464"/>
                  <a:pt x="4265" y="76200"/>
                  <a:pt x="9525" y="76200"/>
                </a:cubicBezTo>
                <a:close/>
                <a:moveTo>
                  <a:pt x="85725" y="38100"/>
                </a:moveTo>
                <a:cubicBezTo>
                  <a:pt x="112027" y="38100"/>
                  <a:pt x="133350" y="58671"/>
                  <a:pt x="133350" y="85725"/>
                </a:cubicBezTo>
                <a:cubicBezTo>
                  <a:pt x="133350" y="100663"/>
                  <a:pt x="128144" y="107793"/>
                  <a:pt x="123174" y="114596"/>
                </a:cubicBezTo>
                <a:cubicBezTo>
                  <a:pt x="118639" y="120807"/>
                  <a:pt x="114300" y="126748"/>
                  <a:pt x="114300" y="138113"/>
                </a:cubicBezTo>
                <a:cubicBezTo>
                  <a:pt x="114300" y="147638"/>
                  <a:pt x="104775" y="152400"/>
                  <a:pt x="85725" y="152400"/>
                </a:cubicBezTo>
                <a:cubicBezTo>
                  <a:pt x="66675" y="152400"/>
                  <a:pt x="57150" y="147638"/>
                  <a:pt x="57150" y="138113"/>
                </a:cubicBezTo>
                <a:cubicBezTo>
                  <a:pt x="57150" y="126748"/>
                  <a:pt x="52811" y="120807"/>
                  <a:pt x="48275" y="114596"/>
                </a:cubicBezTo>
                <a:cubicBezTo>
                  <a:pt x="43306" y="107793"/>
                  <a:pt x="38100" y="100663"/>
                  <a:pt x="38100" y="85725"/>
                </a:cubicBezTo>
                <a:cubicBezTo>
                  <a:pt x="38100" y="57150"/>
                  <a:pt x="59422" y="38100"/>
                  <a:pt x="85725" y="38100"/>
                </a:cubicBezTo>
                <a:close/>
                <a:moveTo>
                  <a:pt x="136141" y="21840"/>
                </a:moveTo>
                <a:cubicBezTo>
                  <a:pt x="139860" y="18120"/>
                  <a:pt x="145891" y="18120"/>
                  <a:pt x="149611" y="21840"/>
                </a:cubicBezTo>
                <a:cubicBezTo>
                  <a:pt x="153330" y="25560"/>
                  <a:pt x="153330" y="31590"/>
                  <a:pt x="149611" y="35310"/>
                </a:cubicBezTo>
                <a:lnTo>
                  <a:pt x="140086" y="44835"/>
                </a:lnTo>
                <a:cubicBezTo>
                  <a:pt x="136366" y="48555"/>
                  <a:pt x="130335" y="48555"/>
                  <a:pt x="126616" y="44835"/>
                </a:cubicBezTo>
                <a:cubicBezTo>
                  <a:pt x="122896" y="41115"/>
                  <a:pt x="122896" y="35085"/>
                  <a:pt x="126616" y="31365"/>
                </a:cubicBezTo>
                <a:close/>
                <a:moveTo>
                  <a:pt x="21840" y="21840"/>
                </a:moveTo>
                <a:cubicBezTo>
                  <a:pt x="25560" y="18120"/>
                  <a:pt x="31590" y="18120"/>
                  <a:pt x="35310" y="21840"/>
                </a:cubicBezTo>
                <a:lnTo>
                  <a:pt x="44835" y="31365"/>
                </a:lnTo>
                <a:cubicBezTo>
                  <a:pt x="48555" y="35085"/>
                  <a:pt x="48555" y="41115"/>
                  <a:pt x="44835" y="44835"/>
                </a:cubicBezTo>
                <a:cubicBezTo>
                  <a:pt x="41115" y="48555"/>
                  <a:pt x="35085" y="48555"/>
                  <a:pt x="31365" y="44835"/>
                </a:cubicBezTo>
                <a:lnTo>
                  <a:pt x="21840" y="35310"/>
                </a:lnTo>
                <a:cubicBezTo>
                  <a:pt x="18120" y="31590"/>
                  <a:pt x="18120" y="25560"/>
                  <a:pt x="21840" y="21840"/>
                </a:cubicBezTo>
                <a:close/>
                <a:moveTo>
                  <a:pt x="85725" y="0"/>
                </a:moveTo>
                <a:cubicBezTo>
                  <a:pt x="90986" y="0"/>
                  <a:pt x="95250" y="4265"/>
                  <a:pt x="95250" y="9525"/>
                </a:cubicBezTo>
                <a:lnTo>
                  <a:pt x="95250" y="19050"/>
                </a:lnTo>
                <a:cubicBezTo>
                  <a:pt x="95250" y="24310"/>
                  <a:pt x="90986" y="28575"/>
                  <a:pt x="85725" y="28575"/>
                </a:cubicBezTo>
                <a:cubicBezTo>
                  <a:pt x="80464" y="28575"/>
                  <a:pt x="76200" y="24310"/>
                  <a:pt x="76200" y="19050"/>
                </a:cubicBezTo>
                <a:lnTo>
                  <a:pt x="76200" y="9525"/>
                </a:lnTo>
                <a:cubicBezTo>
                  <a:pt x="76200" y="4265"/>
                  <a:pt x="80464" y="0"/>
                  <a:pt x="85725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8" name="Полилиния: фигура 57">
            <a:extLst>
              <a:ext uri="{FF2B5EF4-FFF2-40B4-BE49-F238E27FC236}">
                <a16:creationId xmlns:a16="http://schemas.microsoft.com/office/drawing/2014/main" id="{39436597-275E-B3E6-1DAB-CAF537F82E50}"/>
              </a:ext>
            </a:extLst>
          </p:cNvPr>
          <p:cNvSpPr/>
          <p:nvPr/>
        </p:nvSpPr>
        <p:spPr>
          <a:xfrm>
            <a:off x="-2004344" y="2488864"/>
            <a:ext cx="216624" cy="228657"/>
          </a:xfrm>
          <a:custGeom>
            <a:avLst/>
            <a:gdLst>
              <a:gd name="connsiteX0" fmla="*/ 72536 w 171450"/>
              <a:gd name="connsiteY0" fmla="*/ 162210 h 180974"/>
              <a:gd name="connsiteX1" fmla="*/ 98923 w 171450"/>
              <a:gd name="connsiteY1" fmla="*/ 162210 h 180974"/>
              <a:gd name="connsiteX2" fmla="*/ 103600 w 171450"/>
              <a:gd name="connsiteY2" fmla="*/ 172160 h 180974"/>
              <a:gd name="connsiteX3" fmla="*/ 85726 w 171450"/>
              <a:gd name="connsiteY3" fmla="*/ 180974 h 180974"/>
              <a:gd name="connsiteX4" fmla="*/ 67852 w 171450"/>
              <a:gd name="connsiteY4" fmla="*/ 172160 h 180974"/>
              <a:gd name="connsiteX5" fmla="*/ 72536 w 171450"/>
              <a:gd name="connsiteY5" fmla="*/ 162210 h 180974"/>
              <a:gd name="connsiteX6" fmla="*/ 152400 w 171450"/>
              <a:gd name="connsiteY6" fmla="*/ 76200 h 180974"/>
              <a:gd name="connsiteX7" fmla="*/ 161925 w 171450"/>
              <a:gd name="connsiteY7" fmla="*/ 76200 h 180974"/>
              <a:gd name="connsiteX8" fmla="*/ 171450 w 171450"/>
              <a:gd name="connsiteY8" fmla="*/ 85725 h 180974"/>
              <a:gd name="connsiteX9" fmla="*/ 161925 w 171450"/>
              <a:gd name="connsiteY9" fmla="*/ 95250 h 180974"/>
              <a:gd name="connsiteX10" fmla="*/ 152400 w 171450"/>
              <a:gd name="connsiteY10" fmla="*/ 95250 h 180974"/>
              <a:gd name="connsiteX11" fmla="*/ 142875 w 171450"/>
              <a:gd name="connsiteY11" fmla="*/ 85725 h 180974"/>
              <a:gd name="connsiteX12" fmla="*/ 152400 w 171450"/>
              <a:gd name="connsiteY12" fmla="*/ 76200 h 180974"/>
              <a:gd name="connsiteX13" fmla="*/ 9525 w 171450"/>
              <a:gd name="connsiteY13" fmla="*/ 76200 h 180974"/>
              <a:gd name="connsiteX14" fmla="*/ 19050 w 171450"/>
              <a:gd name="connsiteY14" fmla="*/ 76200 h 180974"/>
              <a:gd name="connsiteX15" fmla="*/ 28575 w 171450"/>
              <a:gd name="connsiteY15" fmla="*/ 85725 h 180974"/>
              <a:gd name="connsiteX16" fmla="*/ 19050 w 171450"/>
              <a:gd name="connsiteY16" fmla="*/ 95250 h 180974"/>
              <a:gd name="connsiteX17" fmla="*/ 9525 w 171450"/>
              <a:gd name="connsiteY17" fmla="*/ 95250 h 180974"/>
              <a:gd name="connsiteX18" fmla="*/ 0 w 171450"/>
              <a:gd name="connsiteY18" fmla="*/ 85725 h 180974"/>
              <a:gd name="connsiteX19" fmla="*/ 9525 w 171450"/>
              <a:gd name="connsiteY19" fmla="*/ 76200 h 180974"/>
              <a:gd name="connsiteX20" fmla="*/ 85725 w 171450"/>
              <a:gd name="connsiteY20" fmla="*/ 38100 h 180974"/>
              <a:gd name="connsiteX21" fmla="*/ 133350 w 171450"/>
              <a:gd name="connsiteY21" fmla="*/ 85725 h 180974"/>
              <a:gd name="connsiteX22" fmla="*/ 123174 w 171450"/>
              <a:gd name="connsiteY22" fmla="*/ 114596 h 180974"/>
              <a:gd name="connsiteX23" fmla="*/ 114300 w 171450"/>
              <a:gd name="connsiteY23" fmla="*/ 138113 h 180974"/>
              <a:gd name="connsiteX24" fmla="*/ 85725 w 171450"/>
              <a:gd name="connsiteY24" fmla="*/ 152400 h 180974"/>
              <a:gd name="connsiteX25" fmla="*/ 57150 w 171450"/>
              <a:gd name="connsiteY25" fmla="*/ 138113 h 180974"/>
              <a:gd name="connsiteX26" fmla="*/ 48275 w 171450"/>
              <a:gd name="connsiteY26" fmla="*/ 114596 h 180974"/>
              <a:gd name="connsiteX27" fmla="*/ 38100 w 171450"/>
              <a:gd name="connsiteY27" fmla="*/ 85725 h 180974"/>
              <a:gd name="connsiteX28" fmla="*/ 85725 w 171450"/>
              <a:gd name="connsiteY28" fmla="*/ 38100 h 180974"/>
              <a:gd name="connsiteX29" fmla="*/ 136141 w 171450"/>
              <a:gd name="connsiteY29" fmla="*/ 21840 h 180974"/>
              <a:gd name="connsiteX30" fmla="*/ 149611 w 171450"/>
              <a:gd name="connsiteY30" fmla="*/ 21840 h 180974"/>
              <a:gd name="connsiteX31" fmla="*/ 149611 w 171450"/>
              <a:gd name="connsiteY31" fmla="*/ 35310 h 180974"/>
              <a:gd name="connsiteX32" fmla="*/ 140086 w 171450"/>
              <a:gd name="connsiteY32" fmla="*/ 44835 h 180974"/>
              <a:gd name="connsiteX33" fmla="*/ 126616 w 171450"/>
              <a:gd name="connsiteY33" fmla="*/ 44835 h 180974"/>
              <a:gd name="connsiteX34" fmla="*/ 126616 w 171450"/>
              <a:gd name="connsiteY34" fmla="*/ 31365 h 180974"/>
              <a:gd name="connsiteX35" fmla="*/ 21840 w 171450"/>
              <a:gd name="connsiteY35" fmla="*/ 21840 h 180974"/>
              <a:gd name="connsiteX36" fmla="*/ 35310 w 171450"/>
              <a:gd name="connsiteY36" fmla="*/ 21840 h 180974"/>
              <a:gd name="connsiteX37" fmla="*/ 44835 w 171450"/>
              <a:gd name="connsiteY37" fmla="*/ 31365 h 180974"/>
              <a:gd name="connsiteX38" fmla="*/ 44835 w 171450"/>
              <a:gd name="connsiteY38" fmla="*/ 44835 h 180974"/>
              <a:gd name="connsiteX39" fmla="*/ 31365 w 171450"/>
              <a:gd name="connsiteY39" fmla="*/ 44835 h 180974"/>
              <a:gd name="connsiteX40" fmla="*/ 21840 w 171450"/>
              <a:gd name="connsiteY40" fmla="*/ 35310 h 180974"/>
              <a:gd name="connsiteX41" fmla="*/ 21840 w 171450"/>
              <a:gd name="connsiteY41" fmla="*/ 21840 h 180974"/>
              <a:gd name="connsiteX42" fmla="*/ 85725 w 171450"/>
              <a:gd name="connsiteY42" fmla="*/ 0 h 180974"/>
              <a:gd name="connsiteX43" fmla="*/ 95250 w 171450"/>
              <a:gd name="connsiteY43" fmla="*/ 9525 h 180974"/>
              <a:gd name="connsiteX44" fmla="*/ 95250 w 171450"/>
              <a:gd name="connsiteY44" fmla="*/ 19050 h 180974"/>
              <a:gd name="connsiteX45" fmla="*/ 85725 w 171450"/>
              <a:gd name="connsiteY45" fmla="*/ 28575 h 180974"/>
              <a:gd name="connsiteX46" fmla="*/ 76200 w 171450"/>
              <a:gd name="connsiteY46" fmla="*/ 19050 h 180974"/>
              <a:gd name="connsiteX47" fmla="*/ 76200 w 171450"/>
              <a:gd name="connsiteY47" fmla="*/ 9525 h 180974"/>
              <a:gd name="connsiteX48" fmla="*/ 85725 w 171450"/>
              <a:gd name="connsiteY48" fmla="*/ 0 h 18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1450" h="180974">
                <a:moveTo>
                  <a:pt x="72536" y="162210"/>
                </a:moveTo>
                <a:cubicBezTo>
                  <a:pt x="80449" y="164140"/>
                  <a:pt x="90933" y="164211"/>
                  <a:pt x="98923" y="162210"/>
                </a:cubicBezTo>
                <a:cubicBezTo>
                  <a:pt x="105617" y="160534"/>
                  <a:pt x="105617" y="166533"/>
                  <a:pt x="103600" y="172160"/>
                </a:cubicBezTo>
                <a:cubicBezTo>
                  <a:pt x="100950" y="179549"/>
                  <a:pt x="95451" y="180974"/>
                  <a:pt x="85726" y="180974"/>
                </a:cubicBezTo>
                <a:cubicBezTo>
                  <a:pt x="76000" y="180974"/>
                  <a:pt x="70501" y="179549"/>
                  <a:pt x="67852" y="172160"/>
                </a:cubicBezTo>
                <a:cubicBezTo>
                  <a:pt x="65835" y="166534"/>
                  <a:pt x="65835" y="160576"/>
                  <a:pt x="72536" y="162210"/>
                </a:cubicBezTo>
                <a:close/>
                <a:moveTo>
                  <a:pt x="152400" y="76200"/>
                </a:moveTo>
                <a:lnTo>
                  <a:pt x="161925" y="76200"/>
                </a:lnTo>
                <a:cubicBezTo>
                  <a:pt x="167186" y="76200"/>
                  <a:pt x="171450" y="80464"/>
                  <a:pt x="171450" y="85725"/>
                </a:cubicBezTo>
                <a:cubicBezTo>
                  <a:pt x="171450" y="90986"/>
                  <a:pt x="167186" y="95250"/>
                  <a:pt x="161925" y="95250"/>
                </a:cubicBezTo>
                <a:lnTo>
                  <a:pt x="152400" y="95250"/>
                </a:lnTo>
                <a:cubicBezTo>
                  <a:pt x="147139" y="95250"/>
                  <a:pt x="142875" y="90986"/>
                  <a:pt x="142875" y="85725"/>
                </a:cubicBezTo>
                <a:cubicBezTo>
                  <a:pt x="142875" y="80464"/>
                  <a:pt x="147139" y="76200"/>
                  <a:pt x="152400" y="76200"/>
                </a:cubicBezTo>
                <a:close/>
                <a:moveTo>
                  <a:pt x="9525" y="76200"/>
                </a:moveTo>
                <a:lnTo>
                  <a:pt x="19050" y="76200"/>
                </a:lnTo>
                <a:cubicBezTo>
                  <a:pt x="24310" y="76200"/>
                  <a:pt x="28575" y="80464"/>
                  <a:pt x="28575" y="85725"/>
                </a:cubicBezTo>
                <a:cubicBezTo>
                  <a:pt x="28575" y="90986"/>
                  <a:pt x="24310" y="95250"/>
                  <a:pt x="19050" y="95250"/>
                </a:cubicBezTo>
                <a:lnTo>
                  <a:pt x="9525" y="95250"/>
                </a:lnTo>
                <a:cubicBezTo>
                  <a:pt x="4265" y="95250"/>
                  <a:pt x="0" y="90986"/>
                  <a:pt x="0" y="85725"/>
                </a:cubicBezTo>
                <a:cubicBezTo>
                  <a:pt x="0" y="80464"/>
                  <a:pt x="4265" y="76200"/>
                  <a:pt x="9525" y="76200"/>
                </a:cubicBezTo>
                <a:close/>
                <a:moveTo>
                  <a:pt x="85725" y="38100"/>
                </a:moveTo>
                <a:cubicBezTo>
                  <a:pt x="112027" y="38100"/>
                  <a:pt x="133350" y="58671"/>
                  <a:pt x="133350" y="85725"/>
                </a:cubicBezTo>
                <a:cubicBezTo>
                  <a:pt x="133350" y="100663"/>
                  <a:pt x="128144" y="107793"/>
                  <a:pt x="123174" y="114596"/>
                </a:cubicBezTo>
                <a:cubicBezTo>
                  <a:pt x="118639" y="120807"/>
                  <a:pt x="114300" y="126748"/>
                  <a:pt x="114300" y="138113"/>
                </a:cubicBezTo>
                <a:cubicBezTo>
                  <a:pt x="114300" y="147638"/>
                  <a:pt x="104775" y="152400"/>
                  <a:pt x="85725" y="152400"/>
                </a:cubicBezTo>
                <a:cubicBezTo>
                  <a:pt x="66675" y="152400"/>
                  <a:pt x="57150" y="147638"/>
                  <a:pt x="57150" y="138113"/>
                </a:cubicBezTo>
                <a:cubicBezTo>
                  <a:pt x="57150" y="126748"/>
                  <a:pt x="52811" y="120807"/>
                  <a:pt x="48275" y="114596"/>
                </a:cubicBezTo>
                <a:cubicBezTo>
                  <a:pt x="43306" y="107793"/>
                  <a:pt x="38100" y="100663"/>
                  <a:pt x="38100" y="85725"/>
                </a:cubicBezTo>
                <a:cubicBezTo>
                  <a:pt x="38100" y="57150"/>
                  <a:pt x="59422" y="38100"/>
                  <a:pt x="85725" y="38100"/>
                </a:cubicBezTo>
                <a:close/>
                <a:moveTo>
                  <a:pt x="136141" y="21840"/>
                </a:moveTo>
                <a:cubicBezTo>
                  <a:pt x="139860" y="18120"/>
                  <a:pt x="145891" y="18120"/>
                  <a:pt x="149611" y="21840"/>
                </a:cubicBezTo>
                <a:cubicBezTo>
                  <a:pt x="153330" y="25560"/>
                  <a:pt x="153330" y="31590"/>
                  <a:pt x="149611" y="35310"/>
                </a:cubicBezTo>
                <a:lnTo>
                  <a:pt x="140086" y="44835"/>
                </a:lnTo>
                <a:cubicBezTo>
                  <a:pt x="136366" y="48555"/>
                  <a:pt x="130335" y="48555"/>
                  <a:pt x="126616" y="44835"/>
                </a:cubicBezTo>
                <a:cubicBezTo>
                  <a:pt x="122896" y="41115"/>
                  <a:pt x="122896" y="35085"/>
                  <a:pt x="126616" y="31365"/>
                </a:cubicBezTo>
                <a:close/>
                <a:moveTo>
                  <a:pt x="21840" y="21840"/>
                </a:moveTo>
                <a:cubicBezTo>
                  <a:pt x="25560" y="18120"/>
                  <a:pt x="31590" y="18120"/>
                  <a:pt x="35310" y="21840"/>
                </a:cubicBezTo>
                <a:lnTo>
                  <a:pt x="44835" y="31365"/>
                </a:lnTo>
                <a:cubicBezTo>
                  <a:pt x="48555" y="35085"/>
                  <a:pt x="48555" y="41115"/>
                  <a:pt x="44835" y="44835"/>
                </a:cubicBezTo>
                <a:cubicBezTo>
                  <a:pt x="41115" y="48555"/>
                  <a:pt x="35085" y="48555"/>
                  <a:pt x="31365" y="44835"/>
                </a:cubicBezTo>
                <a:lnTo>
                  <a:pt x="21840" y="35310"/>
                </a:lnTo>
                <a:cubicBezTo>
                  <a:pt x="18120" y="31590"/>
                  <a:pt x="18120" y="25560"/>
                  <a:pt x="21840" y="21840"/>
                </a:cubicBezTo>
                <a:close/>
                <a:moveTo>
                  <a:pt x="85725" y="0"/>
                </a:moveTo>
                <a:cubicBezTo>
                  <a:pt x="90986" y="0"/>
                  <a:pt x="95250" y="4265"/>
                  <a:pt x="95250" y="9525"/>
                </a:cubicBezTo>
                <a:lnTo>
                  <a:pt x="95250" y="19050"/>
                </a:lnTo>
                <a:cubicBezTo>
                  <a:pt x="95250" y="24310"/>
                  <a:pt x="90986" y="28575"/>
                  <a:pt x="85725" y="28575"/>
                </a:cubicBezTo>
                <a:cubicBezTo>
                  <a:pt x="80464" y="28575"/>
                  <a:pt x="76200" y="24310"/>
                  <a:pt x="76200" y="19050"/>
                </a:cubicBezTo>
                <a:lnTo>
                  <a:pt x="76200" y="9525"/>
                </a:lnTo>
                <a:cubicBezTo>
                  <a:pt x="76200" y="4265"/>
                  <a:pt x="80464" y="0"/>
                  <a:pt x="85725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1F0AA0D0-E6D7-0849-E730-1598B0ABEC6F}"/>
              </a:ext>
            </a:extLst>
          </p:cNvPr>
          <p:cNvSpPr txBox="1"/>
          <p:nvPr/>
        </p:nvSpPr>
        <p:spPr>
          <a:xfrm>
            <a:off x="-1691344" y="2506490"/>
            <a:ext cx="1373969" cy="2428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</a:pPr>
            <a:r>
              <a:rPr lang="ru-RU" sz="900" b="0">
                <a:solidFill>
                  <a:schemeClr val="accent1"/>
                </a:solidFill>
              </a:rPr>
              <a:t>Используй эти размеры </a:t>
            </a:r>
            <a:br>
              <a:rPr lang="ru-RU" sz="900" b="0">
                <a:solidFill>
                  <a:schemeClr val="accent1"/>
                </a:solidFill>
              </a:rPr>
            </a:br>
            <a:r>
              <a:rPr lang="ru-RU" sz="900" b="0">
                <a:solidFill>
                  <a:schemeClr val="accent1"/>
                </a:solidFill>
              </a:rPr>
              <a:t>по всей презентации</a:t>
            </a:r>
          </a:p>
        </p:txBody>
      </p:sp>
      <p:sp>
        <p:nvSpPr>
          <p:cNvPr id="3" name="Прямоугольник: скругленные верхние углы 2">
            <a:extLst>
              <a:ext uri="{FF2B5EF4-FFF2-40B4-BE49-F238E27FC236}">
                <a16:creationId xmlns:a16="http://schemas.microsoft.com/office/drawing/2014/main" id="{D1B15945-87AF-F9F3-2DE0-3A1B323E535F}"/>
              </a:ext>
            </a:extLst>
          </p:cNvPr>
          <p:cNvSpPr/>
          <p:nvPr userDrawn="1"/>
        </p:nvSpPr>
        <p:spPr>
          <a:xfrm>
            <a:off x="-2136930" y="0"/>
            <a:ext cx="1926713" cy="2880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36000" rtlCol="0" anchor="ctr"/>
          <a:lstStyle/>
          <a:p>
            <a:pPr algn="ctr"/>
            <a:r>
              <a:rPr lang="ru-RU" sz="1100" b="1">
                <a:solidFill>
                  <a:schemeClr val="tx1"/>
                </a:solidFill>
              </a:rPr>
              <a:t>Размеры текста</a:t>
            </a:r>
          </a:p>
        </p:txBody>
      </p:sp>
      <p:sp>
        <p:nvSpPr>
          <p:cNvPr id="5" name="Полилиния: фигура 4">
            <a:extLst>
              <a:ext uri="{FF2B5EF4-FFF2-40B4-BE49-F238E27FC236}">
                <a16:creationId xmlns:a16="http://schemas.microsoft.com/office/drawing/2014/main" id="{376C75D7-5626-838A-6058-04D945C0E7E6}"/>
              </a:ext>
            </a:extLst>
          </p:cNvPr>
          <p:cNvSpPr/>
          <p:nvPr userDrawn="1"/>
        </p:nvSpPr>
        <p:spPr>
          <a:xfrm>
            <a:off x="-2004344" y="2488864"/>
            <a:ext cx="216624" cy="228657"/>
          </a:xfrm>
          <a:custGeom>
            <a:avLst/>
            <a:gdLst>
              <a:gd name="connsiteX0" fmla="*/ 72536 w 171450"/>
              <a:gd name="connsiteY0" fmla="*/ 162210 h 180974"/>
              <a:gd name="connsiteX1" fmla="*/ 98923 w 171450"/>
              <a:gd name="connsiteY1" fmla="*/ 162210 h 180974"/>
              <a:gd name="connsiteX2" fmla="*/ 103600 w 171450"/>
              <a:gd name="connsiteY2" fmla="*/ 172160 h 180974"/>
              <a:gd name="connsiteX3" fmla="*/ 85726 w 171450"/>
              <a:gd name="connsiteY3" fmla="*/ 180974 h 180974"/>
              <a:gd name="connsiteX4" fmla="*/ 67852 w 171450"/>
              <a:gd name="connsiteY4" fmla="*/ 172160 h 180974"/>
              <a:gd name="connsiteX5" fmla="*/ 72536 w 171450"/>
              <a:gd name="connsiteY5" fmla="*/ 162210 h 180974"/>
              <a:gd name="connsiteX6" fmla="*/ 152400 w 171450"/>
              <a:gd name="connsiteY6" fmla="*/ 76200 h 180974"/>
              <a:gd name="connsiteX7" fmla="*/ 161925 w 171450"/>
              <a:gd name="connsiteY7" fmla="*/ 76200 h 180974"/>
              <a:gd name="connsiteX8" fmla="*/ 171450 w 171450"/>
              <a:gd name="connsiteY8" fmla="*/ 85725 h 180974"/>
              <a:gd name="connsiteX9" fmla="*/ 161925 w 171450"/>
              <a:gd name="connsiteY9" fmla="*/ 95250 h 180974"/>
              <a:gd name="connsiteX10" fmla="*/ 152400 w 171450"/>
              <a:gd name="connsiteY10" fmla="*/ 95250 h 180974"/>
              <a:gd name="connsiteX11" fmla="*/ 142875 w 171450"/>
              <a:gd name="connsiteY11" fmla="*/ 85725 h 180974"/>
              <a:gd name="connsiteX12" fmla="*/ 152400 w 171450"/>
              <a:gd name="connsiteY12" fmla="*/ 76200 h 180974"/>
              <a:gd name="connsiteX13" fmla="*/ 9525 w 171450"/>
              <a:gd name="connsiteY13" fmla="*/ 76200 h 180974"/>
              <a:gd name="connsiteX14" fmla="*/ 19050 w 171450"/>
              <a:gd name="connsiteY14" fmla="*/ 76200 h 180974"/>
              <a:gd name="connsiteX15" fmla="*/ 28575 w 171450"/>
              <a:gd name="connsiteY15" fmla="*/ 85725 h 180974"/>
              <a:gd name="connsiteX16" fmla="*/ 19050 w 171450"/>
              <a:gd name="connsiteY16" fmla="*/ 95250 h 180974"/>
              <a:gd name="connsiteX17" fmla="*/ 9525 w 171450"/>
              <a:gd name="connsiteY17" fmla="*/ 95250 h 180974"/>
              <a:gd name="connsiteX18" fmla="*/ 0 w 171450"/>
              <a:gd name="connsiteY18" fmla="*/ 85725 h 180974"/>
              <a:gd name="connsiteX19" fmla="*/ 9525 w 171450"/>
              <a:gd name="connsiteY19" fmla="*/ 76200 h 180974"/>
              <a:gd name="connsiteX20" fmla="*/ 85725 w 171450"/>
              <a:gd name="connsiteY20" fmla="*/ 38100 h 180974"/>
              <a:gd name="connsiteX21" fmla="*/ 133350 w 171450"/>
              <a:gd name="connsiteY21" fmla="*/ 85725 h 180974"/>
              <a:gd name="connsiteX22" fmla="*/ 123174 w 171450"/>
              <a:gd name="connsiteY22" fmla="*/ 114596 h 180974"/>
              <a:gd name="connsiteX23" fmla="*/ 114300 w 171450"/>
              <a:gd name="connsiteY23" fmla="*/ 138113 h 180974"/>
              <a:gd name="connsiteX24" fmla="*/ 85725 w 171450"/>
              <a:gd name="connsiteY24" fmla="*/ 152400 h 180974"/>
              <a:gd name="connsiteX25" fmla="*/ 57150 w 171450"/>
              <a:gd name="connsiteY25" fmla="*/ 138113 h 180974"/>
              <a:gd name="connsiteX26" fmla="*/ 48275 w 171450"/>
              <a:gd name="connsiteY26" fmla="*/ 114596 h 180974"/>
              <a:gd name="connsiteX27" fmla="*/ 38100 w 171450"/>
              <a:gd name="connsiteY27" fmla="*/ 85725 h 180974"/>
              <a:gd name="connsiteX28" fmla="*/ 85725 w 171450"/>
              <a:gd name="connsiteY28" fmla="*/ 38100 h 180974"/>
              <a:gd name="connsiteX29" fmla="*/ 136141 w 171450"/>
              <a:gd name="connsiteY29" fmla="*/ 21840 h 180974"/>
              <a:gd name="connsiteX30" fmla="*/ 149611 w 171450"/>
              <a:gd name="connsiteY30" fmla="*/ 21840 h 180974"/>
              <a:gd name="connsiteX31" fmla="*/ 149611 w 171450"/>
              <a:gd name="connsiteY31" fmla="*/ 35310 h 180974"/>
              <a:gd name="connsiteX32" fmla="*/ 140086 w 171450"/>
              <a:gd name="connsiteY32" fmla="*/ 44835 h 180974"/>
              <a:gd name="connsiteX33" fmla="*/ 126616 w 171450"/>
              <a:gd name="connsiteY33" fmla="*/ 44835 h 180974"/>
              <a:gd name="connsiteX34" fmla="*/ 126616 w 171450"/>
              <a:gd name="connsiteY34" fmla="*/ 31365 h 180974"/>
              <a:gd name="connsiteX35" fmla="*/ 21840 w 171450"/>
              <a:gd name="connsiteY35" fmla="*/ 21840 h 180974"/>
              <a:gd name="connsiteX36" fmla="*/ 35310 w 171450"/>
              <a:gd name="connsiteY36" fmla="*/ 21840 h 180974"/>
              <a:gd name="connsiteX37" fmla="*/ 44835 w 171450"/>
              <a:gd name="connsiteY37" fmla="*/ 31365 h 180974"/>
              <a:gd name="connsiteX38" fmla="*/ 44835 w 171450"/>
              <a:gd name="connsiteY38" fmla="*/ 44835 h 180974"/>
              <a:gd name="connsiteX39" fmla="*/ 31365 w 171450"/>
              <a:gd name="connsiteY39" fmla="*/ 44835 h 180974"/>
              <a:gd name="connsiteX40" fmla="*/ 21840 w 171450"/>
              <a:gd name="connsiteY40" fmla="*/ 35310 h 180974"/>
              <a:gd name="connsiteX41" fmla="*/ 21840 w 171450"/>
              <a:gd name="connsiteY41" fmla="*/ 21840 h 180974"/>
              <a:gd name="connsiteX42" fmla="*/ 85725 w 171450"/>
              <a:gd name="connsiteY42" fmla="*/ 0 h 180974"/>
              <a:gd name="connsiteX43" fmla="*/ 95250 w 171450"/>
              <a:gd name="connsiteY43" fmla="*/ 9525 h 180974"/>
              <a:gd name="connsiteX44" fmla="*/ 95250 w 171450"/>
              <a:gd name="connsiteY44" fmla="*/ 19050 h 180974"/>
              <a:gd name="connsiteX45" fmla="*/ 85725 w 171450"/>
              <a:gd name="connsiteY45" fmla="*/ 28575 h 180974"/>
              <a:gd name="connsiteX46" fmla="*/ 76200 w 171450"/>
              <a:gd name="connsiteY46" fmla="*/ 19050 h 180974"/>
              <a:gd name="connsiteX47" fmla="*/ 76200 w 171450"/>
              <a:gd name="connsiteY47" fmla="*/ 9525 h 180974"/>
              <a:gd name="connsiteX48" fmla="*/ 85725 w 171450"/>
              <a:gd name="connsiteY48" fmla="*/ 0 h 18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1450" h="180974">
                <a:moveTo>
                  <a:pt x="72536" y="162210"/>
                </a:moveTo>
                <a:cubicBezTo>
                  <a:pt x="80449" y="164140"/>
                  <a:pt x="90933" y="164211"/>
                  <a:pt x="98923" y="162210"/>
                </a:cubicBezTo>
                <a:cubicBezTo>
                  <a:pt x="105617" y="160534"/>
                  <a:pt x="105617" y="166533"/>
                  <a:pt x="103600" y="172160"/>
                </a:cubicBezTo>
                <a:cubicBezTo>
                  <a:pt x="100950" y="179549"/>
                  <a:pt x="95451" y="180974"/>
                  <a:pt x="85726" y="180974"/>
                </a:cubicBezTo>
                <a:cubicBezTo>
                  <a:pt x="76000" y="180974"/>
                  <a:pt x="70501" y="179549"/>
                  <a:pt x="67852" y="172160"/>
                </a:cubicBezTo>
                <a:cubicBezTo>
                  <a:pt x="65835" y="166534"/>
                  <a:pt x="65835" y="160576"/>
                  <a:pt x="72536" y="162210"/>
                </a:cubicBezTo>
                <a:close/>
                <a:moveTo>
                  <a:pt x="152400" y="76200"/>
                </a:moveTo>
                <a:lnTo>
                  <a:pt x="161925" y="76200"/>
                </a:lnTo>
                <a:cubicBezTo>
                  <a:pt x="167186" y="76200"/>
                  <a:pt x="171450" y="80464"/>
                  <a:pt x="171450" y="85725"/>
                </a:cubicBezTo>
                <a:cubicBezTo>
                  <a:pt x="171450" y="90986"/>
                  <a:pt x="167186" y="95250"/>
                  <a:pt x="161925" y="95250"/>
                </a:cubicBezTo>
                <a:lnTo>
                  <a:pt x="152400" y="95250"/>
                </a:lnTo>
                <a:cubicBezTo>
                  <a:pt x="147139" y="95250"/>
                  <a:pt x="142875" y="90986"/>
                  <a:pt x="142875" y="85725"/>
                </a:cubicBezTo>
                <a:cubicBezTo>
                  <a:pt x="142875" y="80464"/>
                  <a:pt x="147139" y="76200"/>
                  <a:pt x="152400" y="76200"/>
                </a:cubicBezTo>
                <a:close/>
                <a:moveTo>
                  <a:pt x="9525" y="76200"/>
                </a:moveTo>
                <a:lnTo>
                  <a:pt x="19050" y="76200"/>
                </a:lnTo>
                <a:cubicBezTo>
                  <a:pt x="24310" y="76200"/>
                  <a:pt x="28575" y="80464"/>
                  <a:pt x="28575" y="85725"/>
                </a:cubicBezTo>
                <a:cubicBezTo>
                  <a:pt x="28575" y="90986"/>
                  <a:pt x="24310" y="95250"/>
                  <a:pt x="19050" y="95250"/>
                </a:cubicBezTo>
                <a:lnTo>
                  <a:pt x="9525" y="95250"/>
                </a:lnTo>
                <a:cubicBezTo>
                  <a:pt x="4265" y="95250"/>
                  <a:pt x="0" y="90986"/>
                  <a:pt x="0" y="85725"/>
                </a:cubicBezTo>
                <a:cubicBezTo>
                  <a:pt x="0" y="80464"/>
                  <a:pt x="4265" y="76200"/>
                  <a:pt x="9525" y="76200"/>
                </a:cubicBezTo>
                <a:close/>
                <a:moveTo>
                  <a:pt x="85725" y="38100"/>
                </a:moveTo>
                <a:cubicBezTo>
                  <a:pt x="112027" y="38100"/>
                  <a:pt x="133350" y="58671"/>
                  <a:pt x="133350" y="85725"/>
                </a:cubicBezTo>
                <a:cubicBezTo>
                  <a:pt x="133350" y="100663"/>
                  <a:pt x="128144" y="107793"/>
                  <a:pt x="123174" y="114596"/>
                </a:cubicBezTo>
                <a:cubicBezTo>
                  <a:pt x="118639" y="120807"/>
                  <a:pt x="114300" y="126748"/>
                  <a:pt x="114300" y="138113"/>
                </a:cubicBezTo>
                <a:cubicBezTo>
                  <a:pt x="114300" y="147638"/>
                  <a:pt x="104775" y="152400"/>
                  <a:pt x="85725" y="152400"/>
                </a:cubicBezTo>
                <a:cubicBezTo>
                  <a:pt x="66675" y="152400"/>
                  <a:pt x="57150" y="147638"/>
                  <a:pt x="57150" y="138113"/>
                </a:cubicBezTo>
                <a:cubicBezTo>
                  <a:pt x="57150" y="126748"/>
                  <a:pt x="52811" y="120807"/>
                  <a:pt x="48275" y="114596"/>
                </a:cubicBezTo>
                <a:cubicBezTo>
                  <a:pt x="43306" y="107793"/>
                  <a:pt x="38100" y="100663"/>
                  <a:pt x="38100" y="85725"/>
                </a:cubicBezTo>
                <a:cubicBezTo>
                  <a:pt x="38100" y="57150"/>
                  <a:pt x="59422" y="38100"/>
                  <a:pt x="85725" y="38100"/>
                </a:cubicBezTo>
                <a:close/>
                <a:moveTo>
                  <a:pt x="136141" y="21840"/>
                </a:moveTo>
                <a:cubicBezTo>
                  <a:pt x="139860" y="18120"/>
                  <a:pt x="145891" y="18120"/>
                  <a:pt x="149611" y="21840"/>
                </a:cubicBezTo>
                <a:cubicBezTo>
                  <a:pt x="153330" y="25560"/>
                  <a:pt x="153330" y="31590"/>
                  <a:pt x="149611" y="35310"/>
                </a:cubicBezTo>
                <a:lnTo>
                  <a:pt x="140086" y="44835"/>
                </a:lnTo>
                <a:cubicBezTo>
                  <a:pt x="136366" y="48555"/>
                  <a:pt x="130335" y="48555"/>
                  <a:pt x="126616" y="44835"/>
                </a:cubicBezTo>
                <a:cubicBezTo>
                  <a:pt x="122896" y="41115"/>
                  <a:pt x="122896" y="35085"/>
                  <a:pt x="126616" y="31365"/>
                </a:cubicBezTo>
                <a:close/>
                <a:moveTo>
                  <a:pt x="21840" y="21840"/>
                </a:moveTo>
                <a:cubicBezTo>
                  <a:pt x="25560" y="18120"/>
                  <a:pt x="31590" y="18120"/>
                  <a:pt x="35310" y="21840"/>
                </a:cubicBezTo>
                <a:lnTo>
                  <a:pt x="44835" y="31365"/>
                </a:lnTo>
                <a:cubicBezTo>
                  <a:pt x="48555" y="35085"/>
                  <a:pt x="48555" y="41115"/>
                  <a:pt x="44835" y="44835"/>
                </a:cubicBezTo>
                <a:cubicBezTo>
                  <a:pt x="41115" y="48555"/>
                  <a:pt x="35085" y="48555"/>
                  <a:pt x="31365" y="44835"/>
                </a:cubicBezTo>
                <a:lnTo>
                  <a:pt x="21840" y="35310"/>
                </a:lnTo>
                <a:cubicBezTo>
                  <a:pt x="18120" y="31590"/>
                  <a:pt x="18120" y="25560"/>
                  <a:pt x="21840" y="21840"/>
                </a:cubicBezTo>
                <a:close/>
                <a:moveTo>
                  <a:pt x="85725" y="0"/>
                </a:moveTo>
                <a:cubicBezTo>
                  <a:pt x="90986" y="0"/>
                  <a:pt x="95250" y="4265"/>
                  <a:pt x="95250" y="9525"/>
                </a:cubicBezTo>
                <a:lnTo>
                  <a:pt x="95250" y="19050"/>
                </a:lnTo>
                <a:cubicBezTo>
                  <a:pt x="95250" y="24310"/>
                  <a:pt x="90986" y="28575"/>
                  <a:pt x="85725" y="28575"/>
                </a:cubicBezTo>
                <a:cubicBezTo>
                  <a:pt x="80464" y="28575"/>
                  <a:pt x="76200" y="24310"/>
                  <a:pt x="76200" y="19050"/>
                </a:cubicBezTo>
                <a:lnTo>
                  <a:pt x="76200" y="9525"/>
                </a:lnTo>
                <a:cubicBezTo>
                  <a:pt x="76200" y="4265"/>
                  <a:pt x="80464" y="0"/>
                  <a:pt x="85725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460A991C-BA4C-C31C-B948-D5F252D0A83E}"/>
              </a:ext>
            </a:extLst>
          </p:cNvPr>
          <p:cNvSpPr txBox="1"/>
          <p:nvPr userDrawn="1"/>
        </p:nvSpPr>
        <p:spPr>
          <a:xfrm>
            <a:off x="-1691344" y="2506490"/>
            <a:ext cx="1373969" cy="2428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</a:pPr>
            <a:r>
              <a:rPr lang="ru-RU" sz="900" b="0">
                <a:solidFill>
                  <a:schemeClr val="accent1"/>
                </a:solidFill>
              </a:rPr>
              <a:t>Используй эти размеры </a:t>
            </a:r>
            <a:br>
              <a:rPr lang="ru-RU" sz="900" b="0">
                <a:solidFill>
                  <a:schemeClr val="accent1"/>
                </a:solidFill>
              </a:rPr>
            </a:br>
            <a:r>
              <a:rPr lang="ru-RU" sz="900" b="0">
                <a:solidFill>
                  <a:schemeClr val="accent1"/>
                </a:solidFill>
              </a:rPr>
              <a:t>по всей презентации</a:t>
            </a:r>
          </a:p>
        </p:txBody>
      </p:sp>
      <p:grpSp>
        <p:nvGrpSpPr>
          <p:cNvPr id="99" name="Группа 98">
            <a:extLst>
              <a:ext uri="{FF2B5EF4-FFF2-40B4-BE49-F238E27FC236}">
                <a16:creationId xmlns:a16="http://schemas.microsoft.com/office/drawing/2014/main" id="{2E71DD8D-C54C-374A-9710-1CDE851D0C87}"/>
              </a:ext>
            </a:extLst>
          </p:cNvPr>
          <p:cNvGrpSpPr/>
          <p:nvPr userDrawn="1"/>
        </p:nvGrpSpPr>
        <p:grpSpPr>
          <a:xfrm>
            <a:off x="-2138458" y="3080607"/>
            <a:ext cx="1935384" cy="3777393"/>
            <a:chOff x="-2138458" y="3080607"/>
            <a:chExt cx="1935384" cy="3777393"/>
          </a:xfrm>
        </p:grpSpPr>
        <p:grpSp>
          <p:nvGrpSpPr>
            <p:cNvPr id="100" name="Группа 99">
              <a:extLst>
                <a:ext uri="{FF2B5EF4-FFF2-40B4-BE49-F238E27FC236}">
                  <a16:creationId xmlns:a16="http://schemas.microsoft.com/office/drawing/2014/main" id="{B53855B0-DA7A-AE45-A173-614583F73039}"/>
                </a:ext>
              </a:extLst>
            </p:cNvPr>
            <p:cNvGrpSpPr/>
            <p:nvPr userDrawn="1"/>
          </p:nvGrpSpPr>
          <p:grpSpPr>
            <a:xfrm>
              <a:off x="-2131314" y="5782119"/>
              <a:ext cx="1928240" cy="1075881"/>
              <a:chOff x="-2131314" y="5782119"/>
              <a:chExt cx="1928240" cy="1075881"/>
            </a:xfrm>
          </p:grpSpPr>
          <p:sp>
            <p:nvSpPr>
              <p:cNvPr id="126" name="Прямоугольник: скругленные углы 89">
                <a:extLst>
                  <a:ext uri="{FF2B5EF4-FFF2-40B4-BE49-F238E27FC236}">
                    <a16:creationId xmlns:a16="http://schemas.microsoft.com/office/drawing/2014/main" id="{7159AD1D-C09D-8647-A4AA-10E7BFB4D65C}"/>
                  </a:ext>
                </a:extLst>
              </p:cNvPr>
              <p:cNvSpPr/>
              <p:nvPr/>
            </p:nvSpPr>
            <p:spPr>
              <a:xfrm>
                <a:off x="-2131314" y="5782119"/>
                <a:ext cx="1928240" cy="1075881"/>
              </a:xfrm>
              <a:prstGeom prst="roundRect">
                <a:avLst>
                  <a:gd name="adj" fmla="val 12985"/>
                </a:avLst>
              </a:prstGeom>
              <a:solidFill>
                <a:schemeClr val="bg1">
                  <a:alpha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27" name="TextBox 126">
                <a:extLst>
                  <a:ext uri="{FF2B5EF4-FFF2-40B4-BE49-F238E27FC236}">
                    <a16:creationId xmlns:a16="http://schemas.microsoft.com/office/drawing/2014/main" id="{E33568B0-11B5-1141-8702-FA715885AE3C}"/>
                  </a:ext>
                </a:extLst>
              </p:cNvPr>
              <p:cNvSpPr txBox="1"/>
              <p:nvPr/>
            </p:nvSpPr>
            <p:spPr>
              <a:xfrm>
                <a:off x="-1788338" y="5868204"/>
                <a:ext cx="1155882" cy="151095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pPr algn="l">
                  <a:lnSpc>
                    <a:spcPct val="90000"/>
                  </a:lnSpc>
                </a:pPr>
                <a:r>
                  <a:rPr lang="ru-RU" sz="1000" b="1">
                    <a:solidFill>
                      <a:schemeClr val="accent1"/>
                    </a:solidFill>
                  </a:rPr>
                  <a:t>Шаблон </a:t>
                </a:r>
                <a:r>
                  <a:rPr lang="en-US" sz="1000" b="1">
                    <a:solidFill>
                      <a:schemeClr val="accent1"/>
                    </a:solidFill>
                  </a:rPr>
                  <a:t>Ozon</a:t>
                </a:r>
                <a:endParaRPr lang="ru-RU" sz="1000" b="1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28" name="Рисунок 93">
                <a:extLst>
                  <a:ext uri="{FF2B5EF4-FFF2-40B4-BE49-F238E27FC236}">
                    <a16:creationId xmlns:a16="http://schemas.microsoft.com/office/drawing/2014/main" id="{40273014-DBDC-8E4F-B059-5B0DD4EC34FF}"/>
                  </a:ext>
                </a:extLst>
              </p:cNvPr>
              <p:cNvSpPr/>
              <p:nvPr/>
            </p:nvSpPr>
            <p:spPr>
              <a:xfrm>
                <a:off x="-2004963" y="5853908"/>
                <a:ext cx="161099" cy="161099"/>
              </a:xfrm>
              <a:custGeom>
                <a:avLst/>
                <a:gdLst>
                  <a:gd name="connsiteX0" fmla="*/ 85725 w 171450"/>
                  <a:gd name="connsiteY0" fmla="*/ 171450 h 171450"/>
                  <a:gd name="connsiteX1" fmla="*/ 171450 w 171450"/>
                  <a:gd name="connsiteY1" fmla="*/ 85725 h 171450"/>
                  <a:gd name="connsiteX2" fmla="*/ 85725 w 171450"/>
                  <a:gd name="connsiteY2" fmla="*/ 0 h 171450"/>
                  <a:gd name="connsiteX3" fmla="*/ 0 w 171450"/>
                  <a:gd name="connsiteY3" fmla="*/ 85725 h 171450"/>
                  <a:gd name="connsiteX4" fmla="*/ 85725 w 171450"/>
                  <a:gd name="connsiteY4" fmla="*/ 171450 h 171450"/>
                  <a:gd name="connsiteX5" fmla="*/ 130560 w 171450"/>
                  <a:gd name="connsiteY5" fmla="*/ 73410 h 171450"/>
                  <a:gd name="connsiteX6" fmla="*/ 82935 w 171450"/>
                  <a:gd name="connsiteY6" fmla="*/ 121035 h 171450"/>
                  <a:gd name="connsiteX7" fmla="*/ 69465 w 171450"/>
                  <a:gd name="connsiteY7" fmla="*/ 121035 h 171450"/>
                  <a:gd name="connsiteX8" fmla="*/ 40890 w 171450"/>
                  <a:gd name="connsiteY8" fmla="*/ 92460 h 171450"/>
                  <a:gd name="connsiteX9" fmla="*/ 40890 w 171450"/>
                  <a:gd name="connsiteY9" fmla="*/ 78990 h 171450"/>
                  <a:gd name="connsiteX10" fmla="*/ 54360 w 171450"/>
                  <a:gd name="connsiteY10" fmla="*/ 78990 h 171450"/>
                  <a:gd name="connsiteX11" fmla="*/ 76200 w 171450"/>
                  <a:gd name="connsiteY11" fmla="*/ 100830 h 171450"/>
                  <a:gd name="connsiteX12" fmla="*/ 117090 w 171450"/>
                  <a:gd name="connsiteY12" fmla="*/ 59940 h 171450"/>
                  <a:gd name="connsiteX13" fmla="*/ 130560 w 171450"/>
                  <a:gd name="connsiteY13" fmla="*/ 59940 h 171450"/>
                  <a:gd name="connsiteX14" fmla="*/ 130560 w 171450"/>
                  <a:gd name="connsiteY14" fmla="*/ 73410 h 171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71450" h="171450">
                    <a:moveTo>
                      <a:pt x="85725" y="171450"/>
                    </a:moveTo>
                    <a:cubicBezTo>
                      <a:pt x="138915" y="171450"/>
                      <a:pt x="171450" y="138915"/>
                      <a:pt x="171450" y="85725"/>
                    </a:cubicBezTo>
                    <a:cubicBezTo>
                      <a:pt x="171450" y="32535"/>
                      <a:pt x="138915" y="0"/>
                      <a:pt x="85725" y="0"/>
                    </a:cubicBezTo>
                    <a:cubicBezTo>
                      <a:pt x="32535" y="0"/>
                      <a:pt x="0" y="32535"/>
                      <a:pt x="0" y="85725"/>
                    </a:cubicBezTo>
                    <a:cubicBezTo>
                      <a:pt x="0" y="138915"/>
                      <a:pt x="32535" y="171450"/>
                      <a:pt x="85725" y="171450"/>
                    </a:cubicBezTo>
                    <a:close/>
                    <a:moveTo>
                      <a:pt x="130560" y="73410"/>
                    </a:moveTo>
                    <a:lnTo>
                      <a:pt x="82935" y="121035"/>
                    </a:lnTo>
                    <a:cubicBezTo>
                      <a:pt x="79216" y="124755"/>
                      <a:pt x="73184" y="124755"/>
                      <a:pt x="69465" y="121035"/>
                    </a:cubicBezTo>
                    <a:lnTo>
                      <a:pt x="40890" y="92460"/>
                    </a:lnTo>
                    <a:cubicBezTo>
                      <a:pt x="37170" y="88741"/>
                      <a:pt x="37170" y="82709"/>
                      <a:pt x="40890" y="78990"/>
                    </a:cubicBezTo>
                    <a:cubicBezTo>
                      <a:pt x="44610" y="75270"/>
                      <a:pt x="50640" y="75270"/>
                      <a:pt x="54360" y="78990"/>
                    </a:cubicBezTo>
                    <a:lnTo>
                      <a:pt x="76200" y="100830"/>
                    </a:lnTo>
                    <a:lnTo>
                      <a:pt x="117090" y="59940"/>
                    </a:lnTo>
                    <a:cubicBezTo>
                      <a:pt x="120809" y="56220"/>
                      <a:pt x="126841" y="56220"/>
                      <a:pt x="130560" y="59940"/>
                    </a:cubicBezTo>
                    <a:cubicBezTo>
                      <a:pt x="134280" y="63660"/>
                      <a:pt x="134280" y="69691"/>
                      <a:pt x="130560" y="734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29" name="TextBox 128">
                <a:extLst>
                  <a:ext uri="{FF2B5EF4-FFF2-40B4-BE49-F238E27FC236}">
                    <a16:creationId xmlns:a16="http://schemas.microsoft.com/office/drawing/2014/main" id="{BE28EB6D-6A7C-A94F-821E-17CA0CB207E6}"/>
                  </a:ext>
                </a:extLst>
              </p:cNvPr>
              <p:cNvSpPr txBox="1"/>
              <p:nvPr/>
            </p:nvSpPr>
            <p:spPr>
              <a:xfrm>
                <a:off x="-2004962" y="6072106"/>
                <a:ext cx="1687587" cy="60024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l">
                  <a:lnSpc>
                    <a:spcPct val="110000"/>
                  </a:lnSpc>
                </a:pPr>
                <a:r>
                  <a:rPr lang="ru-RU" sz="900" spc="-30" baseline="0">
                    <a:solidFill>
                      <a:schemeClr val="tx2"/>
                    </a:solidFill>
                  </a:rPr>
                  <a:t>Если нужно больше материалов: </a:t>
                </a:r>
                <a:r>
                  <a:rPr lang="ru-RU" sz="900" b="1" spc="-30" baseline="0">
                    <a:solidFill>
                      <a:schemeClr val="tx2"/>
                    </a:solidFill>
                  </a:rPr>
                  <a:t>правое меню </a:t>
                </a:r>
                <a:r>
                  <a:rPr lang="en-US" sz="900" b="1" spc="-30" baseline="0">
                    <a:solidFill>
                      <a:schemeClr val="tx2"/>
                    </a:solidFill>
                  </a:rPr>
                  <a:t>Staff — Brand </a:t>
                </a:r>
                <a:r>
                  <a:rPr lang="ru-RU" sz="900" b="1" spc="-30" baseline="0">
                    <a:solidFill>
                      <a:schemeClr val="tx2"/>
                    </a:solidFill>
                  </a:rPr>
                  <a:t>— Всё для презентаций. </a:t>
                </a:r>
                <a:r>
                  <a:rPr lang="ru-RU" sz="900" b="0" spc="-30" baseline="0">
                    <a:solidFill>
                      <a:schemeClr val="tx2"/>
                    </a:solidFill>
                  </a:rPr>
                  <a:t>Или пиши нам на </a:t>
                </a:r>
                <a:r>
                  <a:rPr lang="en-US" sz="900" b="0" spc="-30" baseline="0">
                    <a:solidFill>
                      <a:schemeClr val="tx2"/>
                    </a:solidFill>
                  </a:rPr>
                  <a:t>presentations@ozon.ru.</a:t>
                </a:r>
                <a:r>
                  <a:rPr lang="ru-RU" sz="900" b="0" spc="-30" baseline="0">
                    <a:solidFill>
                      <a:schemeClr val="tx2"/>
                    </a:solidFill>
                  </a:rPr>
                  <a:t> </a:t>
                </a:r>
              </a:p>
            </p:txBody>
          </p:sp>
        </p:grpSp>
        <p:grpSp>
          <p:nvGrpSpPr>
            <p:cNvPr id="101" name="Группа 100">
              <a:extLst>
                <a:ext uri="{FF2B5EF4-FFF2-40B4-BE49-F238E27FC236}">
                  <a16:creationId xmlns:a16="http://schemas.microsoft.com/office/drawing/2014/main" id="{6F63AD88-FFF4-B441-A69B-64E098AD1010}"/>
                </a:ext>
              </a:extLst>
            </p:cNvPr>
            <p:cNvGrpSpPr/>
            <p:nvPr userDrawn="1"/>
          </p:nvGrpSpPr>
          <p:grpSpPr>
            <a:xfrm>
              <a:off x="-2138458" y="3080607"/>
              <a:ext cx="1928241" cy="2523683"/>
              <a:chOff x="-2138458" y="3070447"/>
              <a:chExt cx="1928241" cy="2523683"/>
            </a:xfrm>
          </p:grpSpPr>
          <p:sp>
            <p:nvSpPr>
              <p:cNvPr id="102" name="Прямоугольник: скругленные углы 57">
                <a:extLst>
                  <a:ext uri="{FF2B5EF4-FFF2-40B4-BE49-F238E27FC236}">
                    <a16:creationId xmlns:a16="http://schemas.microsoft.com/office/drawing/2014/main" id="{EE1DB3FB-2874-5C4C-A609-057380990A72}"/>
                  </a:ext>
                </a:extLst>
              </p:cNvPr>
              <p:cNvSpPr/>
              <p:nvPr/>
            </p:nvSpPr>
            <p:spPr>
              <a:xfrm>
                <a:off x="-2138458" y="3125312"/>
                <a:ext cx="1928241" cy="2468818"/>
              </a:xfrm>
              <a:prstGeom prst="roundRect">
                <a:avLst>
                  <a:gd name="adj" fmla="val 5926"/>
                </a:avLst>
              </a:prstGeom>
              <a:solidFill>
                <a:schemeClr val="bg1">
                  <a:alpha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03" name="Прямоугольник: скругленные верхние углы 58">
                <a:extLst>
                  <a:ext uri="{FF2B5EF4-FFF2-40B4-BE49-F238E27FC236}">
                    <a16:creationId xmlns:a16="http://schemas.microsoft.com/office/drawing/2014/main" id="{EE39FAF2-0900-DF43-8015-C2169FC456FD}"/>
                  </a:ext>
                </a:extLst>
              </p:cNvPr>
              <p:cNvSpPr/>
              <p:nvPr/>
            </p:nvSpPr>
            <p:spPr>
              <a:xfrm>
                <a:off x="-2136930" y="3070447"/>
                <a:ext cx="1926713" cy="2880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accent6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36000" rtlCol="0" anchor="ctr"/>
              <a:lstStyle/>
              <a:p>
                <a:pPr algn="ctr"/>
                <a:r>
                  <a:rPr lang="ru-RU" sz="1100" b="1">
                    <a:solidFill>
                      <a:schemeClr val="tx1"/>
                    </a:solidFill>
                  </a:rPr>
                  <a:t>Цвета </a:t>
                </a:r>
                <a:r>
                  <a:rPr lang="en-US" sz="1100" b="1">
                    <a:solidFill>
                      <a:schemeClr val="tx1"/>
                    </a:solidFill>
                  </a:rPr>
                  <a:t>Ozon</a:t>
                </a:r>
                <a:endParaRPr lang="ru-RU" sz="1100" b="1">
                  <a:solidFill>
                    <a:schemeClr val="tx1"/>
                  </a:solidFill>
                </a:endParaRPr>
              </a:p>
            </p:txBody>
          </p:sp>
          <p:sp>
            <p:nvSpPr>
              <p:cNvPr id="104" name="TextBox 103">
                <a:extLst>
                  <a:ext uri="{FF2B5EF4-FFF2-40B4-BE49-F238E27FC236}">
                    <a16:creationId xmlns:a16="http://schemas.microsoft.com/office/drawing/2014/main" id="{F2D0638E-C82E-AA4F-9A3C-0F0C4889B269}"/>
                  </a:ext>
                </a:extLst>
              </p:cNvPr>
              <p:cNvSpPr txBox="1"/>
              <p:nvPr/>
            </p:nvSpPr>
            <p:spPr>
              <a:xfrm>
                <a:off x="-2003446" y="3412239"/>
                <a:ext cx="1638525" cy="17162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l"/>
                <a:r>
                  <a:rPr lang="ru-RU" sz="1000" dirty="0"/>
                  <a:t>Цвет текста </a:t>
                </a:r>
              </a:p>
            </p:txBody>
          </p:sp>
          <p:sp>
            <p:nvSpPr>
              <p:cNvPr id="105" name="Прямоугольник: скругленные углы 61">
                <a:extLst>
                  <a:ext uri="{FF2B5EF4-FFF2-40B4-BE49-F238E27FC236}">
                    <a16:creationId xmlns:a16="http://schemas.microsoft.com/office/drawing/2014/main" id="{E7C333EA-AFEE-0042-929F-A50583107B88}"/>
                  </a:ext>
                </a:extLst>
              </p:cNvPr>
              <p:cNvSpPr/>
              <p:nvPr userDrawn="1"/>
            </p:nvSpPr>
            <p:spPr>
              <a:xfrm>
                <a:off x="-2004344" y="3611632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tx1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06" name="Прямоугольник: скругленные углы 62">
                <a:extLst>
                  <a:ext uri="{FF2B5EF4-FFF2-40B4-BE49-F238E27FC236}">
                    <a16:creationId xmlns:a16="http://schemas.microsoft.com/office/drawing/2014/main" id="{A6D201BF-E90D-9143-84E4-E1844FC5F0A1}"/>
                  </a:ext>
                </a:extLst>
              </p:cNvPr>
              <p:cNvSpPr/>
              <p:nvPr/>
            </p:nvSpPr>
            <p:spPr>
              <a:xfrm>
                <a:off x="-1738339" y="3611632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accent6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07" name="Прямоугольник: скругленные углы 63">
                <a:extLst>
                  <a:ext uri="{FF2B5EF4-FFF2-40B4-BE49-F238E27FC236}">
                    <a16:creationId xmlns:a16="http://schemas.microsoft.com/office/drawing/2014/main" id="{E0610E90-A29F-5143-8FC6-FC430BFB8135}"/>
                  </a:ext>
                </a:extLst>
              </p:cNvPr>
              <p:cNvSpPr/>
              <p:nvPr/>
            </p:nvSpPr>
            <p:spPr>
              <a:xfrm>
                <a:off x="-1739900" y="4646897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accent3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08" name="Прямоугольник: скругленные углы 68">
                <a:extLst>
                  <a:ext uri="{FF2B5EF4-FFF2-40B4-BE49-F238E27FC236}">
                    <a16:creationId xmlns:a16="http://schemas.microsoft.com/office/drawing/2014/main" id="{F532578D-C6A7-3E41-AC25-F7E0C266A6F6}"/>
                  </a:ext>
                </a:extLst>
              </p:cNvPr>
              <p:cNvSpPr/>
              <p:nvPr/>
            </p:nvSpPr>
            <p:spPr>
              <a:xfrm>
                <a:off x="-2004963" y="4646897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accent1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09" name="TextBox 108">
                <a:extLst>
                  <a:ext uri="{FF2B5EF4-FFF2-40B4-BE49-F238E27FC236}">
                    <a16:creationId xmlns:a16="http://schemas.microsoft.com/office/drawing/2014/main" id="{D3E7CF2D-4E99-D648-9065-91ED8253D14D}"/>
                  </a:ext>
                </a:extLst>
              </p:cNvPr>
              <p:cNvSpPr txBox="1"/>
              <p:nvPr/>
            </p:nvSpPr>
            <p:spPr>
              <a:xfrm>
                <a:off x="-2003446" y="3935644"/>
                <a:ext cx="1638525" cy="17162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l"/>
                <a:r>
                  <a:rPr lang="ru-RU" sz="1000"/>
                  <a:t>Цвет больших плашек</a:t>
                </a:r>
              </a:p>
            </p:txBody>
          </p:sp>
          <p:sp>
            <p:nvSpPr>
              <p:cNvPr id="110" name="Прямоугольник: скругленные углы 70">
                <a:extLst>
                  <a:ext uri="{FF2B5EF4-FFF2-40B4-BE49-F238E27FC236}">
                    <a16:creationId xmlns:a16="http://schemas.microsoft.com/office/drawing/2014/main" id="{D7748610-2B67-AE4A-87D5-AD06019CD507}"/>
                  </a:ext>
                </a:extLst>
              </p:cNvPr>
              <p:cNvSpPr/>
              <p:nvPr/>
            </p:nvSpPr>
            <p:spPr>
              <a:xfrm>
                <a:off x="-1209774" y="4131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accent2">
                  <a:lumMod val="20000"/>
                  <a:lumOff val="80000"/>
                </a:schemeClr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11" name="Прямоугольник: скругленные углы 71">
                <a:extLst>
                  <a:ext uri="{FF2B5EF4-FFF2-40B4-BE49-F238E27FC236}">
                    <a16:creationId xmlns:a16="http://schemas.microsoft.com/office/drawing/2014/main" id="{CB11B6E2-D967-B04C-8A33-92F3ECE14FD5}"/>
                  </a:ext>
                </a:extLst>
              </p:cNvPr>
              <p:cNvSpPr/>
              <p:nvPr/>
            </p:nvSpPr>
            <p:spPr>
              <a:xfrm>
                <a:off x="-2004963" y="4131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accent6">
                  <a:lumMod val="20000"/>
                  <a:lumOff val="80000"/>
                </a:schemeClr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12" name="Прямоугольник: скругленные углы 74">
                <a:extLst>
                  <a:ext uri="{FF2B5EF4-FFF2-40B4-BE49-F238E27FC236}">
                    <a16:creationId xmlns:a16="http://schemas.microsoft.com/office/drawing/2014/main" id="{BCB11055-11DA-3247-9ACA-197DD2E71500}"/>
                  </a:ext>
                </a:extLst>
              </p:cNvPr>
              <p:cNvSpPr/>
              <p:nvPr/>
            </p:nvSpPr>
            <p:spPr>
              <a:xfrm>
                <a:off x="-1475201" y="4131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accent5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13" name="TextBox 112">
                <a:extLst>
                  <a:ext uri="{FF2B5EF4-FFF2-40B4-BE49-F238E27FC236}">
                    <a16:creationId xmlns:a16="http://schemas.microsoft.com/office/drawing/2014/main" id="{47F8CA85-9D43-394C-9685-2939CB8BA4C0}"/>
                  </a:ext>
                </a:extLst>
              </p:cNvPr>
              <p:cNvSpPr txBox="1"/>
              <p:nvPr/>
            </p:nvSpPr>
            <p:spPr>
              <a:xfrm>
                <a:off x="-2003446" y="4451492"/>
                <a:ext cx="1638525" cy="17162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l"/>
                <a:r>
                  <a:rPr lang="ru-RU" sz="1000"/>
                  <a:t>Цвета маленьких плашек</a:t>
                </a:r>
              </a:p>
            </p:txBody>
          </p:sp>
          <p:sp>
            <p:nvSpPr>
              <p:cNvPr id="114" name="Прямоугольник: скругленные углы 82">
                <a:extLst>
                  <a:ext uri="{FF2B5EF4-FFF2-40B4-BE49-F238E27FC236}">
                    <a16:creationId xmlns:a16="http://schemas.microsoft.com/office/drawing/2014/main" id="{717F8812-6875-1D45-994E-BB339312194C}"/>
                  </a:ext>
                </a:extLst>
              </p:cNvPr>
              <p:cNvSpPr/>
              <p:nvPr userDrawn="1"/>
            </p:nvSpPr>
            <p:spPr>
              <a:xfrm>
                <a:off x="-1739900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B7EDC9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15" name="Прямоугольник: скругленные углы 83">
                <a:extLst>
                  <a:ext uri="{FF2B5EF4-FFF2-40B4-BE49-F238E27FC236}">
                    <a16:creationId xmlns:a16="http://schemas.microsoft.com/office/drawing/2014/main" id="{E0AECB4F-8351-794D-93C5-0FC56AFD1D44}"/>
                  </a:ext>
                </a:extLst>
              </p:cNvPr>
              <p:cNvSpPr/>
              <p:nvPr/>
            </p:nvSpPr>
            <p:spPr>
              <a:xfrm>
                <a:off x="-1474837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FFA800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16" name="Прямоугольник: скругленные углы 84">
                <a:extLst>
                  <a:ext uri="{FF2B5EF4-FFF2-40B4-BE49-F238E27FC236}">
                    <a16:creationId xmlns:a16="http://schemas.microsoft.com/office/drawing/2014/main" id="{84F07328-B7E0-5447-A55B-C1A2D8DB7C2A}"/>
                  </a:ext>
                </a:extLst>
              </p:cNvPr>
              <p:cNvSpPr/>
              <p:nvPr/>
            </p:nvSpPr>
            <p:spPr>
              <a:xfrm>
                <a:off x="-2004963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10C44C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17" name="TextBox 116">
                <a:extLst>
                  <a:ext uri="{FF2B5EF4-FFF2-40B4-BE49-F238E27FC236}">
                    <a16:creationId xmlns:a16="http://schemas.microsoft.com/office/drawing/2014/main" id="{20D6D75E-101A-6A4F-9178-9EFE8CC6D9A5}"/>
                  </a:ext>
                </a:extLst>
              </p:cNvPr>
              <p:cNvSpPr txBox="1"/>
              <p:nvPr/>
            </p:nvSpPr>
            <p:spPr>
              <a:xfrm>
                <a:off x="-2003446" y="4973480"/>
                <a:ext cx="1638525" cy="17162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l"/>
                <a:r>
                  <a:rPr lang="ru-RU" sz="900"/>
                  <a:t>Рост / падение показателей</a:t>
                </a:r>
              </a:p>
            </p:txBody>
          </p:sp>
          <p:sp>
            <p:nvSpPr>
              <p:cNvPr id="118" name="Прямоугольник: скругленные углы 13">
                <a:extLst>
                  <a:ext uri="{FF2B5EF4-FFF2-40B4-BE49-F238E27FC236}">
                    <a16:creationId xmlns:a16="http://schemas.microsoft.com/office/drawing/2014/main" id="{2C35EE01-2C3A-4C4A-90FA-C23A0EB4423A}"/>
                  </a:ext>
                </a:extLst>
              </p:cNvPr>
              <p:cNvSpPr/>
              <p:nvPr/>
            </p:nvSpPr>
            <p:spPr>
              <a:xfrm>
                <a:off x="-944711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F53C14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19" name="Прямоугольник: скругленные углы 14">
                <a:extLst>
                  <a:ext uri="{FF2B5EF4-FFF2-40B4-BE49-F238E27FC236}">
                    <a16:creationId xmlns:a16="http://schemas.microsoft.com/office/drawing/2014/main" id="{F23846F3-3718-534D-AF86-698E5EC4412D}"/>
                  </a:ext>
                </a:extLst>
              </p:cNvPr>
              <p:cNvSpPr/>
              <p:nvPr/>
            </p:nvSpPr>
            <p:spPr>
              <a:xfrm>
                <a:off x="-679648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FCC4B8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20" name="Прямоугольник: скругленные углы 15">
                <a:extLst>
                  <a:ext uri="{FF2B5EF4-FFF2-40B4-BE49-F238E27FC236}">
                    <a16:creationId xmlns:a16="http://schemas.microsoft.com/office/drawing/2014/main" id="{3A97CAF1-689C-BF48-871E-BBB713209171}"/>
                  </a:ext>
                </a:extLst>
              </p:cNvPr>
              <p:cNvSpPr/>
              <p:nvPr/>
            </p:nvSpPr>
            <p:spPr>
              <a:xfrm>
                <a:off x="-1209774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FFE5B2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21" name="Прямоугольник: скругленные углы 20">
                <a:extLst>
                  <a:ext uri="{FF2B5EF4-FFF2-40B4-BE49-F238E27FC236}">
                    <a16:creationId xmlns:a16="http://schemas.microsoft.com/office/drawing/2014/main" id="{4B95C69C-1592-E444-B3B7-F89C4AB80847}"/>
                  </a:ext>
                </a:extLst>
              </p:cNvPr>
              <p:cNvSpPr/>
              <p:nvPr userDrawn="1"/>
            </p:nvSpPr>
            <p:spPr>
              <a:xfrm>
                <a:off x="-944711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F53C14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22" name="Прямоугольник: скругленные углы 21">
                <a:extLst>
                  <a:ext uri="{FF2B5EF4-FFF2-40B4-BE49-F238E27FC236}">
                    <a16:creationId xmlns:a16="http://schemas.microsoft.com/office/drawing/2014/main" id="{4194A635-0E0B-C34A-A687-6A089157AD69}"/>
                  </a:ext>
                </a:extLst>
              </p:cNvPr>
              <p:cNvSpPr/>
              <p:nvPr userDrawn="1"/>
            </p:nvSpPr>
            <p:spPr>
              <a:xfrm>
                <a:off x="-679648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FCC4B8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23" name="Прямоугольник: скругленные углы 22">
                <a:extLst>
                  <a:ext uri="{FF2B5EF4-FFF2-40B4-BE49-F238E27FC236}">
                    <a16:creationId xmlns:a16="http://schemas.microsoft.com/office/drawing/2014/main" id="{FAA25E15-7636-6B4F-981E-0AA4C3F0B291}"/>
                  </a:ext>
                </a:extLst>
              </p:cNvPr>
              <p:cNvSpPr/>
              <p:nvPr userDrawn="1"/>
            </p:nvSpPr>
            <p:spPr>
              <a:xfrm>
                <a:off x="-1209774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FFE5B2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24" name="Прямоугольник: скругленные углы 79">
                <a:extLst>
                  <a:ext uri="{FF2B5EF4-FFF2-40B4-BE49-F238E27FC236}">
                    <a16:creationId xmlns:a16="http://schemas.microsoft.com/office/drawing/2014/main" id="{204BEF15-BA73-EA44-B155-CCBAB0CCEAA0}"/>
                  </a:ext>
                </a:extLst>
              </p:cNvPr>
              <p:cNvSpPr/>
              <p:nvPr userDrawn="1"/>
            </p:nvSpPr>
            <p:spPr>
              <a:xfrm>
                <a:off x="-1735356" y="4136975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bg1"/>
              </a:solidFill>
              <a:ln w="12700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25" name="Прямоугольник: скругленные углы 63">
                <a:extLst>
                  <a:ext uri="{FF2B5EF4-FFF2-40B4-BE49-F238E27FC236}">
                    <a16:creationId xmlns:a16="http://schemas.microsoft.com/office/drawing/2014/main" id="{87F68CB0-297D-CC43-BA1A-5FBBF3A6CE17}"/>
                  </a:ext>
                </a:extLst>
              </p:cNvPr>
              <p:cNvSpPr/>
              <p:nvPr userDrawn="1"/>
            </p:nvSpPr>
            <p:spPr>
              <a:xfrm>
                <a:off x="-1476289" y="4646897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accent2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9568400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_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A8EF553D-F84B-BFE0-8F93-264A1FB7A89C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549398" y="883609"/>
            <a:ext cx="2131200" cy="473348"/>
            <a:chOff x="8489504" y="910877"/>
            <a:chExt cx="2734509" cy="606592"/>
          </a:xfrm>
          <a:solidFill>
            <a:schemeClr val="bg1"/>
          </a:solidFill>
        </p:grpSpPr>
        <p:sp>
          <p:nvSpPr>
            <p:cNvPr id="4" name="Полилиния 3">
              <a:extLst>
                <a:ext uri="{FF2B5EF4-FFF2-40B4-BE49-F238E27FC236}">
                  <a16:creationId xmlns:a16="http://schemas.microsoft.com/office/drawing/2014/main" id="{77DEBC73-46CD-E988-59D6-8D2A021E3B62}"/>
                </a:ext>
              </a:extLst>
            </p:cNvPr>
            <p:cNvSpPr/>
            <p:nvPr/>
          </p:nvSpPr>
          <p:spPr>
            <a:xfrm>
              <a:off x="10064626" y="910877"/>
              <a:ext cx="1159387" cy="606592"/>
            </a:xfrm>
            <a:custGeom>
              <a:avLst/>
              <a:gdLst>
                <a:gd name="connsiteX0" fmla="*/ 0 w 1159387"/>
                <a:gd name="connsiteY0" fmla="*/ 178242 h 606592"/>
                <a:gd name="connsiteX1" fmla="*/ 0 w 1159387"/>
                <a:gd name="connsiteY1" fmla="*/ 237024 h 606592"/>
                <a:gd name="connsiteX2" fmla="*/ 9135 w 1159387"/>
                <a:gd name="connsiteY2" fmla="*/ 246098 h 606592"/>
                <a:gd name="connsiteX3" fmla="*/ 30214 w 1159387"/>
                <a:gd name="connsiteY3" fmla="*/ 250009 h 606592"/>
                <a:gd name="connsiteX4" fmla="*/ 32261 w 1159387"/>
                <a:gd name="connsiteY4" fmla="*/ 250607 h 606592"/>
                <a:gd name="connsiteX5" fmla="*/ 85030 w 1159387"/>
                <a:gd name="connsiteY5" fmla="*/ 319338 h 606592"/>
                <a:gd name="connsiteX6" fmla="*/ 85030 w 1159387"/>
                <a:gd name="connsiteY6" fmla="*/ 483817 h 606592"/>
                <a:gd name="connsiteX7" fmla="*/ 120863 w 1159387"/>
                <a:gd name="connsiteY7" fmla="*/ 570989 h 606592"/>
                <a:gd name="connsiteX8" fmla="*/ 205874 w 1159387"/>
                <a:gd name="connsiteY8" fmla="*/ 606364 h 606592"/>
                <a:gd name="connsiteX9" fmla="*/ 207284 w 1159387"/>
                <a:gd name="connsiteY9" fmla="*/ 606364 h 606592"/>
                <a:gd name="connsiteX10" fmla="*/ 235964 w 1159387"/>
                <a:gd name="connsiteY10" fmla="*/ 606364 h 606592"/>
                <a:gd name="connsiteX11" fmla="*/ 247356 w 1159387"/>
                <a:gd name="connsiteY11" fmla="*/ 593268 h 606592"/>
                <a:gd name="connsiteX12" fmla="*/ 247337 w 1159387"/>
                <a:gd name="connsiteY12" fmla="*/ 563750 h 606592"/>
                <a:gd name="connsiteX13" fmla="*/ 247337 w 1159387"/>
                <a:gd name="connsiteY13" fmla="*/ 541928 h 606592"/>
                <a:gd name="connsiteX14" fmla="*/ 236802 w 1159387"/>
                <a:gd name="connsiteY14" fmla="*/ 530565 h 606592"/>
                <a:gd name="connsiteX15" fmla="*/ 197454 w 1159387"/>
                <a:gd name="connsiteY15" fmla="*/ 530527 h 606592"/>
                <a:gd name="connsiteX16" fmla="*/ 159506 w 1159387"/>
                <a:gd name="connsiteY16" fmla="*/ 492285 h 606592"/>
                <a:gd name="connsiteX17" fmla="*/ 159506 w 1159387"/>
                <a:gd name="connsiteY17" fmla="*/ 403084 h 606592"/>
                <a:gd name="connsiteX18" fmla="*/ 159506 w 1159387"/>
                <a:gd name="connsiteY18" fmla="*/ 316772 h 606592"/>
                <a:gd name="connsiteX19" fmla="*/ 100365 w 1159387"/>
                <a:gd name="connsiteY19" fmla="*/ 207274 h 606592"/>
                <a:gd name="connsiteX20" fmla="*/ 99080 w 1159387"/>
                <a:gd name="connsiteY20" fmla="*/ 206423 h 606592"/>
                <a:gd name="connsiteX21" fmla="*/ 100356 w 1159387"/>
                <a:gd name="connsiteY21" fmla="*/ 205547 h 606592"/>
                <a:gd name="connsiteX22" fmla="*/ 159506 w 1159387"/>
                <a:gd name="connsiteY22" fmla="*/ 90665 h 606592"/>
                <a:gd name="connsiteX23" fmla="*/ 159506 w 1159387"/>
                <a:gd name="connsiteY23" fmla="*/ 10992 h 606592"/>
                <a:gd name="connsiteX24" fmla="*/ 148962 w 1159387"/>
                <a:gd name="connsiteY24" fmla="*/ 0 h 606592"/>
                <a:gd name="connsiteX25" fmla="*/ 95565 w 1159387"/>
                <a:gd name="connsiteY25" fmla="*/ 0 h 606592"/>
                <a:gd name="connsiteX26" fmla="*/ 85030 w 1159387"/>
                <a:gd name="connsiteY26" fmla="*/ 10992 h 606592"/>
                <a:gd name="connsiteX27" fmla="*/ 85030 w 1159387"/>
                <a:gd name="connsiteY27" fmla="*/ 90665 h 606592"/>
                <a:gd name="connsiteX28" fmla="*/ 32366 w 1159387"/>
                <a:gd name="connsiteY28" fmla="*/ 162761 h 606592"/>
                <a:gd name="connsiteX29" fmla="*/ 30214 w 1159387"/>
                <a:gd name="connsiteY29" fmla="*/ 163402 h 606592"/>
                <a:gd name="connsiteX30" fmla="*/ 9135 w 1159387"/>
                <a:gd name="connsiteY30" fmla="*/ 167302 h 606592"/>
                <a:gd name="connsiteX31" fmla="*/ 0 w 1159387"/>
                <a:gd name="connsiteY31" fmla="*/ 178242 h 606592"/>
                <a:gd name="connsiteX32" fmla="*/ 933768 w 1159387"/>
                <a:gd name="connsiteY32" fmla="*/ 313343 h 606592"/>
                <a:gd name="connsiteX33" fmla="*/ 933768 w 1159387"/>
                <a:gd name="connsiteY33" fmla="*/ 468558 h 606592"/>
                <a:gd name="connsiteX34" fmla="*/ 930749 w 1159387"/>
                <a:gd name="connsiteY34" fmla="*/ 475902 h 606592"/>
                <a:gd name="connsiteX35" fmla="*/ 923472 w 1159387"/>
                <a:gd name="connsiteY35" fmla="*/ 478940 h 606592"/>
                <a:gd name="connsiteX36" fmla="*/ 869627 w 1159387"/>
                <a:gd name="connsiteY36" fmla="*/ 478902 h 606592"/>
                <a:gd name="connsiteX37" fmla="*/ 859349 w 1159387"/>
                <a:gd name="connsiteY37" fmla="*/ 468530 h 606592"/>
                <a:gd name="connsiteX38" fmla="*/ 859349 w 1159387"/>
                <a:gd name="connsiteY38" fmla="*/ 10375 h 606592"/>
                <a:gd name="connsiteX39" fmla="*/ 869636 w 1159387"/>
                <a:gd name="connsiteY39" fmla="*/ 0 h 606592"/>
                <a:gd name="connsiteX40" fmla="*/ 923472 w 1159387"/>
                <a:gd name="connsiteY40" fmla="*/ 0 h 606592"/>
                <a:gd name="connsiteX41" fmla="*/ 933768 w 1159387"/>
                <a:gd name="connsiteY41" fmla="*/ 10375 h 606592"/>
                <a:gd name="connsiteX42" fmla="*/ 933768 w 1159387"/>
                <a:gd name="connsiteY42" fmla="*/ 193355 h 606592"/>
                <a:gd name="connsiteX43" fmla="*/ 1159388 w 1159387"/>
                <a:gd name="connsiteY43" fmla="*/ 312995 h 606592"/>
                <a:gd name="connsiteX44" fmla="*/ 1159388 w 1159387"/>
                <a:gd name="connsiteY44" fmla="*/ 468520 h 606592"/>
                <a:gd name="connsiteX45" fmla="*/ 1156378 w 1159387"/>
                <a:gd name="connsiteY45" fmla="*/ 475854 h 606592"/>
                <a:gd name="connsiteX46" fmla="*/ 1149101 w 1159387"/>
                <a:gd name="connsiteY46" fmla="*/ 478893 h 606592"/>
                <a:gd name="connsiteX47" fmla="*/ 1095199 w 1159387"/>
                <a:gd name="connsiteY47" fmla="*/ 478893 h 606592"/>
                <a:gd name="connsiteX48" fmla="*/ 1087922 w 1159387"/>
                <a:gd name="connsiteY48" fmla="*/ 475854 h 606592"/>
                <a:gd name="connsiteX49" fmla="*/ 1084912 w 1159387"/>
                <a:gd name="connsiteY49" fmla="*/ 468520 h 606592"/>
                <a:gd name="connsiteX50" fmla="*/ 1084912 w 1159387"/>
                <a:gd name="connsiteY50" fmla="*/ 312995 h 606592"/>
                <a:gd name="connsiteX51" fmla="*/ 966868 w 1159387"/>
                <a:gd name="connsiteY51" fmla="*/ 246504 h 606592"/>
                <a:gd name="connsiteX52" fmla="*/ 933768 w 1159387"/>
                <a:gd name="connsiteY52" fmla="*/ 313343 h 606592"/>
                <a:gd name="connsiteX53" fmla="*/ 596563 w 1159387"/>
                <a:gd name="connsiteY53" fmla="*/ 207040 h 606592"/>
                <a:gd name="connsiteX54" fmla="*/ 549471 w 1159387"/>
                <a:gd name="connsiteY54" fmla="*/ 323084 h 606592"/>
                <a:gd name="connsiteX55" fmla="*/ 596563 w 1159387"/>
                <a:gd name="connsiteY55" fmla="*/ 439145 h 606592"/>
                <a:gd name="connsiteX56" fmla="*/ 797522 w 1159387"/>
                <a:gd name="connsiteY56" fmla="*/ 460995 h 606592"/>
                <a:gd name="connsiteX57" fmla="*/ 799923 w 1159387"/>
                <a:gd name="connsiteY57" fmla="*/ 459357 h 606592"/>
                <a:gd name="connsiteX58" fmla="*/ 805247 w 1159387"/>
                <a:gd name="connsiteY58" fmla="*/ 455385 h 606592"/>
                <a:gd name="connsiteX59" fmla="*/ 806018 w 1159387"/>
                <a:gd name="connsiteY59" fmla="*/ 438745 h 606592"/>
                <a:gd name="connsiteX60" fmla="*/ 790226 w 1159387"/>
                <a:gd name="connsiteY60" fmla="*/ 417067 h 606592"/>
                <a:gd name="connsiteX61" fmla="*/ 776110 w 1159387"/>
                <a:gd name="connsiteY61" fmla="*/ 397747 h 606592"/>
                <a:gd name="connsiteX62" fmla="*/ 760975 w 1159387"/>
                <a:gd name="connsiteY62" fmla="*/ 394585 h 606592"/>
                <a:gd name="connsiteX63" fmla="*/ 757003 w 1159387"/>
                <a:gd name="connsiteY63" fmla="*/ 397067 h 606592"/>
                <a:gd name="connsiteX64" fmla="*/ 619737 w 1159387"/>
                <a:gd name="connsiteY64" fmla="*/ 323084 h 606592"/>
                <a:gd name="connsiteX65" fmla="*/ 756945 w 1159387"/>
                <a:gd name="connsiteY65" fmla="*/ 249203 h 606592"/>
                <a:gd name="connsiteX66" fmla="*/ 760975 w 1159387"/>
                <a:gd name="connsiteY66" fmla="*/ 251591 h 606592"/>
                <a:gd name="connsiteX67" fmla="*/ 776148 w 1159387"/>
                <a:gd name="connsiteY67" fmla="*/ 248416 h 606592"/>
                <a:gd name="connsiteX68" fmla="*/ 790207 w 1159387"/>
                <a:gd name="connsiteY68" fmla="*/ 229138 h 606592"/>
                <a:gd name="connsiteX69" fmla="*/ 804618 w 1159387"/>
                <a:gd name="connsiteY69" fmla="*/ 209395 h 606592"/>
                <a:gd name="connsiteX70" fmla="*/ 799903 w 1159387"/>
                <a:gd name="connsiteY70" fmla="*/ 186809 h 606592"/>
                <a:gd name="connsiteX71" fmla="*/ 797522 w 1159387"/>
                <a:gd name="connsiteY71" fmla="*/ 185195 h 606592"/>
                <a:gd name="connsiteX72" fmla="*/ 596563 w 1159387"/>
                <a:gd name="connsiteY72" fmla="*/ 207040 h 606592"/>
                <a:gd name="connsiteX73" fmla="*/ 293714 w 1159387"/>
                <a:gd name="connsiteY73" fmla="*/ 350313 h 606592"/>
                <a:gd name="connsiteX74" fmla="*/ 469385 w 1159387"/>
                <a:gd name="connsiteY74" fmla="*/ 350313 h 606592"/>
                <a:gd name="connsiteX75" fmla="*/ 507323 w 1159387"/>
                <a:gd name="connsiteY75" fmla="*/ 312290 h 606592"/>
                <a:gd name="connsiteX76" fmla="*/ 472890 w 1159387"/>
                <a:gd name="connsiteY76" fmla="*/ 208836 h 606592"/>
                <a:gd name="connsiteX77" fmla="*/ 368190 w 1159387"/>
                <a:gd name="connsiteY77" fmla="*/ 159530 h 606592"/>
                <a:gd name="connsiteX78" fmla="*/ 219228 w 1159387"/>
                <a:gd name="connsiteY78" fmla="*/ 323103 h 606592"/>
                <a:gd name="connsiteX79" fmla="*/ 375915 w 1159387"/>
                <a:gd name="connsiteY79" fmla="*/ 486674 h 606592"/>
                <a:gd name="connsiteX80" fmla="*/ 502398 w 1159387"/>
                <a:gd name="connsiteY80" fmla="*/ 450623 h 606592"/>
                <a:gd name="connsiteX81" fmla="*/ 505913 w 1159387"/>
                <a:gd name="connsiteY81" fmla="*/ 435907 h 606592"/>
                <a:gd name="connsiteX82" fmla="*/ 504818 w 1159387"/>
                <a:gd name="connsiteY82" fmla="*/ 434088 h 606592"/>
                <a:gd name="connsiteX83" fmla="*/ 478519 w 1159387"/>
                <a:gd name="connsiteY83" fmla="*/ 391689 h 606592"/>
                <a:gd name="connsiteX84" fmla="*/ 464460 w 1159387"/>
                <a:gd name="connsiteY84" fmla="*/ 388476 h 606592"/>
                <a:gd name="connsiteX85" fmla="*/ 377335 w 1159387"/>
                <a:gd name="connsiteY85" fmla="*/ 414990 h 606592"/>
                <a:gd name="connsiteX86" fmla="*/ 293714 w 1159387"/>
                <a:gd name="connsiteY86" fmla="*/ 350313 h 606592"/>
                <a:gd name="connsiteX87" fmla="*/ 430732 w 1159387"/>
                <a:gd name="connsiteY87" fmla="*/ 287912 h 606592"/>
                <a:gd name="connsiteX88" fmla="*/ 368190 w 1159387"/>
                <a:gd name="connsiteY88" fmla="*/ 232071 h 606592"/>
                <a:gd name="connsiteX89" fmla="*/ 296524 w 1159387"/>
                <a:gd name="connsiteY89" fmla="*/ 287912 h 606592"/>
                <a:gd name="connsiteX90" fmla="*/ 430732 w 1159387"/>
                <a:gd name="connsiteY90" fmla="*/ 287912 h 606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</a:cxnLst>
              <a:rect l="l" t="t" r="r" b="b"/>
              <a:pathLst>
                <a:path w="1159387" h="606592">
                  <a:moveTo>
                    <a:pt x="0" y="178242"/>
                  </a:moveTo>
                  <a:lnTo>
                    <a:pt x="0" y="237024"/>
                  </a:lnTo>
                  <a:cubicBezTo>
                    <a:pt x="695" y="241577"/>
                    <a:pt x="4220" y="245266"/>
                    <a:pt x="9135" y="246098"/>
                  </a:cubicBezTo>
                  <a:cubicBezTo>
                    <a:pt x="16869" y="247387"/>
                    <a:pt x="27404" y="249197"/>
                    <a:pt x="30214" y="250009"/>
                  </a:cubicBezTo>
                  <a:cubicBezTo>
                    <a:pt x="30833" y="250193"/>
                    <a:pt x="31518" y="250390"/>
                    <a:pt x="32261" y="250607"/>
                  </a:cubicBezTo>
                  <a:cubicBezTo>
                    <a:pt x="46749" y="254784"/>
                    <a:pt x="83697" y="265433"/>
                    <a:pt x="85030" y="319338"/>
                  </a:cubicBezTo>
                  <a:lnTo>
                    <a:pt x="85030" y="483817"/>
                  </a:lnTo>
                  <a:cubicBezTo>
                    <a:pt x="85030" y="516573"/>
                    <a:pt x="97670" y="547958"/>
                    <a:pt x="120863" y="570989"/>
                  </a:cubicBezTo>
                  <a:cubicBezTo>
                    <a:pt x="143342" y="593696"/>
                    <a:pt x="174261" y="606402"/>
                    <a:pt x="205874" y="606364"/>
                  </a:cubicBezTo>
                  <a:lnTo>
                    <a:pt x="207284" y="606364"/>
                  </a:lnTo>
                  <a:cubicBezTo>
                    <a:pt x="207284" y="606364"/>
                    <a:pt x="207284" y="606879"/>
                    <a:pt x="235964" y="606364"/>
                  </a:cubicBezTo>
                  <a:cubicBezTo>
                    <a:pt x="243232" y="606231"/>
                    <a:pt x="247461" y="601383"/>
                    <a:pt x="247356" y="593268"/>
                  </a:cubicBezTo>
                  <a:cubicBezTo>
                    <a:pt x="247222" y="582028"/>
                    <a:pt x="247527" y="573246"/>
                    <a:pt x="247337" y="563750"/>
                  </a:cubicBezTo>
                  <a:cubicBezTo>
                    <a:pt x="247184" y="555816"/>
                    <a:pt x="247337" y="548520"/>
                    <a:pt x="247337" y="541928"/>
                  </a:cubicBezTo>
                  <a:cubicBezTo>
                    <a:pt x="247337" y="535804"/>
                    <a:pt x="242422" y="530794"/>
                    <a:pt x="236802" y="530565"/>
                  </a:cubicBezTo>
                  <a:cubicBezTo>
                    <a:pt x="226258" y="530527"/>
                    <a:pt x="211504" y="530527"/>
                    <a:pt x="197454" y="530527"/>
                  </a:cubicBezTo>
                  <a:cubicBezTo>
                    <a:pt x="177071" y="530527"/>
                    <a:pt x="159506" y="513401"/>
                    <a:pt x="159506" y="492285"/>
                  </a:cubicBezTo>
                  <a:lnTo>
                    <a:pt x="159506" y="403084"/>
                  </a:lnTo>
                  <a:cubicBezTo>
                    <a:pt x="160202" y="402874"/>
                    <a:pt x="159506" y="317750"/>
                    <a:pt x="159506" y="316772"/>
                  </a:cubicBezTo>
                  <a:cubicBezTo>
                    <a:pt x="157544" y="243958"/>
                    <a:pt x="109233" y="212964"/>
                    <a:pt x="100365" y="207274"/>
                  </a:cubicBezTo>
                  <a:cubicBezTo>
                    <a:pt x="99708" y="206855"/>
                    <a:pt x="99270" y="206569"/>
                    <a:pt x="99080" y="206423"/>
                  </a:cubicBezTo>
                  <a:cubicBezTo>
                    <a:pt x="99270" y="206264"/>
                    <a:pt x="99708" y="205979"/>
                    <a:pt x="100356" y="205547"/>
                  </a:cubicBezTo>
                  <a:cubicBezTo>
                    <a:pt x="109395" y="199604"/>
                    <a:pt x="159506" y="166622"/>
                    <a:pt x="159506" y="90665"/>
                  </a:cubicBezTo>
                  <a:lnTo>
                    <a:pt x="159506" y="10992"/>
                  </a:lnTo>
                  <a:cubicBezTo>
                    <a:pt x="159506" y="4922"/>
                    <a:pt x="155287" y="0"/>
                    <a:pt x="148962" y="0"/>
                  </a:cubicBezTo>
                  <a:lnTo>
                    <a:pt x="95565" y="0"/>
                  </a:lnTo>
                  <a:cubicBezTo>
                    <a:pt x="89945" y="0"/>
                    <a:pt x="85030" y="4922"/>
                    <a:pt x="85030" y="10992"/>
                  </a:cubicBezTo>
                  <a:lnTo>
                    <a:pt x="85030" y="90665"/>
                  </a:lnTo>
                  <a:cubicBezTo>
                    <a:pt x="85030" y="147350"/>
                    <a:pt x="47054" y="158469"/>
                    <a:pt x="32366" y="162761"/>
                  </a:cubicBezTo>
                  <a:cubicBezTo>
                    <a:pt x="31576" y="162997"/>
                    <a:pt x="30861" y="163206"/>
                    <a:pt x="30214" y="163402"/>
                  </a:cubicBezTo>
                  <a:cubicBezTo>
                    <a:pt x="27404" y="164209"/>
                    <a:pt x="16869" y="166026"/>
                    <a:pt x="9135" y="167302"/>
                  </a:cubicBezTo>
                  <a:cubicBezTo>
                    <a:pt x="3515" y="168248"/>
                    <a:pt x="0" y="172858"/>
                    <a:pt x="0" y="178242"/>
                  </a:cubicBezTo>
                  <a:close/>
                  <a:moveTo>
                    <a:pt x="933768" y="313343"/>
                  </a:moveTo>
                  <a:lnTo>
                    <a:pt x="933768" y="468558"/>
                  </a:lnTo>
                  <a:cubicBezTo>
                    <a:pt x="933768" y="471320"/>
                    <a:pt x="932682" y="473949"/>
                    <a:pt x="930749" y="475902"/>
                  </a:cubicBezTo>
                  <a:cubicBezTo>
                    <a:pt x="928825" y="477845"/>
                    <a:pt x="926206" y="478940"/>
                    <a:pt x="923472" y="478940"/>
                  </a:cubicBezTo>
                  <a:cubicBezTo>
                    <a:pt x="909270" y="478921"/>
                    <a:pt x="883819" y="478912"/>
                    <a:pt x="869627" y="478902"/>
                  </a:cubicBezTo>
                  <a:cubicBezTo>
                    <a:pt x="863950" y="478893"/>
                    <a:pt x="859349" y="474254"/>
                    <a:pt x="859349" y="468530"/>
                  </a:cubicBezTo>
                  <a:cubicBezTo>
                    <a:pt x="859349" y="405427"/>
                    <a:pt x="859349" y="73513"/>
                    <a:pt x="859349" y="10375"/>
                  </a:cubicBezTo>
                  <a:cubicBezTo>
                    <a:pt x="859349" y="4648"/>
                    <a:pt x="863959" y="0"/>
                    <a:pt x="869636" y="0"/>
                  </a:cubicBezTo>
                  <a:cubicBezTo>
                    <a:pt x="883838" y="0"/>
                    <a:pt x="909279" y="0"/>
                    <a:pt x="923472" y="0"/>
                  </a:cubicBezTo>
                  <a:cubicBezTo>
                    <a:pt x="929158" y="0"/>
                    <a:pt x="933768" y="4648"/>
                    <a:pt x="933768" y="10375"/>
                  </a:cubicBezTo>
                  <a:cubicBezTo>
                    <a:pt x="933768" y="50513"/>
                    <a:pt x="933768" y="193355"/>
                    <a:pt x="933768" y="193355"/>
                  </a:cubicBezTo>
                  <a:cubicBezTo>
                    <a:pt x="1013169" y="118433"/>
                    <a:pt x="1159388" y="172318"/>
                    <a:pt x="1159388" y="312995"/>
                  </a:cubicBezTo>
                  <a:lnTo>
                    <a:pt x="1159388" y="468520"/>
                  </a:lnTo>
                  <a:cubicBezTo>
                    <a:pt x="1159388" y="471273"/>
                    <a:pt x="1158302" y="473911"/>
                    <a:pt x="1156378" y="475854"/>
                  </a:cubicBezTo>
                  <a:cubicBezTo>
                    <a:pt x="1154445" y="477797"/>
                    <a:pt x="1151835" y="478893"/>
                    <a:pt x="1149101" y="478893"/>
                  </a:cubicBezTo>
                  <a:cubicBezTo>
                    <a:pt x="1134899" y="478893"/>
                    <a:pt x="1109401" y="478893"/>
                    <a:pt x="1095199" y="478893"/>
                  </a:cubicBezTo>
                  <a:cubicBezTo>
                    <a:pt x="1092465" y="478893"/>
                    <a:pt x="1089855" y="477797"/>
                    <a:pt x="1087922" y="475854"/>
                  </a:cubicBezTo>
                  <a:cubicBezTo>
                    <a:pt x="1085998" y="473911"/>
                    <a:pt x="1084912" y="471273"/>
                    <a:pt x="1084912" y="468520"/>
                  </a:cubicBezTo>
                  <a:cubicBezTo>
                    <a:pt x="1084912" y="432211"/>
                    <a:pt x="1084912" y="312995"/>
                    <a:pt x="1084912" y="312995"/>
                  </a:cubicBezTo>
                  <a:cubicBezTo>
                    <a:pt x="1084912" y="239513"/>
                    <a:pt x="1011121" y="217047"/>
                    <a:pt x="966868" y="246504"/>
                  </a:cubicBezTo>
                  <a:cubicBezTo>
                    <a:pt x="947885" y="259141"/>
                    <a:pt x="933768" y="281804"/>
                    <a:pt x="933768" y="313343"/>
                  </a:cubicBezTo>
                  <a:close/>
                  <a:moveTo>
                    <a:pt x="596563" y="207040"/>
                  </a:moveTo>
                  <a:cubicBezTo>
                    <a:pt x="564235" y="238922"/>
                    <a:pt x="549471" y="280953"/>
                    <a:pt x="549471" y="323084"/>
                  </a:cubicBezTo>
                  <a:cubicBezTo>
                    <a:pt x="549471" y="365223"/>
                    <a:pt x="564235" y="407246"/>
                    <a:pt x="596563" y="439145"/>
                  </a:cubicBezTo>
                  <a:cubicBezTo>
                    <a:pt x="650665" y="494085"/>
                    <a:pt x="734285" y="501400"/>
                    <a:pt x="797522" y="460995"/>
                  </a:cubicBezTo>
                  <a:cubicBezTo>
                    <a:pt x="798208" y="460481"/>
                    <a:pt x="799037" y="459938"/>
                    <a:pt x="799923" y="459357"/>
                  </a:cubicBezTo>
                  <a:cubicBezTo>
                    <a:pt x="801761" y="458147"/>
                    <a:pt x="803828" y="456795"/>
                    <a:pt x="805247" y="455385"/>
                  </a:cubicBezTo>
                  <a:cubicBezTo>
                    <a:pt x="808762" y="451909"/>
                    <a:pt x="810762" y="445470"/>
                    <a:pt x="806018" y="438745"/>
                  </a:cubicBezTo>
                  <a:cubicBezTo>
                    <a:pt x="801761" y="432697"/>
                    <a:pt x="796170" y="425153"/>
                    <a:pt x="790226" y="417067"/>
                  </a:cubicBezTo>
                  <a:cubicBezTo>
                    <a:pt x="785121" y="410132"/>
                    <a:pt x="780339" y="403665"/>
                    <a:pt x="776110" y="397747"/>
                  </a:cubicBezTo>
                  <a:cubicBezTo>
                    <a:pt x="772671" y="392947"/>
                    <a:pt x="765890" y="391664"/>
                    <a:pt x="760975" y="394585"/>
                  </a:cubicBezTo>
                  <a:cubicBezTo>
                    <a:pt x="759565" y="395461"/>
                    <a:pt x="758393" y="396172"/>
                    <a:pt x="757003" y="397067"/>
                  </a:cubicBezTo>
                  <a:cubicBezTo>
                    <a:pt x="686032" y="442936"/>
                    <a:pt x="619737" y="382374"/>
                    <a:pt x="619737" y="323084"/>
                  </a:cubicBezTo>
                  <a:cubicBezTo>
                    <a:pt x="619737" y="263795"/>
                    <a:pt x="687384" y="203573"/>
                    <a:pt x="756945" y="249203"/>
                  </a:cubicBezTo>
                  <a:cubicBezTo>
                    <a:pt x="758308" y="250105"/>
                    <a:pt x="759565" y="250708"/>
                    <a:pt x="760975" y="251591"/>
                  </a:cubicBezTo>
                  <a:cubicBezTo>
                    <a:pt x="765890" y="254512"/>
                    <a:pt x="772805" y="253115"/>
                    <a:pt x="776148" y="248416"/>
                  </a:cubicBezTo>
                  <a:cubicBezTo>
                    <a:pt x="780377" y="242497"/>
                    <a:pt x="785102" y="236065"/>
                    <a:pt x="790207" y="229138"/>
                  </a:cubicBezTo>
                  <a:cubicBezTo>
                    <a:pt x="795560" y="221854"/>
                    <a:pt x="800580" y="215072"/>
                    <a:pt x="804618" y="209395"/>
                  </a:cubicBezTo>
                  <a:cubicBezTo>
                    <a:pt x="811362" y="199928"/>
                    <a:pt x="809571" y="193191"/>
                    <a:pt x="799903" y="186809"/>
                  </a:cubicBezTo>
                  <a:cubicBezTo>
                    <a:pt x="799027" y="186231"/>
                    <a:pt x="798199" y="185691"/>
                    <a:pt x="797522" y="185195"/>
                  </a:cubicBezTo>
                  <a:cubicBezTo>
                    <a:pt x="734285" y="144778"/>
                    <a:pt x="650665" y="152087"/>
                    <a:pt x="596563" y="207040"/>
                  </a:cubicBezTo>
                  <a:close/>
                  <a:moveTo>
                    <a:pt x="293714" y="350313"/>
                  </a:moveTo>
                  <a:lnTo>
                    <a:pt x="469385" y="350313"/>
                  </a:lnTo>
                  <a:cubicBezTo>
                    <a:pt x="490463" y="350313"/>
                    <a:pt x="507323" y="333283"/>
                    <a:pt x="507323" y="312290"/>
                  </a:cubicBezTo>
                  <a:cubicBezTo>
                    <a:pt x="507323" y="265561"/>
                    <a:pt x="499588" y="240644"/>
                    <a:pt x="472890" y="208836"/>
                  </a:cubicBezTo>
                  <a:cubicBezTo>
                    <a:pt x="445486" y="176865"/>
                    <a:pt x="401919" y="159530"/>
                    <a:pt x="368190" y="159530"/>
                  </a:cubicBezTo>
                  <a:cubicBezTo>
                    <a:pt x="283875" y="159530"/>
                    <a:pt x="219228" y="231722"/>
                    <a:pt x="219228" y="323103"/>
                  </a:cubicBezTo>
                  <a:cubicBezTo>
                    <a:pt x="219228" y="435697"/>
                    <a:pt x="306354" y="486674"/>
                    <a:pt x="375915" y="486674"/>
                  </a:cubicBezTo>
                  <a:cubicBezTo>
                    <a:pt x="425807" y="486674"/>
                    <a:pt x="464460" y="474616"/>
                    <a:pt x="502398" y="450623"/>
                  </a:cubicBezTo>
                  <a:cubicBezTo>
                    <a:pt x="506618" y="447470"/>
                    <a:pt x="508723" y="441003"/>
                    <a:pt x="505913" y="435907"/>
                  </a:cubicBezTo>
                  <a:lnTo>
                    <a:pt x="504818" y="434088"/>
                  </a:lnTo>
                  <a:cubicBezTo>
                    <a:pt x="497150" y="421362"/>
                    <a:pt x="486558" y="403789"/>
                    <a:pt x="478519" y="391689"/>
                  </a:cubicBezTo>
                  <a:cubicBezTo>
                    <a:pt x="475709" y="386901"/>
                    <a:pt x="469385" y="385492"/>
                    <a:pt x="464460" y="388476"/>
                  </a:cubicBezTo>
                  <a:cubicBezTo>
                    <a:pt x="440571" y="402722"/>
                    <a:pt x="415273" y="415266"/>
                    <a:pt x="377335" y="414990"/>
                  </a:cubicBezTo>
                  <a:cubicBezTo>
                    <a:pt x="342197" y="414742"/>
                    <a:pt x="304954" y="392280"/>
                    <a:pt x="293714" y="350313"/>
                  </a:cubicBezTo>
                  <a:close/>
                  <a:moveTo>
                    <a:pt x="430732" y="287912"/>
                  </a:moveTo>
                  <a:cubicBezTo>
                    <a:pt x="424407" y="240694"/>
                    <a:pt x="392079" y="232071"/>
                    <a:pt x="368190" y="232071"/>
                  </a:cubicBezTo>
                  <a:cubicBezTo>
                    <a:pt x="335872" y="232071"/>
                    <a:pt x="308478" y="256182"/>
                    <a:pt x="296524" y="287912"/>
                  </a:cubicBezTo>
                  <a:lnTo>
                    <a:pt x="430732" y="287912"/>
                  </a:lnTo>
                  <a:close/>
                </a:path>
              </a:pathLst>
            </a:custGeom>
            <a:solidFill>
              <a:schemeClr val="accent2"/>
            </a:solidFill>
            <a:ln w="76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6" name="Полилиния 5">
              <a:extLst>
                <a:ext uri="{FF2B5EF4-FFF2-40B4-BE49-F238E27FC236}">
                  <a16:creationId xmlns:a16="http://schemas.microsoft.com/office/drawing/2014/main" id="{5F2CB4D3-4EA4-E3E4-B282-B3F6E8A14CB6}"/>
                </a:ext>
              </a:extLst>
            </p:cNvPr>
            <p:cNvSpPr/>
            <p:nvPr/>
          </p:nvSpPr>
          <p:spPr>
            <a:xfrm>
              <a:off x="8489504" y="1070894"/>
              <a:ext cx="1492273" cy="326563"/>
            </a:xfrm>
            <a:custGeom>
              <a:avLst/>
              <a:gdLst>
                <a:gd name="connsiteX0" fmla="*/ 180273 w 1492273"/>
                <a:gd name="connsiteY0" fmla="*/ 900 h 326563"/>
                <a:gd name="connsiteX1" fmla="*/ 83526 w 1492273"/>
                <a:gd name="connsiteY1" fmla="*/ 20775 h 326563"/>
                <a:gd name="connsiteX2" fmla="*/ 15954 w 1492273"/>
                <a:gd name="connsiteY2" fmla="*/ 92853 h 326563"/>
                <a:gd name="connsiteX3" fmla="*/ 2323 w 1492273"/>
                <a:gd name="connsiteY3" fmla="*/ 190737 h 326563"/>
                <a:gd name="connsiteX4" fmla="*/ 47618 w 1492273"/>
                <a:gd name="connsiteY4" fmla="*/ 278557 h 326563"/>
                <a:gd name="connsiteX5" fmla="*/ 135243 w 1492273"/>
                <a:gd name="connsiteY5" fmla="*/ 324153 h 326563"/>
                <a:gd name="connsiteX6" fmla="*/ 233098 w 1492273"/>
                <a:gd name="connsiteY6" fmla="*/ 310818 h 326563"/>
                <a:gd name="connsiteX7" fmla="*/ 305341 w 1492273"/>
                <a:gd name="connsiteY7" fmla="*/ 243429 h 326563"/>
                <a:gd name="connsiteX8" fmla="*/ 325507 w 1492273"/>
                <a:gd name="connsiteY8" fmla="*/ 146675 h 326563"/>
                <a:gd name="connsiteX9" fmla="*/ 278778 w 1492273"/>
                <a:gd name="connsiteY9" fmla="*/ 47965 h 326563"/>
                <a:gd name="connsiteX10" fmla="*/ 180273 w 1492273"/>
                <a:gd name="connsiteY10" fmla="*/ 900 h 326563"/>
                <a:gd name="connsiteX11" fmla="*/ 174984 w 1492273"/>
                <a:gd name="connsiteY11" fmla="*/ 249697 h 326563"/>
                <a:gd name="connsiteX12" fmla="*/ 122555 w 1492273"/>
                <a:gd name="connsiteY12" fmla="*/ 240277 h 326563"/>
                <a:gd name="connsiteX13" fmla="*/ 85427 w 1492273"/>
                <a:gd name="connsiteY13" fmla="*/ 202047 h 326563"/>
                <a:gd name="connsiteX14" fmla="*/ 77507 w 1492273"/>
                <a:gd name="connsiteY14" fmla="*/ 149329 h 326563"/>
                <a:gd name="connsiteX15" fmla="*/ 101766 w 1492273"/>
                <a:gd name="connsiteY15" fmla="*/ 101883 h 326563"/>
                <a:gd name="connsiteX16" fmla="*/ 149113 w 1492273"/>
                <a:gd name="connsiteY16" fmla="*/ 77461 h 326563"/>
                <a:gd name="connsiteX17" fmla="*/ 201825 w 1492273"/>
                <a:gd name="connsiteY17" fmla="*/ 85220 h 326563"/>
                <a:gd name="connsiteX18" fmla="*/ 240132 w 1492273"/>
                <a:gd name="connsiteY18" fmla="*/ 122247 h 326563"/>
                <a:gd name="connsiteX19" fmla="*/ 249714 w 1492273"/>
                <a:gd name="connsiteY19" fmla="*/ 174684 h 326563"/>
                <a:gd name="connsiteX20" fmla="*/ 225058 w 1492273"/>
                <a:gd name="connsiteY20" fmla="*/ 224868 h 326563"/>
                <a:gd name="connsiteX21" fmla="*/ 174984 w 1492273"/>
                <a:gd name="connsiteY21" fmla="*/ 249697 h 326563"/>
                <a:gd name="connsiteX22" fmla="*/ 412780 w 1492273"/>
                <a:gd name="connsiteY22" fmla="*/ 7358 h 326563"/>
                <a:gd name="connsiteX23" fmla="*/ 396435 w 1492273"/>
                <a:gd name="connsiteY23" fmla="*/ 11091 h 326563"/>
                <a:gd name="connsiteX24" fmla="*/ 383276 w 1492273"/>
                <a:gd name="connsiteY24" fmla="*/ 21498 h 326563"/>
                <a:gd name="connsiteX25" fmla="*/ 375859 w 1492273"/>
                <a:gd name="connsiteY25" fmla="*/ 36548 h 326563"/>
                <a:gd name="connsiteX26" fmla="*/ 375620 w 1492273"/>
                <a:gd name="connsiteY26" fmla="*/ 53325 h 326563"/>
                <a:gd name="connsiteX27" fmla="*/ 414209 w 1492273"/>
                <a:gd name="connsiteY27" fmla="*/ 83537 h 326563"/>
                <a:gd name="connsiteX28" fmla="*/ 520143 w 1492273"/>
                <a:gd name="connsiteY28" fmla="*/ 83537 h 326563"/>
                <a:gd name="connsiteX29" fmla="*/ 355289 w 1492273"/>
                <a:gd name="connsiteY29" fmla="*/ 301846 h 326563"/>
                <a:gd name="connsiteX30" fmla="*/ 353136 w 1492273"/>
                <a:gd name="connsiteY30" fmla="*/ 307389 h 326563"/>
                <a:gd name="connsiteX31" fmla="*/ 354212 w 1492273"/>
                <a:gd name="connsiteY31" fmla="*/ 313237 h 326563"/>
                <a:gd name="connsiteX32" fmla="*/ 358204 w 1492273"/>
                <a:gd name="connsiteY32" fmla="*/ 317647 h 326563"/>
                <a:gd name="connsiteX33" fmla="*/ 363921 w 1492273"/>
                <a:gd name="connsiteY33" fmla="*/ 319295 h 326563"/>
                <a:gd name="connsiteX34" fmla="*/ 622504 w 1492273"/>
                <a:gd name="connsiteY34" fmla="*/ 319295 h 326563"/>
                <a:gd name="connsiteX35" fmla="*/ 661099 w 1492273"/>
                <a:gd name="connsiteY35" fmla="*/ 289082 h 326563"/>
                <a:gd name="connsiteX36" fmla="*/ 660861 w 1492273"/>
                <a:gd name="connsiteY36" fmla="*/ 272299 h 326563"/>
                <a:gd name="connsiteX37" fmla="*/ 653451 w 1492273"/>
                <a:gd name="connsiteY37" fmla="*/ 257250 h 326563"/>
                <a:gd name="connsiteX38" fmla="*/ 640297 w 1492273"/>
                <a:gd name="connsiteY38" fmla="*/ 246849 h 326563"/>
                <a:gd name="connsiteX39" fmla="*/ 623952 w 1492273"/>
                <a:gd name="connsiteY39" fmla="*/ 243105 h 326563"/>
                <a:gd name="connsiteX40" fmla="*/ 494883 w 1492273"/>
                <a:gd name="connsiteY40" fmla="*/ 243105 h 326563"/>
                <a:gd name="connsiteX41" fmla="*/ 659613 w 1492273"/>
                <a:gd name="connsiteY41" fmla="*/ 24972 h 326563"/>
                <a:gd name="connsiteX42" fmla="*/ 661785 w 1492273"/>
                <a:gd name="connsiteY42" fmla="*/ 19371 h 326563"/>
                <a:gd name="connsiteX43" fmla="*/ 660690 w 1492273"/>
                <a:gd name="connsiteY43" fmla="*/ 13473 h 326563"/>
                <a:gd name="connsiteX44" fmla="*/ 656661 w 1492273"/>
                <a:gd name="connsiteY44" fmla="*/ 9021 h 326563"/>
                <a:gd name="connsiteX45" fmla="*/ 650888 w 1492273"/>
                <a:gd name="connsiteY45" fmla="*/ 7358 h 326563"/>
                <a:gd name="connsiteX46" fmla="*/ 412780 w 1492273"/>
                <a:gd name="connsiteY46" fmla="*/ 7358 h 326563"/>
                <a:gd name="connsiteX47" fmla="*/ 1446105 w 1492273"/>
                <a:gd name="connsiteY47" fmla="*/ 8240 h 326563"/>
                <a:gd name="connsiteX48" fmla="*/ 1424484 w 1492273"/>
                <a:gd name="connsiteY48" fmla="*/ 22127 h 326563"/>
                <a:gd name="connsiteX49" fmla="*/ 1416378 w 1492273"/>
                <a:gd name="connsiteY49" fmla="*/ 46473 h 326563"/>
                <a:gd name="connsiteX50" fmla="*/ 1416378 w 1492273"/>
                <a:gd name="connsiteY50" fmla="*/ 173313 h 326563"/>
                <a:gd name="connsiteX51" fmla="*/ 1210980 w 1492273"/>
                <a:gd name="connsiteY51" fmla="*/ 9758 h 326563"/>
                <a:gd name="connsiteX52" fmla="*/ 1205389 w 1492273"/>
                <a:gd name="connsiteY52" fmla="*/ 7453 h 326563"/>
                <a:gd name="connsiteX53" fmla="*/ 1199426 w 1492273"/>
                <a:gd name="connsiteY53" fmla="*/ 8482 h 326563"/>
                <a:gd name="connsiteX54" fmla="*/ 1194921 w 1492273"/>
                <a:gd name="connsiteY54" fmla="*/ 12520 h 326563"/>
                <a:gd name="connsiteX55" fmla="*/ 1193263 w 1492273"/>
                <a:gd name="connsiteY55" fmla="*/ 18343 h 326563"/>
                <a:gd name="connsiteX56" fmla="*/ 1193263 w 1492273"/>
                <a:gd name="connsiteY56" fmla="*/ 280243 h 326563"/>
                <a:gd name="connsiteX57" fmla="*/ 1201388 w 1492273"/>
                <a:gd name="connsiteY57" fmla="*/ 304589 h 326563"/>
                <a:gd name="connsiteX58" fmla="*/ 1222962 w 1492273"/>
                <a:gd name="connsiteY58" fmla="*/ 318486 h 326563"/>
                <a:gd name="connsiteX59" fmla="*/ 1239803 w 1492273"/>
                <a:gd name="connsiteY59" fmla="*/ 318362 h 326563"/>
                <a:gd name="connsiteX60" fmla="*/ 1254966 w 1492273"/>
                <a:gd name="connsiteY60" fmla="*/ 310961 h 326563"/>
                <a:gd name="connsiteX61" fmla="*/ 1265444 w 1492273"/>
                <a:gd name="connsiteY61" fmla="*/ 297721 h 326563"/>
                <a:gd name="connsiteX62" fmla="*/ 1269159 w 1492273"/>
                <a:gd name="connsiteY62" fmla="*/ 281272 h 326563"/>
                <a:gd name="connsiteX63" fmla="*/ 1269159 w 1492273"/>
                <a:gd name="connsiteY63" fmla="*/ 153323 h 326563"/>
                <a:gd name="connsiteX64" fmla="*/ 1474538 w 1492273"/>
                <a:gd name="connsiteY64" fmla="*/ 316885 h 326563"/>
                <a:gd name="connsiteX65" fmla="*/ 1480148 w 1492273"/>
                <a:gd name="connsiteY65" fmla="*/ 319190 h 326563"/>
                <a:gd name="connsiteX66" fmla="*/ 1486120 w 1492273"/>
                <a:gd name="connsiteY66" fmla="*/ 318162 h 326563"/>
                <a:gd name="connsiteX67" fmla="*/ 1490625 w 1492273"/>
                <a:gd name="connsiteY67" fmla="*/ 314123 h 326563"/>
                <a:gd name="connsiteX68" fmla="*/ 1492273 w 1492273"/>
                <a:gd name="connsiteY68" fmla="*/ 308303 h 326563"/>
                <a:gd name="connsiteX69" fmla="*/ 1492273 w 1492273"/>
                <a:gd name="connsiteY69" fmla="*/ 45444 h 326563"/>
                <a:gd name="connsiteX70" fmla="*/ 1488559 w 1492273"/>
                <a:gd name="connsiteY70" fmla="*/ 28985 h 326563"/>
                <a:gd name="connsiteX71" fmla="*/ 1478081 w 1492273"/>
                <a:gd name="connsiteY71" fmla="*/ 15759 h 326563"/>
                <a:gd name="connsiteX72" fmla="*/ 1462908 w 1492273"/>
                <a:gd name="connsiteY72" fmla="*/ 8354 h 326563"/>
                <a:gd name="connsiteX73" fmla="*/ 1446105 w 1492273"/>
                <a:gd name="connsiteY73" fmla="*/ 8240 h 326563"/>
                <a:gd name="connsiteX74" fmla="*/ 911265 w 1492273"/>
                <a:gd name="connsiteY74" fmla="*/ 76254 h 326563"/>
                <a:gd name="connsiteX75" fmla="*/ 1063066 w 1492273"/>
                <a:gd name="connsiteY75" fmla="*/ 163286 h 326563"/>
                <a:gd name="connsiteX76" fmla="*/ 911265 w 1492273"/>
                <a:gd name="connsiteY76" fmla="*/ 250325 h 326563"/>
                <a:gd name="connsiteX77" fmla="*/ 759483 w 1492273"/>
                <a:gd name="connsiteY77" fmla="*/ 163286 h 326563"/>
                <a:gd name="connsiteX78" fmla="*/ 911265 w 1492273"/>
                <a:gd name="connsiteY78" fmla="*/ 76254 h 326563"/>
                <a:gd name="connsiteX79" fmla="*/ 911265 w 1492273"/>
                <a:gd name="connsiteY79" fmla="*/ 67 h 326563"/>
                <a:gd name="connsiteX80" fmla="*/ 683578 w 1492273"/>
                <a:gd name="connsiteY80" fmla="*/ 163286 h 326563"/>
                <a:gd name="connsiteX81" fmla="*/ 911265 w 1492273"/>
                <a:gd name="connsiteY81" fmla="*/ 326506 h 326563"/>
                <a:gd name="connsiteX82" fmla="*/ 1138961 w 1492273"/>
                <a:gd name="connsiteY82" fmla="*/ 163286 h 326563"/>
                <a:gd name="connsiteX83" fmla="*/ 911265 w 1492273"/>
                <a:gd name="connsiteY83" fmla="*/ 67 h 3265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</a:cxnLst>
              <a:rect l="l" t="t" r="r" b="b"/>
              <a:pathLst>
                <a:path w="1492273" h="326563">
                  <a:moveTo>
                    <a:pt x="180273" y="900"/>
                  </a:moveTo>
                  <a:cubicBezTo>
                    <a:pt x="146739" y="-2638"/>
                    <a:pt x="112948" y="4310"/>
                    <a:pt x="83526" y="20775"/>
                  </a:cubicBezTo>
                  <a:cubicBezTo>
                    <a:pt x="54104" y="37240"/>
                    <a:pt x="30499" y="62424"/>
                    <a:pt x="15954" y="92853"/>
                  </a:cubicBezTo>
                  <a:cubicBezTo>
                    <a:pt x="1417" y="123295"/>
                    <a:pt x="-3344" y="157489"/>
                    <a:pt x="2323" y="190737"/>
                  </a:cubicBezTo>
                  <a:cubicBezTo>
                    <a:pt x="7990" y="223998"/>
                    <a:pt x="23812" y="254669"/>
                    <a:pt x="47618" y="278557"/>
                  </a:cubicBezTo>
                  <a:cubicBezTo>
                    <a:pt x="71412" y="302455"/>
                    <a:pt x="102030" y="318381"/>
                    <a:pt x="135243" y="324153"/>
                  </a:cubicBezTo>
                  <a:cubicBezTo>
                    <a:pt x="168455" y="329925"/>
                    <a:pt x="202644" y="325277"/>
                    <a:pt x="233098" y="310818"/>
                  </a:cubicBezTo>
                  <a:cubicBezTo>
                    <a:pt x="263559" y="296359"/>
                    <a:pt x="288801" y="272814"/>
                    <a:pt x="305341" y="243429"/>
                  </a:cubicBezTo>
                  <a:cubicBezTo>
                    <a:pt x="321894" y="214035"/>
                    <a:pt x="328933" y="180240"/>
                    <a:pt x="325507" y="146675"/>
                  </a:cubicBezTo>
                  <a:cubicBezTo>
                    <a:pt x="321736" y="109375"/>
                    <a:pt x="305234" y="74514"/>
                    <a:pt x="278778" y="47965"/>
                  </a:cubicBezTo>
                  <a:cubicBezTo>
                    <a:pt x="252327" y="21410"/>
                    <a:pt x="217534" y="4786"/>
                    <a:pt x="180273" y="900"/>
                  </a:cubicBezTo>
                  <a:close/>
                  <a:moveTo>
                    <a:pt x="174984" y="249697"/>
                  </a:moveTo>
                  <a:cubicBezTo>
                    <a:pt x="156946" y="252116"/>
                    <a:pt x="138617" y="248820"/>
                    <a:pt x="122555" y="240277"/>
                  </a:cubicBezTo>
                  <a:cubicBezTo>
                    <a:pt x="106488" y="231725"/>
                    <a:pt x="93505" y="218366"/>
                    <a:pt x="85427" y="202047"/>
                  </a:cubicBezTo>
                  <a:cubicBezTo>
                    <a:pt x="77349" y="185733"/>
                    <a:pt x="74579" y="167300"/>
                    <a:pt x="77507" y="149329"/>
                  </a:cubicBezTo>
                  <a:cubicBezTo>
                    <a:pt x="80440" y="131372"/>
                    <a:pt x="88922" y="114773"/>
                    <a:pt x="101766" y="101883"/>
                  </a:cubicBezTo>
                  <a:cubicBezTo>
                    <a:pt x="114610" y="88986"/>
                    <a:pt x="131176" y="80452"/>
                    <a:pt x="149113" y="77461"/>
                  </a:cubicBezTo>
                  <a:cubicBezTo>
                    <a:pt x="167057" y="74470"/>
                    <a:pt x="185493" y="77181"/>
                    <a:pt x="201825" y="85220"/>
                  </a:cubicBezTo>
                  <a:cubicBezTo>
                    <a:pt x="218145" y="93247"/>
                    <a:pt x="231543" y="106194"/>
                    <a:pt x="240132" y="122247"/>
                  </a:cubicBezTo>
                  <a:cubicBezTo>
                    <a:pt x="248725" y="138293"/>
                    <a:pt x="252068" y="156625"/>
                    <a:pt x="249714" y="174684"/>
                  </a:cubicBezTo>
                  <a:cubicBezTo>
                    <a:pt x="247233" y="193670"/>
                    <a:pt x="238569" y="211305"/>
                    <a:pt x="225058" y="224868"/>
                  </a:cubicBezTo>
                  <a:cubicBezTo>
                    <a:pt x="211546" y="238425"/>
                    <a:pt x="193948" y="247154"/>
                    <a:pt x="174984" y="249697"/>
                  </a:cubicBezTo>
                  <a:close/>
                  <a:moveTo>
                    <a:pt x="412780" y="7358"/>
                  </a:moveTo>
                  <a:cubicBezTo>
                    <a:pt x="407126" y="7370"/>
                    <a:pt x="401534" y="8646"/>
                    <a:pt x="396435" y="11091"/>
                  </a:cubicBezTo>
                  <a:cubicBezTo>
                    <a:pt x="391328" y="13536"/>
                    <a:pt x="386833" y="17092"/>
                    <a:pt x="383276" y="21498"/>
                  </a:cubicBezTo>
                  <a:cubicBezTo>
                    <a:pt x="379712" y="25899"/>
                    <a:pt x="377174" y="31042"/>
                    <a:pt x="375859" y="36548"/>
                  </a:cubicBezTo>
                  <a:cubicBezTo>
                    <a:pt x="374537" y="42053"/>
                    <a:pt x="374448" y="47787"/>
                    <a:pt x="375620" y="53325"/>
                  </a:cubicBezTo>
                  <a:cubicBezTo>
                    <a:pt x="379202" y="71282"/>
                    <a:pt x="395956" y="83537"/>
                    <a:pt x="414209" y="83537"/>
                  </a:cubicBezTo>
                  <a:lnTo>
                    <a:pt x="520143" y="83537"/>
                  </a:lnTo>
                  <a:lnTo>
                    <a:pt x="355289" y="301846"/>
                  </a:lnTo>
                  <a:cubicBezTo>
                    <a:pt x="354067" y="303455"/>
                    <a:pt x="353324" y="305379"/>
                    <a:pt x="353136" y="307389"/>
                  </a:cubicBezTo>
                  <a:cubicBezTo>
                    <a:pt x="352940" y="309399"/>
                    <a:pt x="353319" y="311428"/>
                    <a:pt x="354212" y="313237"/>
                  </a:cubicBezTo>
                  <a:cubicBezTo>
                    <a:pt x="355113" y="315047"/>
                    <a:pt x="356491" y="316581"/>
                    <a:pt x="358204" y="317647"/>
                  </a:cubicBezTo>
                  <a:cubicBezTo>
                    <a:pt x="359923" y="318714"/>
                    <a:pt x="361900" y="319286"/>
                    <a:pt x="363921" y="319295"/>
                  </a:cubicBezTo>
                  <a:lnTo>
                    <a:pt x="622504" y="319295"/>
                  </a:lnTo>
                  <a:cubicBezTo>
                    <a:pt x="640744" y="319295"/>
                    <a:pt x="657518" y="307037"/>
                    <a:pt x="661099" y="289082"/>
                  </a:cubicBezTo>
                  <a:cubicBezTo>
                    <a:pt x="662271" y="283539"/>
                    <a:pt x="662185" y="277805"/>
                    <a:pt x="660861" y="272299"/>
                  </a:cubicBezTo>
                  <a:cubicBezTo>
                    <a:pt x="659537" y="266794"/>
                    <a:pt x="657004" y="261650"/>
                    <a:pt x="653451" y="257250"/>
                  </a:cubicBezTo>
                  <a:cubicBezTo>
                    <a:pt x="649898" y="252849"/>
                    <a:pt x="645402" y="249297"/>
                    <a:pt x="640297" y="246849"/>
                  </a:cubicBezTo>
                  <a:cubicBezTo>
                    <a:pt x="635191" y="244391"/>
                    <a:pt x="629610" y="243115"/>
                    <a:pt x="623952" y="243105"/>
                  </a:cubicBezTo>
                  <a:lnTo>
                    <a:pt x="494883" y="243105"/>
                  </a:lnTo>
                  <a:lnTo>
                    <a:pt x="659613" y="24972"/>
                  </a:lnTo>
                  <a:cubicBezTo>
                    <a:pt x="660842" y="23340"/>
                    <a:pt x="661595" y="21403"/>
                    <a:pt x="661785" y="19371"/>
                  </a:cubicBezTo>
                  <a:cubicBezTo>
                    <a:pt x="661976" y="17340"/>
                    <a:pt x="661604" y="15295"/>
                    <a:pt x="660690" y="13473"/>
                  </a:cubicBezTo>
                  <a:cubicBezTo>
                    <a:pt x="659785" y="11637"/>
                    <a:pt x="658385" y="10101"/>
                    <a:pt x="656661" y="9021"/>
                  </a:cubicBezTo>
                  <a:cubicBezTo>
                    <a:pt x="654937" y="7942"/>
                    <a:pt x="652927" y="7363"/>
                    <a:pt x="650888" y="7358"/>
                  </a:cubicBezTo>
                  <a:lnTo>
                    <a:pt x="412780" y="7358"/>
                  </a:lnTo>
                  <a:close/>
                  <a:moveTo>
                    <a:pt x="1446105" y="8240"/>
                  </a:moveTo>
                  <a:cubicBezTo>
                    <a:pt x="1437514" y="10272"/>
                    <a:pt x="1429894" y="15174"/>
                    <a:pt x="1424484" y="22127"/>
                  </a:cubicBezTo>
                  <a:cubicBezTo>
                    <a:pt x="1419112" y="29080"/>
                    <a:pt x="1416254" y="37666"/>
                    <a:pt x="1416378" y="46473"/>
                  </a:cubicBezTo>
                  <a:lnTo>
                    <a:pt x="1416378" y="173313"/>
                  </a:lnTo>
                  <a:lnTo>
                    <a:pt x="1210980" y="9758"/>
                  </a:lnTo>
                  <a:cubicBezTo>
                    <a:pt x="1209361" y="8475"/>
                    <a:pt x="1207427" y="7675"/>
                    <a:pt x="1205389" y="7453"/>
                  </a:cubicBezTo>
                  <a:cubicBezTo>
                    <a:pt x="1203341" y="7230"/>
                    <a:pt x="1201274" y="7580"/>
                    <a:pt x="1199426" y="8482"/>
                  </a:cubicBezTo>
                  <a:cubicBezTo>
                    <a:pt x="1197569" y="9377"/>
                    <a:pt x="1196006" y="10773"/>
                    <a:pt x="1194921" y="12520"/>
                  </a:cubicBezTo>
                  <a:cubicBezTo>
                    <a:pt x="1193835" y="14273"/>
                    <a:pt x="1193254" y="16285"/>
                    <a:pt x="1193263" y="18343"/>
                  </a:cubicBezTo>
                  <a:lnTo>
                    <a:pt x="1193263" y="280243"/>
                  </a:lnTo>
                  <a:cubicBezTo>
                    <a:pt x="1193120" y="289054"/>
                    <a:pt x="1195987" y="297645"/>
                    <a:pt x="1201388" y="304589"/>
                  </a:cubicBezTo>
                  <a:cubicBezTo>
                    <a:pt x="1206789" y="311542"/>
                    <a:pt x="1214409" y="316447"/>
                    <a:pt x="1222962" y="318486"/>
                  </a:cubicBezTo>
                  <a:cubicBezTo>
                    <a:pt x="1228525" y="319714"/>
                    <a:pt x="1234288" y="319667"/>
                    <a:pt x="1239803" y="318362"/>
                  </a:cubicBezTo>
                  <a:cubicBezTo>
                    <a:pt x="1245346" y="317066"/>
                    <a:pt x="1250518" y="314533"/>
                    <a:pt x="1254966" y="310961"/>
                  </a:cubicBezTo>
                  <a:cubicBezTo>
                    <a:pt x="1259415" y="307389"/>
                    <a:pt x="1263006" y="302874"/>
                    <a:pt x="1265444" y="297721"/>
                  </a:cubicBezTo>
                  <a:cubicBezTo>
                    <a:pt x="1267882" y="292587"/>
                    <a:pt x="1269159" y="286958"/>
                    <a:pt x="1269159" y="281272"/>
                  </a:cubicBezTo>
                  <a:lnTo>
                    <a:pt x="1269159" y="153323"/>
                  </a:lnTo>
                  <a:lnTo>
                    <a:pt x="1474538" y="316885"/>
                  </a:lnTo>
                  <a:cubicBezTo>
                    <a:pt x="1476195" y="318171"/>
                    <a:pt x="1478138" y="318962"/>
                    <a:pt x="1480148" y="319190"/>
                  </a:cubicBezTo>
                  <a:cubicBezTo>
                    <a:pt x="1482224" y="319419"/>
                    <a:pt x="1484291" y="319057"/>
                    <a:pt x="1486120" y="318162"/>
                  </a:cubicBezTo>
                  <a:cubicBezTo>
                    <a:pt x="1487949" y="317266"/>
                    <a:pt x="1489530" y="315866"/>
                    <a:pt x="1490625" y="314123"/>
                  </a:cubicBezTo>
                  <a:cubicBezTo>
                    <a:pt x="1491721" y="312380"/>
                    <a:pt x="1492273" y="310361"/>
                    <a:pt x="1492273" y="308303"/>
                  </a:cubicBezTo>
                  <a:lnTo>
                    <a:pt x="1492273" y="45444"/>
                  </a:lnTo>
                  <a:cubicBezTo>
                    <a:pt x="1492273" y="39748"/>
                    <a:pt x="1490997" y="34123"/>
                    <a:pt x="1488559" y="28985"/>
                  </a:cubicBezTo>
                  <a:cubicBezTo>
                    <a:pt x="1486120" y="23848"/>
                    <a:pt x="1482529" y="19327"/>
                    <a:pt x="1478081" y="15759"/>
                  </a:cubicBezTo>
                  <a:cubicBezTo>
                    <a:pt x="1473633" y="12190"/>
                    <a:pt x="1468461" y="9656"/>
                    <a:pt x="1462908" y="8354"/>
                  </a:cubicBezTo>
                  <a:cubicBezTo>
                    <a:pt x="1457364" y="7059"/>
                    <a:pt x="1451649" y="7015"/>
                    <a:pt x="1446105" y="8240"/>
                  </a:cubicBezTo>
                  <a:close/>
                  <a:moveTo>
                    <a:pt x="911265" y="76254"/>
                  </a:moveTo>
                  <a:cubicBezTo>
                    <a:pt x="998152" y="76254"/>
                    <a:pt x="1063066" y="122196"/>
                    <a:pt x="1063066" y="163286"/>
                  </a:cubicBezTo>
                  <a:cubicBezTo>
                    <a:pt x="1063066" y="204383"/>
                    <a:pt x="998152" y="250325"/>
                    <a:pt x="911265" y="250325"/>
                  </a:cubicBezTo>
                  <a:cubicBezTo>
                    <a:pt x="824397" y="250325"/>
                    <a:pt x="759483" y="204383"/>
                    <a:pt x="759483" y="163286"/>
                  </a:cubicBezTo>
                  <a:cubicBezTo>
                    <a:pt x="759483" y="122196"/>
                    <a:pt x="824397" y="76254"/>
                    <a:pt x="911265" y="76254"/>
                  </a:cubicBezTo>
                  <a:close/>
                  <a:moveTo>
                    <a:pt x="911265" y="67"/>
                  </a:moveTo>
                  <a:cubicBezTo>
                    <a:pt x="785515" y="67"/>
                    <a:pt x="683578" y="73142"/>
                    <a:pt x="683578" y="163286"/>
                  </a:cubicBezTo>
                  <a:cubicBezTo>
                    <a:pt x="683578" y="253421"/>
                    <a:pt x="785515" y="326506"/>
                    <a:pt x="911265" y="326506"/>
                  </a:cubicBezTo>
                  <a:cubicBezTo>
                    <a:pt x="1037024" y="326506"/>
                    <a:pt x="1138961" y="253421"/>
                    <a:pt x="1138961" y="163286"/>
                  </a:cubicBezTo>
                  <a:cubicBezTo>
                    <a:pt x="1138961" y="73142"/>
                    <a:pt x="1037024" y="67"/>
                    <a:pt x="911265" y="67"/>
                  </a:cubicBezTo>
                  <a:close/>
                </a:path>
              </a:pathLst>
            </a:custGeom>
            <a:solidFill>
              <a:schemeClr val="tx2"/>
            </a:solidFill>
            <a:ln w="76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</p:grpSp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2E22186C-4B12-E0C1-79B2-480F2CD086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441150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33" imgH="233" progId="TCLayout.ActiveDocument.1">
                  <p:embed/>
                </p:oleObj>
              </mc:Choice>
              <mc:Fallback>
                <p:oleObj name="Слайд think-cell" r:id="rId3" imgW="233" imgH="233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id="{2E22186C-4B12-E0C1-79B2-480F2CD086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EF11FA05-DC06-B340-2031-0DB23FEF24A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49400" y="5194112"/>
            <a:ext cx="3867020" cy="590868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Имя и фамилия спикера, контакты </a:t>
            </a:r>
            <a:br>
              <a:rPr lang="ru-RU"/>
            </a:br>
            <a:r>
              <a:rPr lang="ru-RU"/>
              <a:t>или другая информация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6458CA0F-AA7A-3470-321F-E571C81EB44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55808" y="1931435"/>
            <a:ext cx="6340418" cy="2123348"/>
          </a:xfrm>
        </p:spPr>
        <p:txBody>
          <a:bodyPr vert="horz" anchor="b">
            <a:noAutofit/>
          </a:bodyPr>
          <a:lstStyle>
            <a:lvl1pPr algn="l">
              <a:lnSpc>
                <a:spcPct val="87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ru-RU"/>
              <a:t>Напиши призыв </a:t>
            </a:r>
            <a:br>
              <a:rPr lang="ru-RU"/>
            </a:br>
            <a:r>
              <a:rPr lang="ru-RU"/>
              <a:t>к действию</a:t>
            </a:r>
            <a:r>
              <a:rPr lang="en-US"/>
              <a:t> </a:t>
            </a:r>
            <a:r>
              <a:rPr lang="ru-RU"/>
              <a:t>в 2–3 строки</a:t>
            </a:r>
          </a:p>
        </p:txBody>
      </p:sp>
    </p:spTree>
    <p:extLst>
      <p:ext uri="{BB962C8B-B14F-4D97-AF65-F5344CB8AC3E}">
        <p14:creationId xmlns:p14="http://schemas.microsoft.com/office/powerpoint/2010/main" val="10767321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3" orient="horz" pos="2682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_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Группа 19">
            <a:extLst>
              <a:ext uri="{FF2B5EF4-FFF2-40B4-BE49-F238E27FC236}">
                <a16:creationId xmlns:a16="http://schemas.microsoft.com/office/drawing/2014/main" id="{84B61062-8E90-9247-91F2-031D1050D2A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549398" y="883609"/>
            <a:ext cx="2131200" cy="473348"/>
            <a:chOff x="8489504" y="910877"/>
            <a:chExt cx="2734509" cy="606592"/>
          </a:xfrm>
          <a:solidFill>
            <a:schemeClr val="bg1"/>
          </a:solidFill>
        </p:grpSpPr>
        <p:sp>
          <p:nvSpPr>
            <p:cNvPr id="21" name="Полилиния 20">
              <a:extLst>
                <a:ext uri="{FF2B5EF4-FFF2-40B4-BE49-F238E27FC236}">
                  <a16:creationId xmlns:a16="http://schemas.microsoft.com/office/drawing/2014/main" id="{DE90434C-391E-2C92-EAF0-C15DC9E51826}"/>
                </a:ext>
              </a:extLst>
            </p:cNvPr>
            <p:cNvSpPr/>
            <p:nvPr/>
          </p:nvSpPr>
          <p:spPr>
            <a:xfrm>
              <a:off x="10064626" y="910877"/>
              <a:ext cx="1159387" cy="606592"/>
            </a:xfrm>
            <a:custGeom>
              <a:avLst/>
              <a:gdLst>
                <a:gd name="connsiteX0" fmla="*/ 0 w 1159387"/>
                <a:gd name="connsiteY0" fmla="*/ 178242 h 606592"/>
                <a:gd name="connsiteX1" fmla="*/ 0 w 1159387"/>
                <a:gd name="connsiteY1" fmla="*/ 237024 h 606592"/>
                <a:gd name="connsiteX2" fmla="*/ 9135 w 1159387"/>
                <a:gd name="connsiteY2" fmla="*/ 246098 h 606592"/>
                <a:gd name="connsiteX3" fmla="*/ 30214 w 1159387"/>
                <a:gd name="connsiteY3" fmla="*/ 250009 h 606592"/>
                <a:gd name="connsiteX4" fmla="*/ 32261 w 1159387"/>
                <a:gd name="connsiteY4" fmla="*/ 250607 h 606592"/>
                <a:gd name="connsiteX5" fmla="*/ 85030 w 1159387"/>
                <a:gd name="connsiteY5" fmla="*/ 319338 h 606592"/>
                <a:gd name="connsiteX6" fmla="*/ 85030 w 1159387"/>
                <a:gd name="connsiteY6" fmla="*/ 483817 h 606592"/>
                <a:gd name="connsiteX7" fmla="*/ 120863 w 1159387"/>
                <a:gd name="connsiteY7" fmla="*/ 570989 h 606592"/>
                <a:gd name="connsiteX8" fmla="*/ 205874 w 1159387"/>
                <a:gd name="connsiteY8" fmla="*/ 606364 h 606592"/>
                <a:gd name="connsiteX9" fmla="*/ 207284 w 1159387"/>
                <a:gd name="connsiteY9" fmla="*/ 606364 h 606592"/>
                <a:gd name="connsiteX10" fmla="*/ 235964 w 1159387"/>
                <a:gd name="connsiteY10" fmla="*/ 606364 h 606592"/>
                <a:gd name="connsiteX11" fmla="*/ 247356 w 1159387"/>
                <a:gd name="connsiteY11" fmla="*/ 593268 h 606592"/>
                <a:gd name="connsiteX12" fmla="*/ 247337 w 1159387"/>
                <a:gd name="connsiteY12" fmla="*/ 563750 h 606592"/>
                <a:gd name="connsiteX13" fmla="*/ 247337 w 1159387"/>
                <a:gd name="connsiteY13" fmla="*/ 541928 h 606592"/>
                <a:gd name="connsiteX14" fmla="*/ 236802 w 1159387"/>
                <a:gd name="connsiteY14" fmla="*/ 530565 h 606592"/>
                <a:gd name="connsiteX15" fmla="*/ 197454 w 1159387"/>
                <a:gd name="connsiteY15" fmla="*/ 530527 h 606592"/>
                <a:gd name="connsiteX16" fmla="*/ 159506 w 1159387"/>
                <a:gd name="connsiteY16" fmla="*/ 492285 h 606592"/>
                <a:gd name="connsiteX17" fmla="*/ 159506 w 1159387"/>
                <a:gd name="connsiteY17" fmla="*/ 403084 h 606592"/>
                <a:gd name="connsiteX18" fmla="*/ 159506 w 1159387"/>
                <a:gd name="connsiteY18" fmla="*/ 316772 h 606592"/>
                <a:gd name="connsiteX19" fmla="*/ 100365 w 1159387"/>
                <a:gd name="connsiteY19" fmla="*/ 207274 h 606592"/>
                <a:gd name="connsiteX20" fmla="*/ 99080 w 1159387"/>
                <a:gd name="connsiteY20" fmla="*/ 206423 h 606592"/>
                <a:gd name="connsiteX21" fmla="*/ 100356 w 1159387"/>
                <a:gd name="connsiteY21" fmla="*/ 205547 h 606592"/>
                <a:gd name="connsiteX22" fmla="*/ 159506 w 1159387"/>
                <a:gd name="connsiteY22" fmla="*/ 90665 h 606592"/>
                <a:gd name="connsiteX23" fmla="*/ 159506 w 1159387"/>
                <a:gd name="connsiteY23" fmla="*/ 10992 h 606592"/>
                <a:gd name="connsiteX24" fmla="*/ 148962 w 1159387"/>
                <a:gd name="connsiteY24" fmla="*/ 0 h 606592"/>
                <a:gd name="connsiteX25" fmla="*/ 95565 w 1159387"/>
                <a:gd name="connsiteY25" fmla="*/ 0 h 606592"/>
                <a:gd name="connsiteX26" fmla="*/ 85030 w 1159387"/>
                <a:gd name="connsiteY26" fmla="*/ 10992 h 606592"/>
                <a:gd name="connsiteX27" fmla="*/ 85030 w 1159387"/>
                <a:gd name="connsiteY27" fmla="*/ 90665 h 606592"/>
                <a:gd name="connsiteX28" fmla="*/ 32366 w 1159387"/>
                <a:gd name="connsiteY28" fmla="*/ 162761 h 606592"/>
                <a:gd name="connsiteX29" fmla="*/ 30214 w 1159387"/>
                <a:gd name="connsiteY29" fmla="*/ 163402 h 606592"/>
                <a:gd name="connsiteX30" fmla="*/ 9135 w 1159387"/>
                <a:gd name="connsiteY30" fmla="*/ 167302 h 606592"/>
                <a:gd name="connsiteX31" fmla="*/ 0 w 1159387"/>
                <a:gd name="connsiteY31" fmla="*/ 178242 h 606592"/>
                <a:gd name="connsiteX32" fmla="*/ 933768 w 1159387"/>
                <a:gd name="connsiteY32" fmla="*/ 313343 h 606592"/>
                <a:gd name="connsiteX33" fmla="*/ 933768 w 1159387"/>
                <a:gd name="connsiteY33" fmla="*/ 468558 h 606592"/>
                <a:gd name="connsiteX34" fmla="*/ 930749 w 1159387"/>
                <a:gd name="connsiteY34" fmla="*/ 475902 h 606592"/>
                <a:gd name="connsiteX35" fmla="*/ 923472 w 1159387"/>
                <a:gd name="connsiteY35" fmla="*/ 478940 h 606592"/>
                <a:gd name="connsiteX36" fmla="*/ 869627 w 1159387"/>
                <a:gd name="connsiteY36" fmla="*/ 478902 h 606592"/>
                <a:gd name="connsiteX37" fmla="*/ 859349 w 1159387"/>
                <a:gd name="connsiteY37" fmla="*/ 468530 h 606592"/>
                <a:gd name="connsiteX38" fmla="*/ 859349 w 1159387"/>
                <a:gd name="connsiteY38" fmla="*/ 10375 h 606592"/>
                <a:gd name="connsiteX39" fmla="*/ 869636 w 1159387"/>
                <a:gd name="connsiteY39" fmla="*/ 0 h 606592"/>
                <a:gd name="connsiteX40" fmla="*/ 923472 w 1159387"/>
                <a:gd name="connsiteY40" fmla="*/ 0 h 606592"/>
                <a:gd name="connsiteX41" fmla="*/ 933768 w 1159387"/>
                <a:gd name="connsiteY41" fmla="*/ 10375 h 606592"/>
                <a:gd name="connsiteX42" fmla="*/ 933768 w 1159387"/>
                <a:gd name="connsiteY42" fmla="*/ 193355 h 606592"/>
                <a:gd name="connsiteX43" fmla="*/ 1159388 w 1159387"/>
                <a:gd name="connsiteY43" fmla="*/ 312995 h 606592"/>
                <a:gd name="connsiteX44" fmla="*/ 1159388 w 1159387"/>
                <a:gd name="connsiteY44" fmla="*/ 468520 h 606592"/>
                <a:gd name="connsiteX45" fmla="*/ 1156378 w 1159387"/>
                <a:gd name="connsiteY45" fmla="*/ 475854 h 606592"/>
                <a:gd name="connsiteX46" fmla="*/ 1149101 w 1159387"/>
                <a:gd name="connsiteY46" fmla="*/ 478893 h 606592"/>
                <a:gd name="connsiteX47" fmla="*/ 1095199 w 1159387"/>
                <a:gd name="connsiteY47" fmla="*/ 478893 h 606592"/>
                <a:gd name="connsiteX48" fmla="*/ 1087922 w 1159387"/>
                <a:gd name="connsiteY48" fmla="*/ 475854 h 606592"/>
                <a:gd name="connsiteX49" fmla="*/ 1084912 w 1159387"/>
                <a:gd name="connsiteY49" fmla="*/ 468520 h 606592"/>
                <a:gd name="connsiteX50" fmla="*/ 1084912 w 1159387"/>
                <a:gd name="connsiteY50" fmla="*/ 312995 h 606592"/>
                <a:gd name="connsiteX51" fmla="*/ 966868 w 1159387"/>
                <a:gd name="connsiteY51" fmla="*/ 246504 h 606592"/>
                <a:gd name="connsiteX52" fmla="*/ 933768 w 1159387"/>
                <a:gd name="connsiteY52" fmla="*/ 313343 h 606592"/>
                <a:gd name="connsiteX53" fmla="*/ 596563 w 1159387"/>
                <a:gd name="connsiteY53" fmla="*/ 207040 h 606592"/>
                <a:gd name="connsiteX54" fmla="*/ 549471 w 1159387"/>
                <a:gd name="connsiteY54" fmla="*/ 323084 h 606592"/>
                <a:gd name="connsiteX55" fmla="*/ 596563 w 1159387"/>
                <a:gd name="connsiteY55" fmla="*/ 439145 h 606592"/>
                <a:gd name="connsiteX56" fmla="*/ 797522 w 1159387"/>
                <a:gd name="connsiteY56" fmla="*/ 460995 h 606592"/>
                <a:gd name="connsiteX57" fmla="*/ 799923 w 1159387"/>
                <a:gd name="connsiteY57" fmla="*/ 459357 h 606592"/>
                <a:gd name="connsiteX58" fmla="*/ 805247 w 1159387"/>
                <a:gd name="connsiteY58" fmla="*/ 455385 h 606592"/>
                <a:gd name="connsiteX59" fmla="*/ 806018 w 1159387"/>
                <a:gd name="connsiteY59" fmla="*/ 438745 h 606592"/>
                <a:gd name="connsiteX60" fmla="*/ 790226 w 1159387"/>
                <a:gd name="connsiteY60" fmla="*/ 417067 h 606592"/>
                <a:gd name="connsiteX61" fmla="*/ 776110 w 1159387"/>
                <a:gd name="connsiteY61" fmla="*/ 397747 h 606592"/>
                <a:gd name="connsiteX62" fmla="*/ 760975 w 1159387"/>
                <a:gd name="connsiteY62" fmla="*/ 394585 h 606592"/>
                <a:gd name="connsiteX63" fmla="*/ 757003 w 1159387"/>
                <a:gd name="connsiteY63" fmla="*/ 397067 h 606592"/>
                <a:gd name="connsiteX64" fmla="*/ 619737 w 1159387"/>
                <a:gd name="connsiteY64" fmla="*/ 323084 h 606592"/>
                <a:gd name="connsiteX65" fmla="*/ 756945 w 1159387"/>
                <a:gd name="connsiteY65" fmla="*/ 249203 h 606592"/>
                <a:gd name="connsiteX66" fmla="*/ 760975 w 1159387"/>
                <a:gd name="connsiteY66" fmla="*/ 251591 h 606592"/>
                <a:gd name="connsiteX67" fmla="*/ 776148 w 1159387"/>
                <a:gd name="connsiteY67" fmla="*/ 248416 h 606592"/>
                <a:gd name="connsiteX68" fmla="*/ 790207 w 1159387"/>
                <a:gd name="connsiteY68" fmla="*/ 229138 h 606592"/>
                <a:gd name="connsiteX69" fmla="*/ 804618 w 1159387"/>
                <a:gd name="connsiteY69" fmla="*/ 209395 h 606592"/>
                <a:gd name="connsiteX70" fmla="*/ 799903 w 1159387"/>
                <a:gd name="connsiteY70" fmla="*/ 186809 h 606592"/>
                <a:gd name="connsiteX71" fmla="*/ 797522 w 1159387"/>
                <a:gd name="connsiteY71" fmla="*/ 185195 h 606592"/>
                <a:gd name="connsiteX72" fmla="*/ 596563 w 1159387"/>
                <a:gd name="connsiteY72" fmla="*/ 207040 h 606592"/>
                <a:gd name="connsiteX73" fmla="*/ 293714 w 1159387"/>
                <a:gd name="connsiteY73" fmla="*/ 350313 h 606592"/>
                <a:gd name="connsiteX74" fmla="*/ 469385 w 1159387"/>
                <a:gd name="connsiteY74" fmla="*/ 350313 h 606592"/>
                <a:gd name="connsiteX75" fmla="*/ 507323 w 1159387"/>
                <a:gd name="connsiteY75" fmla="*/ 312290 h 606592"/>
                <a:gd name="connsiteX76" fmla="*/ 472890 w 1159387"/>
                <a:gd name="connsiteY76" fmla="*/ 208836 h 606592"/>
                <a:gd name="connsiteX77" fmla="*/ 368190 w 1159387"/>
                <a:gd name="connsiteY77" fmla="*/ 159530 h 606592"/>
                <a:gd name="connsiteX78" fmla="*/ 219228 w 1159387"/>
                <a:gd name="connsiteY78" fmla="*/ 323103 h 606592"/>
                <a:gd name="connsiteX79" fmla="*/ 375915 w 1159387"/>
                <a:gd name="connsiteY79" fmla="*/ 486674 h 606592"/>
                <a:gd name="connsiteX80" fmla="*/ 502398 w 1159387"/>
                <a:gd name="connsiteY80" fmla="*/ 450623 h 606592"/>
                <a:gd name="connsiteX81" fmla="*/ 505913 w 1159387"/>
                <a:gd name="connsiteY81" fmla="*/ 435907 h 606592"/>
                <a:gd name="connsiteX82" fmla="*/ 504818 w 1159387"/>
                <a:gd name="connsiteY82" fmla="*/ 434088 h 606592"/>
                <a:gd name="connsiteX83" fmla="*/ 478519 w 1159387"/>
                <a:gd name="connsiteY83" fmla="*/ 391689 h 606592"/>
                <a:gd name="connsiteX84" fmla="*/ 464460 w 1159387"/>
                <a:gd name="connsiteY84" fmla="*/ 388476 h 606592"/>
                <a:gd name="connsiteX85" fmla="*/ 377335 w 1159387"/>
                <a:gd name="connsiteY85" fmla="*/ 414990 h 606592"/>
                <a:gd name="connsiteX86" fmla="*/ 293714 w 1159387"/>
                <a:gd name="connsiteY86" fmla="*/ 350313 h 606592"/>
                <a:gd name="connsiteX87" fmla="*/ 430732 w 1159387"/>
                <a:gd name="connsiteY87" fmla="*/ 287912 h 606592"/>
                <a:gd name="connsiteX88" fmla="*/ 368190 w 1159387"/>
                <a:gd name="connsiteY88" fmla="*/ 232071 h 606592"/>
                <a:gd name="connsiteX89" fmla="*/ 296524 w 1159387"/>
                <a:gd name="connsiteY89" fmla="*/ 287912 h 606592"/>
                <a:gd name="connsiteX90" fmla="*/ 430732 w 1159387"/>
                <a:gd name="connsiteY90" fmla="*/ 287912 h 606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</a:cxnLst>
              <a:rect l="l" t="t" r="r" b="b"/>
              <a:pathLst>
                <a:path w="1159387" h="606592">
                  <a:moveTo>
                    <a:pt x="0" y="178242"/>
                  </a:moveTo>
                  <a:lnTo>
                    <a:pt x="0" y="237024"/>
                  </a:lnTo>
                  <a:cubicBezTo>
                    <a:pt x="695" y="241577"/>
                    <a:pt x="4220" y="245266"/>
                    <a:pt x="9135" y="246098"/>
                  </a:cubicBezTo>
                  <a:cubicBezTo>
                    <a:pt x="16869" y="247387"/>
                    <a:pt x="27404" y="249197"/>
                    <a:pt x="30214" y="250009"/>
                  </a:cubicBezTo>
                  <a:cubicBezTo>
                    <a:pt x="30833" y="250193"/>
                    <a:pt x="31518" y="250390"/>
                    <a:pt x="32261" y="250607"/>
                  </a:cubicBezTo>
                  <a:cubicBezTo>
                    <a:pt x="46749" y="254784"/>
                    <a:pt x="83697" y="265433"/>
                    <a:pt x="85030" y="319338"/>
                  </a:cubicBezTo>
                  <a:lnTo>
                    <a:pt x="85030" y="483817"/>
                  </a:lnTo>
                  <a:cubicBezTo>
                    <a:pt x="85030" y="516573"/>
                    <a:pt x="97670" y="547958"/>
                    <a:pt x="120863" y="570989"/>
                  </a:cubicBezTo>
                  <a:cubicBezTo>
                    <a:pt x="143342" y="593696"/>
                    <a:pt x="174261" y="606402"/>
                    <a:pt x="205874" y="606364"/>
                  </a:cubicBezTo>
                  <a:lnTo>
                    <a:pt x="207284" y="606364"/>
                  </a:lnTo>
                  <a:cubicBezTo>
                    <a:pt x="207284" y="606364"/>
                    <a:pt x="207284" y="606879"/>
                    <a:pt x="235964" y="606364"/>
                  </a:cubicBezTo>
                  <a:cubicBezTo>
                    <a:pt x="243232" y="606231"/>
                    <a:pt x="247461" y="601383"/>
                    <a:pt x="247356" y="593268"/>
                  </a:cubicBezTo>
                  <a:cubicBezTo>
                    <a:pt x="247222" y="582028"/>
                    <a:pt x="247527" y="573246"/>
                    <a:pt x="247337" y="563750"/>
                  </a:cubicBezTo>
                  <a:cubicBezTo>
                    <a:pt x="247184" y="555816"/>
                    <a:pt x="247337" y="548520"/>
                    <a:pt x="247337" y="541928"/>
                  </a:cubicBezTo>
                  <a:cubicBezTo>
                    <a:pt x="247337" y="535804"/>
                    <a:pt x="242422" y="530794"/>
                    <a:pt x="236802" y="530565"/>
                  </a:cubicBezTo>
                  <a:cubicBezTo>
                    <a:pt x="226258" y="530527"/>
                    <a:pt x="211504" y="530527"/>
                    <a:pt x="197454" y="530527"/>
                  </a:cubicBezTo>
                  <a:cubicBezTo>
                    <a:pt x="177071" y="530527"/>
                    <a:pt x="159506" y="513401"/>
                    <a:pt x="159506" y="492285"/>
                  </a:cubicBezTo>
                  <a:lnTo>
                    <a:pt x="159506" y="403084"/>
                  </a:lnTo>
                  <a:cubicBezTo>
                    <a:pt x="160202" y="402874"/>
                    <a:pt x="159506" y="317750"/>
                    <a:pt x="159506" y="316772"/>
                  </a:cubicBezTo>
                  <a:cubicBezTo>
                    <a:pt x="157544" y="243958"/>
                    <a:pt x="109233" y="212964"/>
                    <a:pt x="100365" y="207274"/>
                  </a:cubicBezTo>
                  <a:cubicBezTo>
                    <a:pt x="99708" y="206855"/>
                    <a:pt x="99270" y="206569"/>
                    <a:pt x="99080" y="206423"/>
                  </a:cubicBezTo>
                  <a:cubicBezTo>
                    <a:pt x="99270" y="206264"/>
                    <a:pt x="99708" y="205979"/>
                    <a:pt x="100356" y="205547"/>
                  </a:cubicBezTo>
                  <a:cubicBezTo>
                    <a:pt x="109395" y="199604"/>
                    <a:pt x="159506" y="166622"/>
                    <a:pt x="159506" y="90665"/>
                  </a:cubicBezTo>
                  <a:lnTo>
                    <a:pt x="159506" y="10992"/>
                  </a:lnTo>
                  <a:cubicBezTo>
                    <a:pt x="159506" y="4922"/>
                    <a:pt x="155287" y="0"/>
                    <a:pt x="148962" y="0"/>
                  </a:cubicBezTo>
                  <a:lnTo>
                    <a:pt x="95565" y="0"/>
                  </a:lnTo>
                  <a:cubicBezTo>
                    <a:pt x="89945" y="0"/>
                    <a:pt x="85030" y="4922"/>
                    <a:pt x="85030" y="10992"/>
                  </a:cubicBezTo>
                  <a:lnTo>
                    <a:pt x="85030" y="90665"/>
                  </a:lnTo>
                  <a:cubicBezTo>
                    <a:pt x="85030" y="147350"/>
                    <a:pt x="47054" y="158469"/>
                    <a:pt x="32366" y="162761"/>
                  </a:cubicBezTo>
                  <a:cubicBezTo>
                    <a:pt x="31576" y="162997"/>
                    <a:pt x="30861" y="163206"/>
                    <a:pt x="30214" y="163402"/>
                  </a:cubicBezTo>
                  <a:cubicBezTo>
                    <a:pt x="27404" y="164209"/>
                    <a:pt x="16869" y="166026"/>
                    <a:pt x="9135" y="167302"/>
                  </a:cubicBezTo>
                  <a:cubicBezTo>
                    <a:pt x="3515" y="168248"/>
                    <a:pt x="0" y="172858"/>
                    <a:pt x="0" y="178242"/>
                  </a:cubicBezTo>
                  <a:close/>
                  <a:moveTo>
                    <a:pt x="933768" y="313343"/>
                  </a:moveTo>
                  <a:lnTo>
                    <a:pt x="933768" y="468558"/>
                  </a:lnTo>
                  <a:cubicBezTo>
                    <a:pt x="933768" y="471320"/>
                    <a:pt x="932682" y="473949"/>
                    <a:pt x="930749" y="475902"/>
                  </a:cubicBezTo>
                  <a:cubicBezTo>
                    <a:pt x="928825" y="477845"/>
                    <a:pt x="926206" y="478940"/>
                    <a:pt x="923472" y="478940"/>
                  </a:cubicBezTo>
                  <a:cubicBezTo>
                    <a:pt x="909270" y="478921"/>
                    <a:pt x="883819" y="478912"/>
                    <a:pt x="869627" y="478902"/>
                  </a:cubicBezTo>
                  <a:cubicBezTo>
                    <a:pt x="863950" y="478893"/>
                    <a:pt x="859349" y="474254"/>
                    <a:pt x="859349" y="468530"/>
                  </a:cubicBezTo>
                  <a:cubicBezTo>
                    <a:pt x="859349" y="405427"/>
                    <a:pt x="859349" y="73513"/>
                    <a:pt x="859349" y="10375"/>
                  </a:cubicBezTo>
                  <a:cubicBezTo>
                    <a:pt x="859349" y="4648"/>
                    <a:pt x="863959" y="0"/>
                    <a:pt x="869636" y="0"/>
                  </a:cubicBezTo>
                  <a:cubicBezTo>
                    <a:pt x="883838" y="0"/>
                    <a:pt x="909279" y="0"/>
                    <a:pt x="923472" y="0"/>
                  </a:cubicBezTo>
                  <a:cubicBezTo>
                    <a:pt x="929158" y="0"/>
                    <a:pt x="933768" y="4648"/>
                    <a:pt x="933768" y="10375"/>
                  </a:cubicBezTo>
                  <a:cubicBezTo>
                    <a:pt x="933768" y="50513"/>
                    <a:pt x="933768" y="193355"/>
                    <a:pt x="933768" y="193355"/>
                  </a:cubicBezTo>
                  <a:cubicBezTo>
                    <a:pt x="1013169" y="118433"/>
                    <a:pt x="1159388" y="172318"/>
                    <a:pt x="1159388" y="312995"/>
                  </a:cubicBezTo>
                  <a:lnTo>
                    <a:pt x="1159388" y="468520"/>
                  </a:lnTo>
                  <a:cubicBezTo>
                    <a:pt x="1159388" y="471273"/>
                    <a:pt x="1158302" y="473911"/>
                    <a:pt x="1156378" y="475854"/>
                  </a:cubicBezTo>
                  <a:cubicBezTo>
                    <a:pt x="1154445" y="477797"/>
                    <a:pt x="1151835" y="478893"/>
                    <a:pt x="1149101" y="478893"/>
                  </a:cubicBezTo>
                  <a:cubicBezTo>
                    <a:pt x="1134899" y="478893"/>
                    <a:pt x="1109401" y="478893"/>
                    <a:pt x="1095199" y="478893"/>
                  </a:cubicBezTo>
                  <a:cubicBezTo>
                    <a:pt x="1092465" y="478893"/>
                    <a:pt x="1089855" y="477797"/>
                    <a:pt x="1087922" y="475854"/>
                  </a:cubicBezTo>
                  <a:cubicBezTo>
                    <a:pt x="1085998" y="473911"/>
                    <a:pt x="1084912" y="471273"/>
                    <a:pt x="1084912" y="468520"/>
                  </a:cubicBezTo>
                  <a:cubicBezTo>
                    <a:pt x="1084912" y="432211"/>
                    <a:pt x="1084912" y="312995"/>
                    <a:pt x="1084912" y="312995"/>
                  </a:cubicBezTo>
                  <a:cubicBezTo>
                    <a:pt x="1084912" y="239513"/>
                    <a:pt x="1011121" y="217047"/>
                    <a:pt x="966868" y="246504"/>
                  </a:cubicBezTo>
                  <a:cubicBezTo>
                    <a:pt x="947885" y="259141"/>
                    <a:pt x="933768" y="281804"/>
                    <a:pt x="933768" y="313343"/>
                  </a:cubicBezTo>
                  <a:close/>
                  <a:moveTo>
                    <a:pt x="596563" y="207040"/>
                  </a:moveTo>
                  <a:cubicBezTo>
                    <a:pt x="564235" y="238922"/>
                    <a:pt x="549471" y="280953"/>
                    <a:pt x="549471" y="323084"/>
                  </a:cubicBezTo>
                  <a:cubicBezTo>
                    <a:pt x="549471" y="365223"/>
                    <a:pt x="564235" y="407246"/>
                    <a:pt x="596563" y="439145"/>
                  </a:cubicBezTo>
                  <a:cubicBezTo>
                    <a:pt x="650665" y="494085"/>
                    <a:pt x="734285" y="501400"/>
                    <a:pt x="797522" y="460995"/>
                  </a:cubicBezTo>
                  <a:cubicBezTo>
                    <a:pt x="798208" y="460481"/>
                    <a:pt x="799037" y="459938"/>
                    <a:pt x="799923" y="459357"/>
                  </a:cubicBezTo>
                  <a:cubicBezTo>
                    <a:pt x="801761" y="458147"/>
                    <a:pt x="803828" y="456795"/>
                    <a:pt x="805247" y="455385"/>
                  </a:cubicBezTo>
                  <a:cubicBezTo>
                    <a:pt x="808762" y="451909"/>
                    <a:pt x="810762" y="445470"/>
                    <a:pt x="806018" y="438745"/>
                  </a:cubicBezTo>
                  <a:cubicBezTo>
                    <a:pt x="801761" y="432697"/>
                    <a:pt x="796170" y="425153"/>
                    <a:pt x="790226" y="417067"/>
                  </a:cubicBezTo>
                  <a:cubicBezTo>
                    <a:pt x="785121" y="410132"/>
                    <a:pt x="780339" y="403665"/>
                    <a:pt x="776110" y="397747"/>
                  </a:cubicBezTo>
                  <a:cubicBezTo>
                    <a:pt x="772671" y="392947"/>
                    <a:pt x="765890" y="391664"/>
                    <a:pt x="760975" y="394585"/>
                  </a:cubicBezTo>
                  <a:cubicBezTo>
                    <a:pt x="759565" y="395461"/>
                    <a:pt x="758393" y="396172"/>
                    <a:pt x="757003" y="397067"/>
                  </a:cubicBezTo>
                  <a:cubicBezTo>
                    <a:pt x="686032" y="442936"/>
                    <a:pt x="619737" y="382374"/>
                    <a:pt x="619737" y="323084"/>
                  </a:cubicBezTo>
                  <a:cubicBezTo>
                    <a:pt x="619737" y="263795"/>
                    <a:pt x="687384" y="203573"/>
                    <a:pt x="756945" y="249203"/>
                  </a:cubicBezTo>
                  <a:cubicBezTo>
                    <a:pt x="758308" y="250105"/>
                    <a:pt x="759565" y="250708"/>
                    <a:pt x="760975" y="251591"/>
                  </a:cubicBezTo>
                  <a:cubicBezTo>
                    <a:pt x="765890" y="254512"/>
                    <a:pt x="772805" y="253115"/>
                    <a:pt x="776148" y="248416"/>
                  </a:cubicBezTo>
                  <a:cubicBezTo>
                    <a:pt x="780377" y="242497"/>
                    <a:pt x="785102" y="236065"/>
                    <a:pt x="790207" y="229138"/>
                  </a:cubicBezTo>
                  <a:cubicBezTo>
                    <a:pt x="795560" y="221854"/>
                    <a:pt x="800580" y="215072"/>
                    <a:pt x="804618" y="209395"/>
                  </a:cubicBezTo>
                  <a:cubicBezTo>
                    <a:pt x="811362" y="199928"/>
                    <a:pt x="809571" y="193191"/>
                    <a:pt x="799903" y="186809"/>
                  </a:cubicBezTo>
                  <a:cubicBezTo>
                    <a:pt x="799027" y="186231"/>
                    <a:pt x="798199" y="185691"/>
                    <a:pt x="797522" y="185195"/>
                  </a:cubicBezTo>
                  <a:cubicBezTo>
                    <a:pt x="734285" y="144778"/>
                    <a:pt x="650665" y="152087"/>
                    <a:pt x="596563" y="207040"/>
                  </a:cubicBezTo>
                  <a:close/>
                  <a:moveTo>
                    <a:pt x="293714" y="350313"/>
                  </a:moveTo>
                  <a:lnTo>
                    <a:pt x="469385" y="350313"/>
                  </a:lnTo>
                  <a:cubicBezTo>
                    <a:pt x="490463" y="350313"/>
                    <a:pt x="507323" y="333283"/>
                    <a:pt x="507323" y="312290"/>
                  </a:cubicBezTo>
                  <a:cubicBezTo>
                    <a:pt x="507323" y="265561"/>
                    <a:pt x="499588" y="240644"/>
                    <a:pt x="472890" y="208836"/>
                  </a:cubicBezTo>
                  <a:cubicBezTo>
                    <a:pt x="445486" y="176865"/>
                    <a:pt x="401919" y="159530"/>
                    <a:pt x="368190" y="159530"/>
                  </a:cubicBezTo>
                  <a:cubicBezTo>
                    <a:pt x="283875" y="159530"/>
                    <a:pt x="219228" y="231722"/>
                    <a:pt x="219228" y="323103"/>
                  </a:cubicBezTo>
                  <a:cubicBezTo>
                    <a:pt x="219228" y="435697"/>
                    <a:pt x="306354" y="486674"/>
                    <a:pt x="375915" y="486674"/>
                  </a:cubicBezTo>
                  <a:cubicBezTo>
                    <a:pt x="425807" y="486674"/>
                    <a:pt x="464460" y="474616"/>
                    <a:pt x="502398" y="450623"/>
                  </a:cubicBezTo>
                  <a:cubicBezTo>
                    <a:pt x="506618" y="447470"/>
                    <a:pt x="508723" y="441003"/>
                    <a:pt x="505913" y="435907"/>
                  </a:cubicBezTo>
                  <a:lnTo>
                    <a:pt x="504818" y="434088"/>
                  </a:lnTo>
                  <a:cubicBezTo>
                    <a:pt x="497150" y="421362"/>
                    <a:pt x="486558" y="403789"/>
                    <a:pt x="478519" y="391689"/>
                  </a:cubicBezTo>
                  <a:cubicBezTo>
                    <a:pt x="475709" y="386901"/>
                    <a:pt x="469385" y="385492"/>
                    <a:pt x="464460" y="388476"/>
                  </a:cubicBezTo>
                  <a:cubicBezTo>
                    <a:pt x="440571" y="402722"/>
                    <a:pt x="415273" y="415266"/>
                    <a:pt x="377335" y="414990"/>
                  </a:cubicBezTo>
                  <a:cubicBezTo>
                    <a:pt x="342197" y="414742"/>
                    <a:pt x="304954" y="392280"/>
                    <a:pt x="293714" y="350313"/>
                  </a:cubicBezTo>
                  <a:close/>
                  <a:moveTo>
                    <a:pt x="430732" y="287912"/>
                  </a:moveTo>
                  <a:cubicBezTo>
                    <a:pt x="424407" y="240694"/>
                    <a:pt x="392079" y="232071"/>
                    <a:pt x="368190" y="232071"/>
                  </a:cubicBezTo>
                  <a:cubicBezTo>
                    <a:pt x="335872" y="232071"/>
                    <a:pt x="308478" y="256182"/>
                    <a:pt x="296524" y="287912"/>
                  </a:cubicBezTo>
                  <a:lnTo>
                    <a:pt x="430732" y="287912"/>
                  </a:lnTo>
                  <a:close/>
                </a:path>
              </a:pathLst>
            </a:custGeom>
            <a:solidFill>
              <a:schemeClr val="accent2"/>
            </a:solidFill>
            <a:ln w="76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22" name="Полилиния 21">
              <a:extLst>
                <a:ext uri="{FF2B5EF4-FFF2-40B4-BE49-F238E27FC236}">
                  <a16:creationId xmlns:a16="http://schemas.microsoft.com/office/drawing/2014/main" id="{611E2E2C-9B8E-0105-B312-39E7E2BBDF5A}"/>
                </a:ext>
              </a:extLst>
            </p:cNvPr>
            <p:cNvSpPr/>
            <p:nvPr/>
          </p:nvSpPr>
          <p:spPr>
            <a:xfrm>
              <a:off x="8489504" y="1070894"/>
              <a:ext cx="1492273" cy="326563"/>
            </a:xfrm>
            <a:custGeom>
              <a:avLst/>
              <a:gdLst>
                <a:gd name="connsiteX0" fmla="*/ 180273 w 1492273"/>
                <a:gd name="connsiteY0" fmla="*/ 900 h 326563"/>
                <a:gd name="connsiteX1" fmla="*/ 83526 w 1492273"/>
                <a:gd name="connsiteY1" fmla="*/ 20775 h 326563"/>
                <a:gd name="connsiteX2" fmla="*/ 15954 w 1492273"/>
                <a:gd name="connsiteY2" fmla="*/ 92853 h 326563"/>
                <a:gd name="connsiteX3" fmla="*/ 2323 w 1492273"/>
                <a:gd name="connsiteY3" fmla="*/ 190737 h 326563"/>
                <a:gd name="connsiteX4" fmla="*/ 47618 w 1492273"/>
                <a:gd name="connsiteY4" fmla="*/ 278557 h 326563"/>
                <a:gd name="connsiteX5" fmla="*/ 135243 w 1492273"/>
                <a:gd name="connsiteY5" fmla="*/ 324153 h 326563"/>
                <a:gd name="connsiteX6" fmla="*/ 233098 w 1492273"/>
                <a:gd name="connsiteY6" fmla="*/ 310818 h 326563"/>
                <a:gd name="connsiteX7" fmla="*/ 305341 w 1492273"/>
                <a:gd name="connsiteY7" fmla="*/ 243429 h 326563"/>
                <a:gd name="connsiteX8" fmla="*/ 325507 w 1492273"/>
                <a:gd name="connsiteY8" fmla="*/ 146675 h 326563"/>
                <a:gd name="connsiteX9" fmla="*/ 278778 w 1492273"/>
                <a:gd name="connsiteY9" fmla="*/ 47965 h 326563"/>
                <a:gd name="connsiteX10" fmla="*/ 180273 w 1492273"/>
                <a:gd name="connsiteY10" fmla="*/ 900 h 326563"/>
                <a:gd name="connsiteX11" fmla="*/ 174984 w 1492273"/>
                <a:gd name="connsiteY11" fmla="*/ 249697 h 326563"/>
                <a:gd name="connsiteX12" fmla="*/ 122555 w 1492273"/>
                <a:gd name="connsiteY12" fmla="*/ 240277 h 326563"/>
                <a:gd name="connsiteX13" fmla="*/ 85427 w 1492273"/>
                <a:gd name="connsiteY13" fmla="*/ 202047 h 326563"/>
                <a:gd name="connsiteX14" fmla="*/ 77507 w 1492273"/>
                <a:gd name="connsiteY14" fmla="*/ 149329 h 326563"/>
                <a:gd name="connsiteX15" fmla="*/ 101766 w 1492273"/>
                <a:gd name="connsiteY15" fmla="*/ 101883 h 326563"/>
                <a:gd name="connsiteX16" fmla="*/ 149113 w 1492273"/>
                <a:gd name="connsiteY16" fmla="*/ 77461 h 326563"/>
                <a:gd name="connsiteX17" fmla="*/ 201825 w 1492273"/>
                <a:gd name="connsiteY17" fmla="*/ 85220 h 326563"/>
                <a:gd name="connsiteX18" fmla="*/ 240132 w 1492273"/>
                <a:gd name="connsiteY18" fmla="*/ 122247 h 326563"/>
                <a:gd name="connsiteX19" fmla="*/ 249714 w 1492273"/>
                <a:gd name="connsiteY19" fmla="*/ 174684 h 326563"/>
                <a:gd name="connsiteX20" fmla="*/ 225058 w 1492273"/>
                <a:gd name="connsiteY20" fmla="*/ 224868 h 326563"/>
                <a:gd name="connsiteX21" fmla="*/ 174984 w 1492273"/>
                <a:gd name="connsiteY21" fmla="*/ 249697 h 326563"/>
                <a:gd name="connsiteX22" fmla="*/ 412780 w 1492273"/>
                <a:gd name="connsiteY22" fmla="*/ 7358 h 326563"/>
                <a:gd name="connsiteX23" fmla="*/ 396435 w 1492273"/>
                <a:gd name="connsiteY23" fmla="*/ 11091 h 326563"/>
                <a:gd name="connsiteX24" fmla="*/ 383276 w 1492273"/>
                <a:gd name="connsiteY24" fmla="*/ 21498 h 326563"/>
                <a:gd name="connsiteX25" fmla="*/ 375859 w 1492273"/>
                <a:gd name="connsiteY25" fmla="*/ 36548 h 326563"/>
                <a:gd name="connsiteX26" fmla="*/ 375620 w 1492273"/>
                <a:gd name="connsiteY26" fmla="*/ 53325 h 326563"/>
                <a:gd name="connsiteX27" fmla="*/ 414209 w 1492273"/>
                <a:gd name="connsiteY27" fmla="*/ 83537 h 326563"/>
                <a:gd name="connsiteX28" fmla="*/ 520143 w 1492273"/>
                <a:gd name="connsiteY28" fmla="*/ 83537 h 326563"/>
                <a:gd name="connsiteX29" fmla="*/ 355289 w 1492273"/>
                <a:gd name="connsiteY29" fmla="*/ 301846 h 326563"/>
                <a:gd name="connsiteX30" fmla="*/ 353136 w 1492273"/>
                <a:gd name="connsiteY30" fmla="*/ 307389 h 326563"/>
                <a:gd name="connsiteX31" fmla="*/ 354212 w 1492273"/>
                <a:gd name="connsiteY31" fmla="*/ 313237 h 326563"/>
                <a:gd name="connsiteX32" fmla="*/ 358204 w 1492273"/>
                <a:gd name="connsiteY32" fmla="*/ 317647 h 326563"/>
                <a:gd name="connsiteX33" fmla="*/ 363921 w 1492273"/>
                <a:gd name="connsiteY33" fmla="*/ 319295 h 326563"/>
                <a:gd name="connsiteX34" fmla="*/ 622504 w 1492273"/>
                <a:gd name="connsiteY34" fmla="*/ 319295 h 326563"/>
                <a:gd name="connsiteX35" fmla="*/ 661099 w 1492273"/>
                <a:gd name="connsiteY35" fmla="*/ 289082 h 326563"/>
                <a:gd name="connsiteX36" fmla="*/ 660861 w 1492273"/>
                <a:gd name="connsiteY36" fmla="*/ 272299 h 326563"/>
                <a:gd name="connsiteX37" fmla="*/ 653451 w 1492273"/>
                <a:gd name="connsiteY37" fmla="*/ 257250 h 326563"/>
                <a:gd name="connsiteX38" fmla="*/ 640297 w 1492273"/>
                <a:gd name="connsiteY38" fmla="*/ 246849 h 326563"/>
                <a:gd name="connsiteX39" fmla="*/ 623952 w 1492273"/>
                <a:gd name="connsiteY39" fmla="*/ 243105 h 326563"/>
                <a:gd name="connsiteX40" fmla="*/ 494883 w 1492273"/>
                <a:gd name="connsiteY40" fmla="*/ 243105 h 326563"/>
                <a:gd name="connsiteX41" fmla="*/ 659613 w 1492273"/>
                <a:gd name="connsiteY41" fmla="*/ 24972 h 326563"/>
                <a:gd name="connsiteX42" fmla="*/ 661785 w 1492273"/>
                <a:gd name="connsiteY42" fmla="*/ 19371 h 326563"/>
                <a:gd name="connsiteX43" fmla="*/ 660690 w 1492273"/>
                <a:gd name="connsiteY43" fmla="*/ 13473 h 326563"/>
                <a:gd name="connsiteX44" fmla="*/ 656661 w 1492273"/>
                <a:gd name="connsiteY44" fmla="*/ 9021 h 326563"/>
                <a:gd name="connsiteX45" fmla="*/ 650888 w 1492273"/>
                <a:gd name="connsiteY45" fmla="*/ 7358 h 326563"/>
                <a:gd name="connsiteX46" fmla="*/ 412780 w 1492273"/>
                <a:gd name="connsiteY46" fmla="*/ 7358 h 326563"/>
                <a:gd name="connsiteX47" fmla="*/ 1446105 w 1492273"/>
                <a:gd name="connsiteY47" fmla="*/ 8240 h 326563"/>
                <a:gd name="connsiteX48" fmla="*/ 1424484 w 1492273"/>
                <a:gd name="connsiteY48" fmla="*/ 22127 h 326563"/>
                <a:gd name="connsiteX49" fmla="*/ 1416378 w 1492273"/>
                <a:gd name="connsiteY49" fmla="*/ 46473 h 326563"/>
                <a:gd name="connsiteX50" fmla="*/ 1416378 w 1492273"/>
                <a:gd name="connsiteY50" fmla="*/ 173313 h 326563"/>
                <a:gd name="connsiteX51" fmla="*/ 1210980 w 1492273"/>
                <a:gd name="connsiteY51" fmla="*/ 9758 h 326563"/>
                <a:gd name="connsiteX52" fmla="*/ 1205389 w 1492273"/>
                <a:gd name="connsiteY52" fmla="*/ 7453 h 326563"/>
                <a:gd name="connsiteX53" fmla="*/ 1199426 w 1492273"/>
                <a:gd name="connsiteY53" fmla="*/ 8482 h 326563"/>
                <a:gd name="connsiteX54" fmla="*/ 1194921 w 1492273"/>
                <a:gd name="connsiteY54" fmla="*/ 12520 h 326563"/>
                <a:gd name="connsiteX55" fmla="*/ 1193263 w 1492273"/>
                <a:gd name="connsiteY55" fmla="*/ 18343 h 326563"/>
                <a:gd name="connsiteX56" fmla="*/ 1193263 w 1492273"/>
                <a:gd name="connsiteY56" fmla="*/ 280243 h 326563"/>
                <a:gd name="connsiteX57" fmla="*/ 1201388 w 1492273"/>
                <a:gd name="connsiteY57" fmla="*/ 304589 h 326563"/>
                <a:gd name="connsiteX58" fmla="*/ 1222962 w 1492273"/>
                <a:gd name="connsiteY58" fmla="*/ 318486 h 326563"/>
                <a:gd name="connsiteX59" fmla="*/ 1239803 w 1492273"/>
                <a:gd name="connsiteY59" fmla="*/ 318362 h 326563"/>
                <a:gd name="connsiteX60" fmla="*/ 1254966 w 1492273"/>
                <a:gd name="connsiteY60" fmla="*/ 310961 h 326563"/>
                <a:gd name="connsiteX61" fmla="*/ 1265444 w 1492273"/>
                <a:gd name="connsiteY61" fmla="*/ 297721 h 326563"/>
                <a:gd name="connsiteX62" fmla="*/ 1269159 w 1492273"/>
                <a:gd name="connsiteY62" fmla="*/ 281272 h 326563"/>
                <a:gd name="connsiteX63" fmla="*/ 1269159 w 1492273"/>
                <a:gd name="connsiteY63" fmla="*/ 153323 h 326563"/>
                <a:gd name="connsiteX64" fmla="*/ 1474538 w 1492273"/>
                <a:gd name="connsiteY64" fmla="*/ 316885 h 326563"/>
                <a:gd name="connsiteX65" fmla="*/ 1480148 w 1492273"/>
                <a:gd name="connsiteY65" fmla="*/ 319190 h 326563"/>
                <a:gd name="connsiteX66" fmla="*/ 1486120 w 1492273"/>
                <a:gd name="connsiteY66" fmla="*/ 318162 h 326563"/>
                <a:gd name="connsiteX67" fmla="*/ 1490625 w 1492273"/>
                <a:gd name="connsiteY67" fmla="*/ 314123 h 326563"/>
                <a:gd name="connsiteX68" fmla="*/ 1492273 w 1492273"/>
                <a:gd name="connsiteY68" fmla="*/ 308303 h 326563"/>
                <a:gd name="connsiteX69" fmla="*/ 1492273 w 1492273"/>
                <a:gd name="connsiteY69" fmla="*/ 45444 h 326563"/>
                <a:gd name="connsiteX70" fmla="*/ 1488559 w 1492273"/>
                <a:gd name="connsiteY70" fmla="*/ 28985 h 326563"/>
                <a:gd name="connsiteX71" fmla="*/ 1478081 w 1492273"/>
                <a:gd name="connsiteY71" fmla="*/ 15759 h 326563"/>
                <a:gd name="connsiteX72" fmla="*/ 1462908 w 1492273"/>
                <a:gd name="connsiteY72" fmla="*/ 8354 h 326563"/>
                <a:gd name="connsiteX73" fmla="*/ 1446105 w 1492273"/>
                <a:gd name="connsiteY73" fmla="*/ 8240 h 326563"/>
                <a:gd name="connsiteX74" fmla="*/ 911265 w 1492273"/>
                <a:gd name="connsiteY74" fmla="*/ 76254 h 326563"/>
                <a:gd name="connsiteX75" fmla="*/ 1063066 w 1492273"/>
                <a:gd name="connsiteY75" fmla="*/ 163286 h 326563"/>
                <a:gd name="connsiteX76" fmla="*/ 911265 w 1492273"/>
                <a:gd name="connsiteY76" fmla="*/ 250325 h 326563"/>
                <a:gd name="connsiteX77" fmla="*/ 759483 w 1492273"/>
                <a:gd name="connsiteY77" fmla="*/ 163286 h 326563"/>
                <a:gd name="connsiteX78" fmla="*/ 911265 w 1492273"/>
                <a:gd name="connsiteY78" fmla="*/ 76254 h 326563"/>
                <a:gd name="connsiteX79" fmla="*/ 911265 w 1492273"/>
                <a:gd name="connsiteY79" fmla="*/ 67 h 326563"/>
                <a:gd name="connsiteX80" fmla="*/ 683578 w 1492273"/>
                <a:gd name="connsiteY80" fmla="*/ 163286 h 326563"/>
                <a:gd name="connsiteX81" fmla="*/ 911265 w 1492273"/>
                <a:gd name="connsiteY81" fmla="*/ 326506 h 326563"/>
                <a:gd name="connsiteX82" fmla="*/ 1138961 w 1492273"/>
                <a:gd name="connsiteY82" fmla="*/ 163286 h 326563"/>
                <a:gd name="connsiteX83" fmla="*/ 911265 w 1492273"/>
                <a:gd name="connsiteY83" fmla="*/ 67 h 3265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</a:cxnLst>
              <a:rect l="l" t="t" r="r" b="b"/>
              <a:pathLst>
                <a:path w="1492273" h="326563">
                  <a:moveTo>
                    <a:pt x="180273" y="900"/>
                  </a:moveTo>
                  <a:cubicBezTo>
                    <a:pt x="146739" y="-2638"/>
                    <a:pt x="112948" y="4310"/>
                    <a:pt x="83526" y="20775"/>
                  </a:cubicBezTo>
                  <a:cubicBezTo>
                    <a:pt x="54104" y="37240"/>
                    <a:pt x="30499" y="62424"/>
                    <a:pt x="15954" y="92853"/>
                  </a:cubicBezTo>
                  <a:cubicBezTo>
                    <a:pt x="1417" y="123295"/>
                    <a:pt x="-3344" y="157489"/>
                    <a:pt x="2323" y="190737"/>
                  </a:cubicBezTo>
                  <a:cubicBezTo>
                    <a:pt x="7990" y="223998"/>
                    <a:pt x="23812" y="254669"/>
                    <a:pt x="47618" y="278557"/>
                  </a:cubicBezTo>
                  <a:cubicBezTo>
                    <a:pt x="71412" y="302455"/>
                    <a:pt x="102030" y="318381"/>
                    <a:pt x="135243" y="324153"/>
                  </a:cubicBezTo>
                  <a:cubicBezTo>
                    <a:pt x="168455" y="329925"/>
                    <a:pt x="202644" y="325277"/>
                    <a:pt x="233098" y="310818"/>
                  </a:cubicBezTo>
                  <a:cubicBezTo>
                    <a:pt x="263559" y="296359"/>
                    <a:pt x="288801" y="272814"/>
                    <a:pt x="305341" y="243429"/>
                  </a:cubicBezTo>
                  <a:cubicBezTo>
                    <a:pt x="321894" y="214035"/>
                    <a:pt x="328933" y="180240"/>
                    <a:pt x="325507" y="146675"/>
                  </a:cubicBezTo>
                  <a:cubicBezTo>
                    <a:pt x="321736" y="109375"/>
                    <a:pt x="305234" y="74514"/>
                    <a:pt x="278778" y="47965"/>
                  </a:cubicBezTo>
                  <a:cubicBezTo>
                    <a:pt x="252327" y="21410"/>
                    <a:pt x="217534" y="4786"/>
                    <a:pt x="180273" y="900"/>
                  </a:cubicBezTo>
                  <a:close/>
                  <a:moveTo>
                    <a:pt x="174984" y="249697"/>
                  </a:moveTo>
                  <a:cubicBezTo>
                    <a:pt x="156946" y="252116"/>
                    <a:pt x="138617" y="248820"/>
                    <a:pt x="122555" y="240277"/>
                  </a:cubicBezTo>
                  <a:cubicBezTo>
                    <a:pt x="106488" y="231725"/>
                    <a:pt x="93505" y="218366"/>
                    <a:pt x="85427" y="202047"/>
                  </a:cubicBezTo>
                  <a:cubicBezTo>
                    <a:pt x="77349" y="185733"/>
                    <a:pt x="74579" y="167300"/>
                    <a:pt x="77507" y="149329"/>
                  </a:cubicBezTo>
                  <a:cubicBezTo>
                    <a:pt x="80440" y="131372"/>
                    <a:pt x="88922" y="114773"/>
                    <a:pt x="101766" y="101883"/>
                  </a:cubicBezTo>
                  <a:cubicBezTo>
                    <a:pt x="114610" y="88986"/>
                    <a:pt x="131176" y="80452"/>
                    <a:pt x="149113" y="77461"/>
                  </a:cubicBezTo>
                  <a:cubicBezTo>
                    <a:pt x="167057" y="74470"/>
                    <a:pt x="185493" y="77181"/>
                    <a:pt x="201825" y="85220"/>
                  </a:cubicBezTo>
                  <a:cubicBezTo>
                    <a:pt x="218145" y="93247"/>
                    <a:pt x="231543" y="106194"/>
                    <a:pt x="240132" y="122247"/>
                  </a:cubicBezTo>
                  <a:cubicBezTo>
                    <a:pt x="248725" y="138293"/>
                    <a:pt x="252068" y="156625"/>
                    <a:pt x="249714" y="174684"/>
                  </a:cubicBezTo>
                  <a:cubicBezTo>
                    <a:pt x="247233" y="193670"/>
                    <a:pt x="238569" y="211305"/>
                    <a:pt x="225058" y="224868"/>
                  </a:cubicBezTo>
                  <a:cubicBezTo>
                    <a:pt x="211546" y="238425"/>
                    <a:pt x="193948" y="247154"/>
                    <a:pt x="174984" y="249697"/>
                  </a:cubicBezTo>
                  <a:close/>
                  <a:moveTo>
                    <a:pt x="412780" y="7358"/>
                  </a:moveTo>
                  <a:cubicBezTo>
                    <a:pt x="407126" y="7370"/>
                    <a:pt x="401534" y="8646"/>
                    <a:pt x="396435" y="11091"/>
                  </a:cubicBezTo>
                  <a:cubicBezTo>
                    <a:pt x="391328" y="13536"/>
                    <a:pt x="386833" y="17092"/>
                    <a:pt x="383276" y="21498"/>
                  </a:cubicBezTo>
                  <a:cubicBezTo>
                    <a:pt x="379712" y="25899"/>
                    <a:pt x="377174" y="31042"/>
                    <a:pt x="375859" y="36548"/>
                  </a:cubicBezTo>
                  <a:cubicBezTo>
                    <a:pt x="374537" y="42053"/>
                    <a:pt x="374448" y="47787"/>
                    <a:pt x="375620" y="53325"/>
                  </a:cubicBezTo>
                  <a:cubicBezTo>
                    <a:pt x="379202" y="71282"/>
                    <a:pt x="395956" y="83537"/>
                    <a:pt x="414209" y="83537"/>
                  </a:cubicBezTo>
                  <a:lnTo>
                    <a:pt x="520143" y="83537"/>
                  </a:lnTo>
                  <a:lnTo>
                    <a:pt x="355289" y="301846"/>
                  </a:lnTo>
                  <a:cubicBezTo>
                    <a:pt x="354067" y="303455"/>
                    <a:pt x="353324" y="305379"/>
                    <a:pt x="353136" y="307389"/>
                  </a:cubicBezTo>
                  <a:cubicBezTo>
                    <a:pt x="352940" y="309399"/>
                    <a:pt x="353319" y="311428"/>
                    <a:pt x="354212" y="313237"/>
                  </a:cubicBezTo>
                  <a:cubicBezTo>
                    <a:pt x="355113" y="315047"/>
                    <a:pt x="356491" y="316581"/>
                    <a:pt x="358204" y="317647"/>
                  </a:cubicBezTo>
                  <a:cubicBezTo>
                    <a:pt x="359923" y="318714"/>
                    <a:pt x="361900" y="319286"/>
                    <a:pt x="363921" y="319295"/>
                  </a:cubicBezTo>
                  <a:lnTo>
                    <a:pt x="622504" y="319295"/>
                  </a:lnTo>
                  <a:cubicBezTo>
                    <a:pt x="640744" y="319295"/>
                    <a:pt x="657518" y="307037"/>
                    <a:pt x="661099" y="289082"/>
                  </a:cubicBezTo>
                  <a:cubicBezTo>
                    <a:pt x="662271" y="283539"/>
                    <a:pt x="662185" y="277805"/>
                    <a:pt x="660861" y="272299"/>
                  </a:cubicBezTo>
                  <a:cubicBezTo>
                    <a:pt x="659537" y="266794"/>
                    <a:pt x="657004" y="261650"/>
                    <a:pt x="653451" y="257250"/>
                  </a:cubicBezTo>
                  <a:cubicBezTo>
                    <a:pt x="649898" y="252849"/>
                    <a:pt x="645402" y="249297"/>
                    <a:pt x="640297" y="246849"/>
                  </a:cubicBezTo>
                  <a:cubicBezTo>
                    <a:pt x="635191" y="244391"/>
                    <a:pt x="629610" y="243115"/>
                    <a:pt x="623952" y="243105"/>
                  </a:cubicBezTo>
                  <a:lnTo>
                    <a:pt x="494883" y="243105"/>
                  </a:lnTo>
                  <a:lnTo>
                    <a:pt x="659613" y="24972"/>
                  </a:lnTo>
                  <a:cubicBezTo>
                    <a:pt x="660842" y="23340"/>
                    <a:pt x="661595" y="21403"/>
                    <a:pt x="661785" y="19371"/>
                  </a:cubicBezTo>
                  <a:cubicBezTo>
                    <a:pt x="661976" y="17340"/>
                    <a:pt x="661604" y="15295"/>
                    <a:pt x="660690" y="13473"/>
                  </a:cubicBezTo>
                  <a:cubicBezTo>
                    <a:pt x="659785" y="11637"/>
                    <a:pt x="658385" y="10101"/>
                    <a:pt x="656661" y="9021"/>
                  </a:cubicBezTo>
                  <a:cubicBezTo>
                    <a:pt x="654937" y="7942"/>
                    <a:pt x="652927" y="7363"/>
                    <a:pt x="650888" y="7358"/>
                  </a:cubicBezTo>
                  <a:lnTo>
                    <a:pt x="412780" y="7358"/>
                  </a:lnTo>
                  <a:close/>
                  <a:moveTo>
                    <a:pt x="1446105" y="8240"/>
                  </a:moveTo>
                  <a:cubicBezTo>
                    <a:pt x="1437514" y="10272"/>
                    <a:pt x="1429894" y="15174"/>
                    <a:pt x="1424484" y="22127"/>
                  </a:cubicBezTo>
                  <a:cubicBezTo>
                    <a:pt x="1419112" y="29080"/>
                    <a:pt x="1416254" y="37666"/>
                    <a:pt x="1416378" y="46473"/>
                  </a:cubicBezTo>
                  <a:lnTo>
                    <a:pt x="1416378" y="173313"/>
                  </a:lnTo>
                  <a:lnTo>
                    <a:pt x="1210980" y="9758"/>
                  </a:lnTo>
                  <a:cubicBezTo>
                    <a:pt x="1209361" y="8475"/>
                    <a:pt x="1207427" y="7675"/>
                    <a:pt x="1205389" y="7453"/>
                  </a:cubicBezTo>
                  <a:cubicBezTo>
                    <a:pt x="1203341" y="7230"/>
                    <a:pt x="1201274" y="7580"/>
                    <a:pt x="1199426" y="8482"/>
                  </a:cubicBezTo>
                  <a:cubicBezTo>
                    <a:pt x="1197569" y="9377"/>
                    <a:pt x="1196006" y="10773"/>
                    <a:pt x="1194921" y="12520"/>
                  </a:cubicBezTo>
                  <a:cubicBezTo>
                    <a:pt x="1193835" y="14273"/>
                    <a:pt x="1193254" y="16285"/>
                    <a:pt x="1193263" y="18343"/>
                  </a:cubicBezTo>
                  <a:lnTo>
                    <a:pt x="1193263" y="280243"/>
                  </a:lnTo>
                  <a:cubicBezTo>
                    <a:pt x="1193120" y="289054"/>
                    <a:pt x="1195987" y="297645"/>
                    <a:pt x="1201388" y="304589"/>
                  </a:cubicBezTo>
                  <a:cubicBezTo>
                    <a:pt x="1206789" y="311542"/>
                    <a:pt x="1214409" y="316447"/>
                    <a:pt x="1222962" y="318486"/>
                  </a:cubicBezTo>
                  <a:cubicBezTo>
                    <a:pt x="1228525" y="319714"/>
                    <a:pt x="1234288" y="319667"/>
                    <a:pt x="1239803" y="318362"/>
                  </a:cubicBezTo>
                  <a:cubicBezTo>
                    <a:pt x="1245346" y="317066"/>
                    <a:pt x="1250518" y="314533"/>
                    <a:pt x="1254966" y="310961"/>
                  </a:cubicBezTo>
                  <a:cubicBezTo>
                    <a:pt x="1259415" y="307389"/>
                    <a:pt x="1263006" y="302874"/>
                    <a:pt x="1265444" y="297721"/>
                  </a:cubicBezTo>
                  <a:cubicBezTo>
                    <a:pt x="1267882" y="292587"/>
                    <a:pt x="1269159" y="286958"/>
                    <a:pt x="1269159" y="281272"/>
                  </a:cubicBezTo>
                  <a:lnTo>
                    <a:pt x="1269159" y="153323"/>
                  </a:lnTo>
                  <a:lnTo>
                    <a:pt x="1474538" y="316885"/>
                  </a:lnTo>
                  <a:cubicBezTo>
                    <a:pt x="1476195" y="318171"/>
                    <a:pt x="1478138" y="318962"/>
                    <a:pt x="1480148" y="319190"/>
                  </a:cubicBezTo>
                  <a:cubicBezTo>
                    <a:pt x="1482224" y="319419"/>
                    <a:pt x="1484291" y="319057"/>
                    <a:pt x="1486120" y="318162"/>
                  </a:cubicBezTo>
                  <a:cubicBezTo>
                    <a:pt x="1487949" y="317266"/>
                    <a:pt x="1489530" y="315866"/>
                    <a:pt x="1490625" y="314123"/>
                  </a:cubicBezTo>
                  <a:cubicBezTo>
                    <a:pt x="1491721" y="312380"/>
                    <a:pt x="1492273" y="310361"/>
                    <a:pt x="1492273" y="308303"/>
                  </a:cubicBezTo>
                  <a:lnTo>
                    <a:pt x="1492273" y="45444"/>
                  </a:lnTo>
                  <a:cubicBezTo>
                    <a:pt x="1492273" y="39748"/>
                    <a:pt x="1490997" y="34123"/>
                    <a:pt x="1488559" y="28985"/>
                  </a:cubicBezTo>
                  <a:cubicBezTo>
                    <a:pt x="1486120" y="23848"/>
                    <a:pt x="1482529" y="19327"/>
                    <a:pt x="1478081" y="15759"/>
                  </a:cubicBezTo>
                  <a:cubicBezTo>
                    <a:pt x="1473633" y="12190"/>
                    <a:pt x="1468461" y="9656"/>
                    <a:pt x="1462908" y="8354"/>
                  </a:cubicBezTo>
                  <a:cubicBezTo>
                    <a:pt x="1457364" y="7059"/>
                    <a:pt x="1451649" y="7015"/>
                    <a:pt x="1446105" y="8240"/>
                  </a:cubicBezTo>
                  <a:close/>
                  <a:moveTo>
                    <a:pt x="911265" y="76254"/>
                  </a:moveTo>
                  <a:cubicBezTo>
                    <a:pt x="998152" y="76254"/>
                    <a:pt x="1063066" y="122196"/>
                    <a:pt x="1063066" y="163286"/>
                  </a:cubicBezTo>
                  <a:cubicBezTo>
                    <a:pt x="1063066" y="204383"/>
                    <a:pt x="998152" y="250325"/>
                    <a:pt x="911265" y="250325"/>
                  </a:cubicBezTo>
                  <a:cubicBezTo>
                    <a:pt x="824397" y="250325"/>
                    <a:pt x="759483" y="204383"/>
                    <a:pt x="759483" y="163286"/>
                  </a:cubicBezTo>
                  <a:cubicBezTo>
                    <a:pt x="759483" y="122196"/>
                    <a:pt x="824397" y="76254"/>
                    <a:pt x="911265" y="76254"/>
                  </a:cubicBezTo>
                  <a:close/>
                  <a:moveTo>
                    <a:pt x="911265" y="67"/>
                  </a:moveTo>
                  <a:cubicBezTo>
                    <a:pt x="785515" y="67"/>
                    <a:pt x="683578" y="73142"/>
                    <a:pt x="683578" y="163286"/>
                  </a:cubicBezTo>
                  <a:cubicBezTo>
                    <a:pt x="683578" y="253421"/>
                    <a:pt x="785515" y="326506"/>
                    <a:pt x="911265" y="326506"/>
                  </a:cubicBezTo>
                  <a:cubicBezTo>
                    <a:pt x="1037024" y="326506"/>
                    <a:pt x="1138961" y="253421"/>
                    <a:pt x="1138961" y="163286"/>
                  </a:cubicBezTo>
                  <a:cubicBezTo>
                    <a:pt x="1138961" y="73142"/>
                    <a:pt x="1037024" y="67"/>
                    <a:pt x="911265" y="67"/>
                  </a:cubicBezTo>
                  <a:close/>
                </a:path>
              </a:pathLst>
            </a:custGeom>
            <a:grpFill/>
            <a:ln w="76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2E22186C-4B12-E0C1-79B2-480F2CD086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52414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3" imgW="233" imgH="233" progId="TCLayout.ActiveDocument.1">
                  <p:embed/>
                </p:oleObj>
              </mc:Choice>
              <mc:Fallback>
                <p:oleObj name="Слайд think-cell" r:id="rId13" imgW="233" imgH="233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id="{2E22186C-4B12-E0C1-79B2-480F2CD086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6E1F914-6E31-3D8A-0729-94C84B17961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6718" y="2152745"/>
            <a:ext cx="8206245" cy="2277549"/>
          </a:xfrm>
        </p:spPr>
        <p:txBody>
          <a:bodyPr vert="horz" anchor="b">
            <a:noAutofit/>
          </a:bodyPr>
          <a:lstStyle>
            <a:lvl1pPr algn="l">
              <a:lnSpc>
                <a:spcPct val="90000"/>
              </a:lnSpc>
              <a:defRPr sz="4800" spc="-50" baseline="0">
                <a:solidFill>
                  <a:schemeClr val="bg1"/>
                </a:solidFill>
              </a:defRPr>
            </a:lvl1pPr>
          </a:lstStyle>
          <a:p>
            <a:r>
              <a:rPr lang="ru-RU"/>
              <a:t>Напиши смысловой заголовок презентации </a:t>
            </a:r>
            <a:br>
              <a:rPr lang="ru-RU"/>
            </a:br>
            <a:r>
              <a:rPr lang="ru-RU"/>
              <a:t>в 2–3 строки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EF11FA05-DC06-B340-2031-0DB23FEF24A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49400" y="4705255"/>
            <a:ext cx="8174332" cy="817562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Напиши подзаголовок презентации, имя спикера </a:t>
            </a:r>
            <a:br>
              <a:rPr lang="ru-RU"/>
            </a:br>
            <a:r>
              <a:rPr lang="ru-RU"/>
              <a:t>и другую дополнительную информацию</a:t>
            </a:r>
          </a:p>
        </p:txBody>
      </p:sp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5AD7914A-6F7A-0AB4-0320-8B0610322AB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52414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3" imgW="233" imgH="233" progId="TCLayout.ActiveDocument.1">
                  <p:embed/>
                </p:oleObj>
              </mc:Choice>
              <mc:Fallback>
                <p:oleObj name="Слайд think-cell" r:id="rId13" imgW="233" imgH="233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5AD7914A-6F7A-0AB4-0320-8B0610322A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Объект 8" hidden="1">
            <a:extLst>
              <a:ext uri="{FF2B5EF4-FFF2-40B4-BE49-F238E27FC236}">
                <a16:creationId xmlns:a16="http://schemas.microsoft.com/office/drawing/2014/main" id="{15B33EE8-2A0C-A289-E633-0C1A78BC22FA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752414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3" imgW="233" imgH="233" progId="TCLayout.ActiveDocument.1">
                  <p:embed/>
                </p:oleObj>
              </mc:Choice>
              <mc:Fallback>
                <p:oleObj name="Слайд think-cell" r:id="rId13" imgW="233" imgH="233" progId="TCLayout.ActiveDocument.1">
                  <p:embed/>
                  <p:pic>
                    <p:nvPicPr>
                      <p:cNvPr id="9" name="Объект 8" hidden="1">
                        <a:extLst>
                          <a:ext uri="{FF2B5EF4-FFF2-40B4-BE49-F238E27FC236}">
                            <a16:creationId xmlns:a16="http://schemas.microsoft.com/office/drawing/2014/main" id="{15B33EE8-2A0C-A289-E633-0C1A78BC22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2" name="Объект 11" hidden="1">
            <a:extLst>
              <a:ext uri="{FF2B5EF4-FFF2-40B4-BE49-F238E27FC236}">
                <a16:creationId xmlns:a16="http://schemas.microsoft.com/office/drawing/2014/main" id="{EDB5745A-EB00-381B-6668-493769E30B62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752414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3" imgW="233" imgH="233" progId="TCLayout.ActiveDocument.1">
                  <p:embed/>
                </p:oleObj>
              </mc:Choice>
              <mc:Fallback>
                <p:oleObj name="Слайд think-cell" r:id="rId13" imgW="233" imgH="233" progId="TCLayout.ActiveDocument.1">
                  <p:embed/>
                  <p:pic>
                    <p:nvPicPr>
                      <p:cNvPr id="12" name="Объект 11" hidden="1">
                        <a:extLst>
                          <a:ext uri="{FF2B5EF4-FFF2-40B4-BE49-F238E27FC236}">
                            <a16:creationId xmlns:a16="http://schemas.microsoft.com/office/drawing/2014/main" id="{EDB5745A-EB00-381B-6668-493769E30B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5" name="Объект 14" hidden="1">
            <a:extLst>
              <a:ext uri="{FF2B5EF4-FFF2-40B4-BE49-F238E27FC236}">
                <a16:creationId xmlns:a16="http://schemas.microsoft.com/office/drawing/2014/main" id="{1A29F7CF-5EA7-385D-A6B8-3F74846ECFA0}"/>
              </a:ext>
            </a:extLst>
          </p:cNvPr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752414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3" imgW="233" imgH="233" progId="TCLayout.ActiveDocument.1">
                  <p:embed/>
                </p:oleObj>
              </mc:Choice>
              <mc:Fallback>
                <p:oleObj name="Слайд think-cell" r:id="rId13" imgW="233" imgH="233" progId="TCLayout.ActiveDocument.1">
                  <p:embed/>
                  <p:pic>
                    <p:nvPicPr>
                      <p:cNvPr id="15" name="Объект 14" hidden="1">
                        <a:extLst>
                          <a:ext uri="{FF2B5EF4-FFF2-40B4-BE49-F238E27FC236}">
                            <a16:creationId xmlns:a16="http://schemas.microsoft.com/office/drawing/2014/main" id="{1A29F7CF-5EA7-385D-A6B8-3F74846ECF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id="{69EB17E6-0D76-E72E-817B-D0C2F75924C4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752414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3" imgW="233" imgH="233" progId="TCLayout.ActiveDocument.1">
                  <p:embed/>
                </p:oleObj>
              </mc:Choice>
              <mc:Fallback>
                <p:oleObj name="Слайд think-cell" r:id="rId13" imgW="233" imgH="233" progId="TCLayout.ActiveDocument.1">
                  <p:embed/>
                  <p:pic>
                    <p:nvPicPr>
                      <p:cNvPr id="18" name="Объект 17" hidden="1">
                        <a:extLst>
                          <a:ext uri="{FF2B5EF4-FFF2-40B4-BE49-F238E27FC236}">
                            <a16:creationId xmlns:a16="http://schemas.microsoft.com/office/drawing/2014/main" id="{69EB17E6-0D76-E72E-817B-D0C2F75924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Объект 9" hidden="1">
            <a:extLst>
              <a:ext uri="{FF2B5EF4-FFF2-40B4-BE49-F238E27FC236}">
                <a16:creationId xmlns:a16="http://schemas.microsoft.com/office/drawing/2014/main" id="{A111C868-F548-CDE4-4C8F-957F32A69173}"/>
              </a:ext>
            </a:extLst>
          </p:cNvPr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752414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3" imgW="233" imgH="233" progId="TCLayout.ActiveDocument.1">
                  <p:embed/>
                </p:oleObj>
              </mc:Choice>
              <mc:Fallback>
                <p:oleObj name="Слайд think-cell" r:id="rId13" imgW="233" imgH="233" progId="TCLayout.ActiveDocument.1">
                  <p:embed/>
                  <p:pic>
                    <p:nvPicPr>
                      <p:cNvPr id="10" name="Объект 9" hidden="1">
                        <a:extLst>
                          <a:ext uri="{FF2B5EF4-FFF2-40B4-BE49-F238E27FC236}">
                            <a16:creationId xmlns:a16="http://schemas.microsoft.com/office/drawing/2014/main" id="{A111C868-F548-CDE4-4C8F-957F32A691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35915CAD-91BC-0EC7-7D14-6FCC6EF3F283}"/>
              </a:ext>
            </a:extLst>
          </p:cNvPr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752414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3" imgW="233" imgH="233" progId="TCLayout.ActiveDocument.1">
                  <p:embed/>
                </p:oleObj>
              </mc:Choice>
              <mc:Fallback>
                <p:oleObj name="Слайд think-cell" r:id="rId13" imgW="233" imgH="233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35915CAD-91BC-0EC7-7D14-6FCC6EF3F2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" name="Объект 10" hidden="1">
            <a:extLst>
              <a:ext uri="{FF2B5EF4-FFF2-40B4-BE49-F238E27FC236}">
                <a16:creationId xmlns:a16="http://schemas.microsoft.com/office/drawing/2014/main" id="{6B49F19B-8C48-33CB-BF6F-83498DB8EA19}"/>
              </a:ext>
            </a:extLst>
          </p:cNvPr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752414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3" imgW="233" imgH="233" progId="TCLayout.ActiveDocument.1">
                  <p:embed/>
                </p:oleObj>
              </mc:Choice>
              <mc:Fallback>
                <p:oleObj name="Слайд think-cell" r:id="rId13" imgW="233" imgH="233" progId="TCLayout.ActiveDocument.1">
                  <p:embed/>
                  <p:pic>
                    <p:nvPicPr>
                      <p:cNvPr id="11" name="Объект 10" hidden="1">
                        <a:extLst>
                          <a:ext uri="{FF2B5EF4-FFF2-40B4-BE49-F238E27FC236}">
                            <a16:creationId xmlns:a16="http://schemas.microsoft.com/office/drawing/2014/main" id="{6B49F19B-8C48-33CB-BF6F-83498DB8EA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" name="Объект 12" hidden="1">
            <a:extLst>
              <a:ext uri="{FF2B5EF4-FFF2-40B4-BE49-F238E27FC236}">
                <a16:creationId xmlns:a16="http://schemas.microsoft.com/office/drawing/2014/main" id="{D06FCB91-1283-7736-EEFE-502F0AEF6241}"/>
              </a:ext>
            </a:extLst>
          </p:cNvPr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752414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3" imgW="233" imgH="233" progId="TCLayout.ActiveDocument.1">
                  <p:embed/>
                </p:oleObj>
              </mc:Choice>
              <mc:Fallback>
                <p:oleObj name="Слайд think-cell" r:id="rId13" imgW="233" imgH="233" progId="TCLayout.ActiveDocument.1">
                  <p:embed/>
                  <p:pic>
                    <p:nvPicPr>
                      <p:cNvPr id="13" name="Объект 12" hidden="1">
                        <a:extLst>
                          <a:ext uri="{FF2B5EF4-FFF2-40B4-BE49-F238E27FC236}">
                            <a16:creationId xmlns:a16="http://schemas.microsoft.com/office/drawing/2014/main" id="{D06FCB91-1283-7736-EEFE-502F0AEF62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4" name="Объект 13" hidden="1">
            <a:extLst>
              <a:ext uri="{FF2B5EF4-FFF2-40B4-BE49-F238E27FC236}">
                <a16:creationId xmlns:a16="http://schemas.microsoft.com/office/drawing/2014/main" id="{970EB312-66D1-9625-3377-075970721A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752414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3" imgW="233" imgH="233" progId="TCLayout.ActiveDocument.1">
                  <p:embed/>
                </p:oleObj>
              </mc:Choice>
              <mc:Fallback>
                <p:oleObj name="Слайд think-cell" r:id="rId13" imgW="233" imgH="233" progId="TCLayout.ActiveDocument.1">
                  <p:embed/>
                  <p:pic>
                    <p:nvPicPr>
                      <p:cNvPr id="14" name="Объект 13" hidden="1">
                        <a:extLst>
                          <a:ext uri="{FF2B5EF4-FFF2-40B4-BE49-F238E27FC236}">
                            <a16:creationId xmlns:a16="http://schemas.microsoft.com/office/drawing/2014/main" id="{970EB312-66D1-9625-3377-075970721A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4813329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_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2E22186C-4B12-E0C1-79B2-480F2CD086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80477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33" imgH="233" progId="TCLayout.ActiveDocument.1">
                  <p:embed/>
                </p:oleObj>
              </mc:Choice>
              <mc:Fallback>
                <p:oleObj name="Слайд think-cell" r:id="rId3" imgW="233" imgH="233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id="{2E22186C-4B12-E0C1-79B2-480F2CD086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Текст 5">
            <a:extLst>
              <a:ext uri="{FF2B5EF4-FFF2-40B4-BE49-F238E27FC236}">
                <a16:creationId xmlns:a16="http://schemas.microsoft.com/office/drawing/2014/main" id="{E12A9EE7-556C-024A-A440-39817B7D8B8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48215" y="2442368"/>
            <a:ext cx="1350017" cy="1293915"/>
          </a:xfrm>
        </p:spPr>
        <p:txBody>
          <a:bodyPr anchor="t"/>
          <a:lstStyle>
            <a:lvl1pPr algn="l">
              <a:defRPr sz="8000" b="0" spc="-20" baseline="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00</a:t>
            </a:r>
            <a:endParaRPr lang="ru-RU" dirty="0"/>
          </a:p>
        </p:txBody>
      </p:sp>
      <p:sp>
        <p:nvSpPr>
          <p:cNvPr id="10" name="Текст 8">
            <a:extLst>
              <a:ext uri="{FF2B5EF4-FFF2-40B4-BE49-F238E27FC236}">
                <a16:creationId xmlns:a16="http://schemas.microsoft.com/office/drawing/2014/main" id="{463E0D73-85A7-6B48-96CE-B4E3A12EBAB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58321" y="2580370"/>
            <a:ext cx="6784279" cy="2341562"/>
          </a:xfrm>
        </p:spPr>
        <p:txBody>
          <a:bodyPr/>
          <a:lstStyle>
            <a:lvl1pPr>
              <a:spcAft>
                <a:spcPts val="0"/>
              </a:spcAft>
              <a:defRPr sz="4000" b="0" spc="-5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Напиши смысловой заголовок раздела </a:t>
            </a:r>
            <a:br>
              <a:rPr lang="ru-RU" dirty="0"/>
            </a:br>
            <a:r>
              <a:rPr lang="ru-RU" dirty="0"/>
              <a:t>в 2–3 строки</a:t>
            </a:r>
          </a:p>
        </p:txBody>
      </p:sp>
      <p:sp>
        <p:nvSpPr>
          <p:cNvPr id="3" name="Рисунок 1">
            <a:extLst>
              <a:ext uri="{FF2B5EF4-FFF2-40B4-BE49-F238E27FC236}">
                <a16:creationId xmlns:a16="http://schemas.microsoft.com/office/drawing/2014/main" id="{4E651A1C-E2EA-D6A0-B368-C2CB66F5EAF4}"/>
              </a:ext>
            </a:extLst>
          </p:cNvPr>
          <p:cNvSpPr>
            <a:spLocks noChangeAspect="1"/>
          </p:cNvSpPr>
          <p:nvPr userDrawn="1"/>
        </p:nvSpPr>
        <p:spPr>
          <a:xfrm>
            <a:off x="2463428" y="1866339"/>
            <a:ext cx="1440844" cy="3492800"/>
          </a:xfrm>
          <a:custGeom>
            <a:avLst/>
            <a:gdLst>
              <a:gd name="connsiteX0" fmla="*/ 0 w 1440844"/>
              <a:gd name="connsiteY0" fmla="*/ 1367312 h 3492800"/>
              <a:gd name="connsiteX1" fmla="*/ 0 w 1440844"/>
              <a:gd name="connsiteY1" fmla="*/ 1354351 h 3492800"/>
              <a:gd name="connsiteX2" fmla="*/ 0 w 1440844"/>
              <a:gd name="connsiteY2" fmla="*/ 1030344 h 3492800"/>
              <a:gd name="connsiteX3" fmla="*/ 52157 w 1440844"/>
              <a:gd name="connsiteY3" fmla="*/ 965542 h 3492800"/>
              <a:gd name="connsiteX4" fmla="*/ 176031 w 1440844"/>
              <a:gd name="connsiteY4" fmla="*/ 946102 h 3492800"/>
              <a:gd name="connsiteX5" fmla="*/ 495494 w 1440844"/>
              <a:gd name="connsiteY5" fmla="*/ 524892 h 3492800"/>
              <a:gd name="connsiteX6" fmla="*/ 495494 w 1440844"/>
              <a:gd name="connsiteY6" fmla="*/ 64801 h 3492800"/>
              <a:gd name="connsiteX7" fmla="*/ 554171 w 1440844"/>
              <a:gd name="connsiteY7" fmla="*/ 0 h 3492800"/>
              <a:gd name="connsiteX8" fmla="*/ 867115 w 1440844"/>
              <a:gd name="connsiteY8" fmla="*/ 0 h 3492800"/>
              <a:gd name="connsiteX9" fmla="*/ 925792 w 1440844"/>
              <a:gd name="connsiteY9" fmla="*/ 64801 h 3492800"/>
              <a:gd name="connsiteX10" fmla="*/ 925792 w 1440844"/>
              <a:gd name="connsiteY10" fmla="*/ 524892 h 3492800"/>
              <a:gd name="connsiteX11" fmla="*/ 573730 w 1440844"/>
              <a:gd name="connsiteY11" fmla="*/ 1192347 h 3492800"/>
              <a:gd name="connsiteX12" fmla="*/ 925792 w 1440844"/>
              <a:gd name="connsiteY12" fmla="*/ 1827402 h 3492800"/>
              <a:gd name="connsiteX13" fmla="*/ 925792 w 1440844"/>
              <a:gd name="connsiteY13" fmla="*/ 2838305 h 3492800"/>
              <a:gd name="connsiteX14" fmla="*/ 1147460 w 1440844"/>
              <a:gd name="connsiteY14" fmla="*/ 3058630 h 3492800"/>
              <a:gd name="connsiteX15" fmla="*/ 1375648 w 1440844"/>
              <a:gd name="connsiteY15" fmla="*/ 3058630 h 3492800"/>
              <a:gd name="connsiteX16" fmla="*/ 1434325 w 1440844"/>
              <a:gd name="connsiteY16" fmla="*/ 3123432 h 3492800"/>
              <a:gd name="connsiteX17" fmla="*/ 1440845 w 1440844"/>
              <a:gd name="connsiteY17" fmla="*/ 3427999 h 3492800"/>
              <a:gd name="connsiteX18" fmla="*/ 1375648 w 1440844"/>
              <a:gd name="connsiteY18" fmla="*/ 3492800 h 3492800"/>
              <a:gd name="connsiteX19" fmla="*/ 1193097 w 1440844"/>
              <a:gd name="connsiteY19" fmla="*/ 3492800 h 3492800"/>
              <a:gd name="connsiteX20" fmla="*/ 697603 w 1440844"/>
              <a:gd name="connsiteY20" fmla="*/ 3291916 h 3492800"/>
              <a:gd name="connsiteX21" fmla="*/ 488974 w 1440844"/>
              <a:gd name="connsiteY21" fmla="*/ 2792944 h 3492800"/>
              <a:gd name="connsiteX22" fmla="*/ 488974 w 1440844"/>
              <a:gd name="connsiteY22" fmla="*/ 1846843 h 3492800"/>
              <a:gd name="connsiteX23" fmla="*/ 169511 w 1440844"/>
              <a:gd name="connsiteY23" fmla="*/ 1451553 h 3492800"/>
              <a:gd name="connsiteX24" fmla="*/ 45638 w 1440844"/>
              <a:gd name="connsiteY24" fmla="*/ 1432113 h 3492800"/>
              <a:gd name="connsiteX25" fmla="*/ 0 w 1440844"/>
              <a:gd name="connsiteY25" fmla="*/ 1367312 h 3492800"/>
              <a:gd name="connsiteX26" fmla="*/ 0 w 1440844"/>
              <a:gd name="connsiteY26" fmla="*/ 1367312 h 3492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1440844" h="3492800">
                <a:moveTo>
                  <a:pt x="0" y="1367312"/>
                </a:moveTo>
                <a:cubicBezTo>
                  <a:pt x="0" y="1360831"/>
                  <a:pt x="0" y="1360831"/>
                  <a:pt x="0" y="1354351"/>
                </a:cubicBezTo>
                <a:lnTo>
                  <a:pt x="0" y="1030344"/>
                </a:lnTo>
                <a:cubicBezTo>
                  <a:pt x="0" y="997943"/>
                  <a:pt x="19559" y="972022"/>
                  <a:pt x="52157" y="965542"/>
                </a:cubicBezTo>
                <a:cubicBezTo>
                  <a:pt x="97795" y="959062"/>
                  <a:pt x="156472" y="946102"/>
                  <a:pt x="176031" y="946102"/>
                </a:cubicBezTo>
                <a:cubicBezTo>
                  <a:pt x="247747" y="926661"/>
                  <a:pt x="495494" y="868340"/>
                  <a:pt x="495494" y="524892"/>
                </a:cubicBezTo>
                <a:lnTo>
                  <a:pt x="495494" y="64801"/>
                </a:lnTo>
                <a:cubicBezTo>
                  <a:pt x="495494" y="32401"/>
                  <a:pt x="521573" y="0"/>
                  <a:pt x="554171" y="0"/>
                </a:cubicBezTo>
                <a:lnTo>
                  <a:pt x="867115" y="0"/>
                </a:lnTo>
                <a:cubicBezTo>
                  <a:pt x="906233" y="0"/>
                  <a:pt x="925792" y="25921"/>
                  <a:pt x="925792" y="64801"/>
                </a:cubicBezTo>
                <a:lnTo>
                  <a:pt x="925792" y="524892"/>
                </a:lnTo>
                <a:cubicBezTo>
                  <a:pt x="925792" y="991463"/>
                  <a:pt x="593289" y="1179387"/>
                  <a:pt x="573730" y="1192347"/>
                </a:cubicBezTo>
                <a:cubicBezTo>
                  <a:pt x="593289" y="1205308"/>
                  <a:pt x="912752" y="1380272"/>
                  <a:pt x="925792" y="1827402"/>
                </a:cubicBezTo>
                <a:cubicBezTo>
                  <a:pt x="925792" y="1840362"/>
                  <a:pt x="925792" y="2617980"/>
                  <a:pt x="925792" y="2838305"/>
                </a:cubicBezTo>
                <a:cubicBezTo>
                  <a:pt x="925792" y="2961428"/>
                  <a:pt x="1030106" y="3058630"/>
                  <a:pt x="1147460" y="3058630"/>
                </a:cubicBezTo>
                <a:cubicBezTo>
                  <a:pt x="1232215" y="3058630"/>
                  <a:pt x="1316971" y="3058630"/>
                  <a:pt x="1375648" y="3058630"/>
                </a:cubicBezTo>
                <a:cubicBezTo>
                  <a:pt x="1408246" y="3058630"/>
                  <a:pt x="1434325" y="3091031"/>
                  <a:pt x="1434325" y="3123432"/>
                </a:cubicBezTo>
                <a:cubicBezTo>
                  <a:pt x="1434325" y="3207674"/>
                  <a:pt x="1440845" y="3311356"/>
                  <a:pt x="1440845" y="3427999"/>
                </a:cubicBezTo>
                <a:cubicBezTo>
                  <a:pt x="1440845" y="3466880"/>
                  <a:pt x="1408246" y="3492800"/>
                  <a:pt x="1375648" y="3492800"/>
                </a:cubicBezTo>
                <a:lnTo>
                  <a:pt x="1193097" y="3492800"/>
                </a:lnTo>
                <a:cubicBezTo>
                  <a:pt x="1010547" y="3492800"/>
                  <a:pt x="827997" y="3421519"/>
                  <a:pt x="697603" y="3291916"/>
                </a:cubicBezTo>
                <a:cubicBezTo>
                  <a:pt x="560691" y="3162313"/>
                  <a:pt x="488974" y="2980869"/>
                  <a:pt x="488974" y="2792944"/>
                </a:cubicBezTo>
                <a:cubicBezTo>
                  <a:pt x="488974" y="2792944"/>
                  <a:pt x="488974" y="1853323"/>
                  <a:pt x="488974" y="1846843"/>
                </a:cubicBezTo>
                <a:cubicBezTo>
                  <a:pt x="482455" y="1522835"/>
                  <a:pt x="241227" y="1470994"/>
                  <a:pt x="169511" y="1451553"/>
                </a:cubicBezTo>
                <a:cubicBezTo>
                  <a:pt x="149952" y="1445073"/>
                  <a:pt x="91275" y="1438593"/>
                  <a:pt x="45638" y="1432113"/>
                </a:cubicBezTo>
                <a:cubicBezTo>
                  <a:pt x="13039" y="1432113"/>
                  <a:pt x="0" y="1399712"/>
                  <a:pt x="0" y="1367312"/>
                </a:cubicBezTo>
                <a:lnTo>
                  <a:pt x="0" y="1367312"/>
                </a:lnTo>
                <a:close/>
              </a:path>
            </a:pathLst>
          </a:custGeom>
          <a:solidFill>
            <a:srgbClr val="3ADF68"/>
          </a:solidFill>
          <a:ln w="65088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566934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sic_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ACBFDDBA-C89E-74A9-2B9B-09F01BBBFF66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641985" y="6415289"/>
            <a:ext cx="1044575" cy="231716"/>
            <a:chOff x="8489504" y="910877"/>
            <a:chExt cx="2734509" cy="606592"/>
          </a:xfrm>
          <a:solidFill>
            <a:schemeClr val="bg1"/>
          </a:solidFill>
        </p:grpSpPr>
        <p:sp>
          <p:nvSpPr>
            <p:cNvPr id="5" name="Полилиния 4">
              <a:extLst>
                <a:ext uri="{FF2B5EF4-FFF2-40B4-BE49-F238E27FC236}">
                  <a16:creationId xmlns:a16="http://schemas.microsoft.com/office/drawing/2014/main" id="{B3BBE626-21CF-2C0F-49DC-7B9189E1351C}"/>
                </a:ext>
              </a:extLst>
            </p:cNvPr>
            <p:cNvSpPr/>
            <p:nvPr/>
          </p:nvSpPr>
          <p:spPr>
            <a:xfrm>
              <a:off x="10064626" y="910877"/>
              <a:ext cx="1159387" cy="606592"/>
            </a:xfrm>
            <a:custGeom>
              <a:avLst/>
              <a:gdLst>
                <a:gd name="connsiteX0" fmla="*/ 0 w 1159387"/>
                <a:gd name="connsiteY0" fmla="*/ 178242 h 606592"/>
                <a:gd name="connsiteX1" fmla="*/ 0 w 1159387"/>
                <a:gd name="connsiteY1" fmla="*/ 237024 h 606592"/>
                <a:gd name="connsiteX2" fmla="*/ 9135 w 1159387"/>
                <a:gd name="connsiteY2" fmla="*/ 246098 h 606592"/>
                <a:gd name="connsiteX3" fmla="*/ 30214 w 1159387"/>
                <a:gd name="connsiteY3" fmla="*/ 250009 h 606592"/>
                <a:gd name="connsiteX4" fmla="*/ 32261 w 1159387"/>
                <a:gd name="connsiteY4" fmla="*/ 250607 h 606592"/>
                <a:gd name="connsiteX5" fmla="*/ 85030 w 1159387"/>
                <a:gd name="connsiteY5" fmla="*/ 319338 h 606592"/>
                <a:gd name="connsiteX6" fmla="*/ 85030 w 1159387"/>
                <a:gd name="connsiteY6" fmla="*/ 483817 h 606592"/>
                <a:gd name="connsiteX7" fmla="*/ 120863 w 1159387"/>
                <a:gd name="connsiteY7" fmla="*/ 570989 h 606592"/>
                <a:gd name="connsiteX8" fmla="*/ 205874 w 1159387"/>
                <a:gd name="connsiteY8" fmla="*/ 606364 h 606592"/>
                <a:gd name="connsiteX9" fmla="*/ 207284 w 1159387"/>
                <a:gd name="connsiteY9" fmla="*/ 606364 h 606592"/>
                <a:gd name="connsiteX10" fmla="*/ 235964 w 1159387"/>
                <a:gd name="connsiteY10" fmla="*/ 606364 h 606592"/>
                <a:gd name="connsiteX11" fmla="*/ 247356 w 1159387"/>
                <a:gd name="connsiteY11" fmla="*/ 593268 h 606592"/>
                <a:gd name="connsiteX12" fmla="*/ 247337 w 1159387"/>
                <a:gd name="connsiteY12" fmla="*/ 563750 h 606592"/>
                <a:gd name="connsiteX13" fmla="*/ 247337 w 1159387"/>
                <a:gd name="connsiteY13" fmla="*/ 541928 h 606592"/>
                <a:gd name="connsiteX14" fmla="*/ 236802 w 1159387"/>
                <a:gd name="connsiteY14" fmla="*/ 530565 h 606592"/>
                <a:gd name="connsiteX15" fmla="*/ 197454 w 1159387"/>
                <a:gd name="connsiteY15" fmla="*/ 530527 h 606592"/>
                <a:gd name="connsiteX16" fmla="*/ 159506 w 1159387"/>
                <a:gd name="connsiteY16" fmla="*/ 492285 h 606592"/>
                <a:gd name="connsiteX17" fmla="*/ 159506 w 1159387"/>
                <a:gd name="connsiteY17" fmla="*/ 403084 h 606592"/>
                <a:gd name="connsiteX18" fmla="*/ 159506 w 1159387"/>
                <a:gd name="connsiteY18" fmla="*/ 316772 h 606592"/>
                <a:gd name="connsiteX19" fmla="*/ 100365 w 1159387"/>
                <a:gd name="connsiteY19" fmla="*/ 207274 h 606592"/>
                <a:gd name="connsiteX20" fmla="*/ 99080 w 1159387"/>
                <a:gd name="connsiteY20" fmla="*/ 206423 h 606592"/>
                <a:gd name="connsiteX21" fmla="*/ 100356 w 1159387"/>
                <a:gd name="connsiteY21" fmla="*/ 205547 h 606592"/>
                <a:gd name="connsiteX22" fmla="*/ 159506 w 1159387"/>
                <a:gd name="connsiteY22" fmla="*/ 90665 h 606592"/>
                <a:gd name="connsiteX23" fmla="*/ 159506 w 1159387"/>
                <a:gd name="connsiteY23" fmla="*/ 10992 h 606592"/>
                <a:gd name="connsiteX24" fmla="*/ 148962 w 1159387"/>
                <a:gd name="connsiteY24" fmla="*/ 0 h 606592"/>
                <a:gd name="connsiteX25" fmla="*/ 95565 w 1159387"/>
                <a:gd name="connsiteY25" fmla="*/ 0 h 606592"/>
                <a:gd name="connsiteX26" fmla="*/ 85030 w 1159387"/>
                <a:gd name="connsiteY26" fmla="*/ 10992 h 606592"/>
                <a:gd name="connsiteX27" fmla="*/ 85030 w 1159387"/>
                <a:gd name="connsiteY27" fmla="*/ 90665 h 606592"/>
                <a:gd name="connsiteX28" fmla="*/ 32366 w 1159387"/>
                <a:gd name="connsiteY28" fmla="*/ 162761 h 606592"/>
                <a:gd name="connsiteX29" fmla="*/ 30214 w 1159387"/>
                <a:gd name="connsiteY29" fmla="*/ 163402 h 606592"/>
                <a:gd name="connsiteX30" fmla="*/ 9135 w 1159387"/>
                <a:gd name="connsiteY30" fmla="*/ 167302 h 606592"/>
                <a:gd name="connsiteX31" fmla="*/ 0 w 1159387"/>
                <a:gd name="connsiteY31" fmla="*/ 178242 h 606592"/>
                <a:gd name="connsiteX32" fmla="*/ 933768 w 1159387"/>
                <a:gd name="connsiteY32" fmla="*/ 313343 h 606592"/>
                <a:gd name="connsiteX33" fmla="*/ 933768 w 1159387"/>
                <a:gd name="connsiteY33" fmla="*/ 468558 h 606592"/>
                <a:gd name="connsiteX34" fmla="*/ 930749 w 1159387"/>
                <a:gd name="connsiteY34" fmla="*/ 475902 h 606592"/>
                <a:gd name="connsiteX35" fmla="*/ 923472 w 1159387"/>
                <a:gd name="connsiteY35" fmla="*/ 478940 h 606592"/>
                <a:gd name="connsiteX36" fmla="*/ 869627 w 1159387"/>
                <a:gd name="connsiteY36" fmla="*/ 478902 h 606592"/>
                <a:gd name="connsiteX37" fmla="*/ 859349 w 1159387"/>
                <a:gd name="connsiteY37" fmla="*/ 468530 h 606592"/>
                <a:gd name="connsiteX38" fmla="*/ 859349 w 1159387"/>
                <a:gd name="connsiteY38" fmla="*/ 10375 h 606592"/>
                <a:gd name="connsiteX39" fmla="*/ 869636 w 1159387"/>
                <a:gd name="connsiteY39" fmla="*/ 0 h 606592"/>
                <a:gd name="connsiteX40" fmla="*/ 923472 w 1159387"/>
                <a:gd name="connsiteY40" fmla="*/ 0 h 606592"/>
                <a:gd name="connsiteX41" fmla="*/ 933768 w 1159387"/>
                <a:gd name="connsiteY41" fmla="*/ 10375 h 606592"/>
                <a:gd name="connsiteX42" fmla="*/ 933768 w 1159387"/>
                <a:gd name="connsiteY42" fmla="*/ 193355 h 606592"/>
                <a:gd name="connsiteX43" fmla="*/ 1159388 w 1159387"/>
                <a:gd name="connsiteY43" fmla="*/ 312995 h 606592"/>
                <a:gd name="connsiteX44" fmla="*/ 1159388 w 1159387"/>
                <a:gd name="connsiteY44" fmla="*/ 468520 h 606592"/>
                <a:gd name="connsiteX45" fmla="*/ 1156378 w 1159387"/>
                <a:gd name="connsiteY45" fmla="*/ 475854 h 606592"/>
                <a:gd name="connsiteX46" fmla="*/ 1149101 w 1159387"/>
                <a:gd name="connsiteY46" fmla="*/ 478893 h 606592"/>
                <a:gd name="connsiteX47" fmla="*/ 1095199 w 1159387"/>
                <a:gd name="connsiteY47" fmla="*/ 478893 h 606592"/>
                <a:gd name="connsiteX48" fmla="*/ 1087922 w 1159387"/>
                <a:gd name="connsiteY48" fmla="*/ 475854 h 606592"/>
                <a:gd name="connsiteX49" fmla="*/ 1084912 w 1159387"/>
                <a:gd name="connsiteY49" fmla="*/ 468520 h 606592"/>
                <a:gd name="connsiteX50" fmla="*/ 1084912 w 1159387"/>
                <a:gd name="connsiteY50" fmla="*/ 312995 h 606592"/>
                <a:gd name="connsiteX51" fmla="*/ 966868 w 1159387"/>
                <a:gd name="connsiteY51" fmla="*/ 246504 h 606592"/>
                <a:gd name="connsiteX52" fmla="*/ 933768 w 1159387"/>
                <a:gd name="connsiteY52" fmla="*/ 313343 h 606592"/>
                <a:gd name="connsiteX53" fmla="*/ 596563 w 1159387"/>
                <a:gd name="connsiteY53" fmla="*/ 207040 h 606592"/>
                <a:gd name="connsiteX54" fmla="*/ 549471 w 1159387"/>
                <a:gd name="connsiteY54" fmla="*/ 323084 h 606592"/>
                <a:gd name="connsiteX55" fmla="*/ 596563 w 1159387"/>
                <a:gd name="connsiteY55" fmla="*/ 439145 h 606592"/>
                <a:gd name="connsiteX56" fmla="*/ 797522 w 1159387"/>
                <a:gd name="connsiteY56" fmla="*/ 460995 h 606592"/>
                <a:gd name="connsiteX57" fmla="*/ 799923 w 1159387"/>
                <a:gd name="connsiteY57" fmla="*/ 459357 h 606592"/>
                <a:gd name="connsiteX58" fmla="*/ 805247 w 1159387"/>
                <a:gd name="connsiteY58" fmla="*/ 455385 h 606592"/>
                <a:gd name="connsiteX59" fmla="*/ 806018 w 1159387"/>
                <a:gd name="connsiteY59" fmla="*/ 438745 h 606592"/>
                <a:gd name="connsiteX60" fmla="*/ 790226 w 1159387"/>
                <a:gd name="connsiteY60" fmla="*/ 417067 h 606592"/>
                <a:gd name="connsiteX61" fmla="*/ 776110 w 1159387"/>
                <a:gd name="connsiteY61" fmla="*/ 397747 h 606592"/>
                <a:gd name="connsiteX62" fmla="*/ 760975 w 1159387"/>
                <a:gd name="connsiteY62" fmla="*/ 394585 h 606592"/>
                <a:gd name="connsiteX63" fmla="*/ 757003 w 1159387"/>
                <a:gd name="connsiteY63" fmla="*/ 397067 h 606592"/>
                <a:gd name="connsiteX64" fmla="*/ 619737 w 1159387"/>
                <a:gd name="connsiteY64" fmla="*/ 323084 h 606592"/>
                <a:gd name="connsiteX65" fmla="*/ 756945 w 1159387"/>
                <a:gd name="connsiteY65" fmla="*/ 249203 h 606592"/>
                <a:gd name="connsiteX66" fmla="*/ 760975 w 1159387"/>
                <a:gd name="connsiteY66" fmla="*/ 251591 h 606592"/>
                <a:gd name="connsiteX67" fmla="*/ 776148 w 1159387"/>
                <a:gd name="connsiteY67" fmla="*/ 248416 h 606592"/>
                <a:gd name="connsiteX68" fmla="*/ 790207 w 1159387"/>
                <a:gd name="connsiteY68" fmla="*/ 229138 h 606592"/>
                <a:gd name="connsiteX69" fmla="*/ 804618 w 1159387"/>
                <a:gd name="connsiteY69" fmla="*/ 209395 h 606592"/>
                <a:gd name="connsiteX70" fmla="*/ 799903 w 1159387"/>
                <a:gd name="connsiteY70" fmla="*/ 186809 h 606592"/>
                <a:gd name="connsiteX71" fmla="*/ 797522 w 1159387"/>
                <a:gd name="connsiteY71" fmla="*/ 185195 h 606592"/>
                <a:gd name="connsiteX72" fmla="*/ 596563 w 1159387"/>
                <a:gd name="connsiteY72" fmla="*/ 207040 h 606592"/>
                <a:gd name="connsiteX73" fmla="*/ 293714 w 1159387"/>
                <a:gd name="connsiteY73" fmla="*/ 350313 h 606592"/>
                <a:gd name="connsiteX74" fmla="*/ 469385 w 1159387"/>
                <a:gd name="connsiteY74" fmla="*/ 350313 h 606592"/>
                <a:gd name="connsiteX75" fmla="*/ 507323 w 1159387"/>
                <a:gd name="connsiteY75" fmla="*/ 312290 h 606592"/>
                <a:gd name="connsiteX76" fmla="*/ 472890 w 1159387"/>
                <a:gd name="connsiteY76" fmla="*/ 208836 h 606592"/>
                <a:gd name="connsiteX77" fmla="*/ 368190 w 1159387"/>
                <a:gd name="connsiteY77" fmla="*/ 159530 h 606592"/>
                <a:gd name="connsiteX78" fmla="*/ 219228 w 1159387"/>
                <a:gd name="connsiteY78" fmla="*/ 323103 h 606592"/>
                <a:gd name="connsiteX79" fmla="*/ 375915 w 1159387"/>
                <a:gd name="connsiteY79" fmla="*/ 486674 h 606592"/>
                <a:gd name="connsiteX80" fmla="*/ 502398 w 1159387"/>
                <a:gd name="connsiteY80" fmla="*/ 450623 h 606592"/>
                <a:gd name="connsiteX81" fmla="*/ 505913 w 1159387"/>
                <a:gd name="connsiteY81" fmla="*/ 435907 h 606592"/>
                <a:gd name="connsiteX82" fmla="*/ 504818 w 1159387"/>
                <a:gd name="connsiteY82" fmla="*/ 434088 h 606592"/>
                <a:gd name="connsiteX83" fmla="*/ 478519 w 1159387"/>
                <a:gd name="connsiteY83" fmla="*/ 391689 h 606592"/>
                <a:gd name="connsiteX84" fmla="*/ 464460 w 1159387"/>
                <a:gd name="connsiteY84" fmla="*/ 388476 h 606592"/>
                <a:gd name="connsiteX85" fmla="*/ 377335 w 1159387"/>
                <a:gd name="connsiteY85" fmla="*/ 414990 h 606592"/>
                <a:gd name="connsiteX86" fmla="*/ 293714 w 1159387"/>
                <a:gd name="connsiteY86" fmla="*/ 350313 h 606592"/>
                <a:gd name="connsiteX87" fmla="*/ 430732 w 1159387"/>
                <a:gd name="connsiteY87" fmla="*/ 287912 h 606592"/>
                <a:gd name="connsiteX88" fmla="*/ 368190 w 1159387"/>
                <a:gd name="connsiteY88" fmla="*/ 232071 h 606592"/>
                <a:gd name="connsiteX89" fmla="*/ 296524 w 1159387"/>
                <a:gd name="connsiteY89" fmla="*/ 287912 h 606592"/>
                <a:gd name="connsiteX90" fmla="*/ 430732 w 1159387"/>
                <a:gd name="connsiteY90" fmla="*/ 287912 h 606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</a:cxnLst>
              <a:rect l="l" t="t" r="r" b="b"/>
              <a:pathLst>
                <a:path w="1159387" h="606592">
                  <a:moveTo>
                    <a:pt x="0" y="178242"/>
                  </a:moveTo>
                  <a:lnTo>
                    <a:pt x="0" y="237024"/>
                  </a:lnTo>
                  <a:cubicBezTo>
                    <a:pt x="695" y="241577"/>
                    <a:pt x="4220" y="245266"/>
                    <a:pt x="9135" y="246098"/>
                  </a:cubicBezTo>
                  <a:cubicBezTo>
                    <a:pt x="16869" y="247387"/>
                    <a:pt x="27404" y="249197"/>
                    <a:pt x="30214" y="250009"/>
                  </a:cubicBezTo>
                  <a:cubicBezTo>
                    <a:pt x="30833" y="250193"/>
                    <a:pt x="31518" y="250390"/>
                    <a:pt x="32261" y="250607"/>
                  </a:cubicBezTo>
                  <a:cubicBezTo>
                    <a:pt x="46749" y="254784"/>
                    <a:pt x="83697" y="265433"/>
                    <a:pt x="85030" y="319338"/>
                  </a:cubicBezTo>
                  <a:lnTo>
                    <a:pt x="85030" y="483817"/>
                  </a:lnTo>
                  <a:cubicBezTo>
                    <a:pt x="85030" y="516573"/>
                    <a:pt x="97670" y="547958"/>
                    <a:pt x="120863" y="570989"/>
                  </a:cubicBezTo>
                  <a:cubicBezTo>
                    <a:pt x="143342" y="593696"/>
                    <a:pt x="174261" y="606402"/>
                    <a:pt x="205874" y="606364"/>
                  </a:cubicBezTo>
                  <a:lnTo>
                    <a:pt x="207284" y="606364"/>
                  </a:lnTo>
                  <a:cubicBezTo>
                    <a:pt x="207284" y="606364"/>
                    <a:pt x="207284" y="606879"/>
                    <a:pt x="235964" y="606364"/>
                  </a:cubicBezTo>
                  <a:cubicBezTo>
                    <a:pt x="243232" y="606231"/>
                    <a:pt x="247461" y="601383"/>
                    <a:pt x="247356" y="593268"/>
                  </a:cubicBezTo>
                  <a:cubicBezTo>
                    <a:pt x="247222" y="582028"/>
                    <a:pt x="247527" y="573246"/>
                    <a:pt x="247337" y="563750"/>
                  </a:cubicBezTo>
                  <a:cubicBezTo>
                    <a:pt x="247184" y="555816"/>
                    <a:pt x="247337" y="548520"/>
                    <a:pt x="247337" y="541928"/>
                  </a:cubicBezTo>
                  <a:cubicBezTo>
                    <a:pt x="247337" y="535804"/>
                    <a:pt x="242422" y="530794"/>
                    <a:pt x="236802" y="530565"/>
                  </a:cubicBezTo>
                  <a:cubicBezTo>
                    <a:pt x="226258" y="530527"/>
                    <a:pt x="211504" y="530527"/>
                    <a:pt x="197454" y="530527"/>
                  </a:cubicBezTo>
                  <a:cubicBezTo>
                    <a:pt x="177071" y="530527"/>
                    <a:pt x="159506" y="513401"/>
                    <a:pt x="159506" y="492285"/>
                  </a:cubicBezTo>
                  <a:lnTo>
                    <a:pt x="159506" y="403084"/>
                  </a:lnTo>
                  <a:cubicBezTo>
                    <a:pt x="160202" y="402874"/>
                    <a:pt x="159506" y="317750"/>
                    <a:pt x="159506" y="316772"/>
                  </a:cubicBezTo>
                  <a:cubicBezTo>
                    <a:pt x="157544" y="243958"/>
                    <a:pt x="109233" y="212964"/>
                    <a:pt x="100365" y="207274"/>
                  </a:cubicBezTo>
                  <a:cubicBezTo>
                    <a:pt x="99708" y="206855"/>
                    <a:pt x="99270" y="206569"/>
                    <a:pt x="99080" y="206423"/>
                  </a:cubicBezTo>
                  <a:cubicBezTo>
                    <a:pt x="99270" y="206264"/>
                    <a:pt x="99708" y="205979"/>
                    <a:pt x="100356" y="205547"/>
                  </a:cubicBezTo>
                  <a:cubicBezTo>
                    <a:pt x="109395" y="199604"/>
                    <a:pt x="159506" y="166622"/>
                    <a:pt x="159506" y="90665"/>
                  </a:cubicBezTo>
                  <a:lnTo>
                    <a:pt x="159506" y="10992"/>
                  </a:lnTo>
                  <a:cubicBezTo>
                    <a:pt x="159506" y="4922"/>
                    <a:pt x="155287" y="0"/>
                    <a:pt x="148962" y="0"/>
                  </a:cubicBezTo>
                  <a:lnTo>
                    <a:pt x="95565" y="0"/>
                  </a:lnTo>
                  <a:cubicBezTo>
                    <a:pt x="89945" y="0"/>
                    <a:pt x="85030" y="4922"/>
                    <a:pt x="85030" y="10992"/>
                  </a:cubicBezTo>
                  <a:lnTo>
                    <a:pt x="85030" y="90665"/>
                  </a:lnTo>
                  <a:cubicBezTo>
                    <a:pt x="85030" y="147350"/>
                    <a:pt x="47054" y="158469"/>
                    <a:pt x="32366" y="162761"/>
                  </a:cubicBezTo>
                  <a:cubicBezTo>
                    <a:pt x="31576" y="162997"/>
                    <a:pt x="30861" y="163206"/>
                    <a:pt x="30214" y="163402"/>
                  </a:cubicBezTo>
                  <a:cubicBezTo>
                    <a:pt x="27404" y="164209"/>
                    <a:pt x="16869" y="166026"/>
                    <a:pt x="9135" y="167302"/>
                  </a:cubicBezTo>
                  <a:cubicBezTo>
                    <a:pt x="3515" y="168248"/>
                    <a:pt x="0" y="172858"/>
                    <a:pt x="0" y="178242"/>
                  </a:cubicBezTo>
                  <a:close/>
                  <a:moveTo>
                    <a:pt x="933768" y="313343"/>
                  </a:moveTo>
                  <a:lnTo>
                    <a:pt x="933768" y="468558"/>
                  </a:lnTo>
                  <a:cubicBezTo>
                    <a:pt x="933768" y="471320"/>
                    <a:pt x="932682" y="473949"/>
                    <a:pt x="930749" y="475902"/>
                  </a:cubicBezTo>
                  <a:cubicBezTo>
                    <a:pt x="928825" y="477845"/>
                    <a:pt x="926206" y="478940"/>
                    <a:pt x="923472" y="478940"/>
                  </a:cubicBezTo>
                  <a:cubicBezTo>
                    <a:pt x="909270" y="478921"/>
                    <a:pt x="883819" y="478912"/>
                    <a:pt x="869627" y="478902"/>
                  </a:cubicBezTo>
                  <a:cubicBezTo>
                    <a:pt x="863950" y="478893"/>
                    <a:pt x="859349" y="474254"/>
                    <a:pt x="859349" y="468530"/>
                  </a:cubicBezTo>
                  <a:cubicBezTo>
                    <a:pt x="859349" y="405427"/>
                    <a:pt x="859349" y="73513"/>
                    <a:pt x="859349" y="10375"/>
                  </a:cubicBezTo>
                  <a:cubicBezTo>
                    <a:pt x="859349" y="4648"/>
                    <a:pt x="863959" y="0"/>
                    <a:pt x="869636" y="0"/>
                  </a:cubicBezTo>
                  <a:cubicBezTo>
                    <a:pt x="883838" y="0"/>
                    <a:pt x="909279" y="0"/>
                    <a:pt x="923472" y="0"/>
                  </a:cubicBezTo>
                  <a:cubicBezTo>
                    <a:pt x="929158" y="0"/>
                    <a:pt x="933768" y="4648"/>
                    <a:pt x="933768" y="10375"/>
                  </a:cubicBezTo>
                  <a:cubicBezTo>
                    <a:pt x="933768" y="50513"/>
                    <a:pt x="933768" y="193355"/>
                    <a:pt x="933768" y="193355"/>
                  </a:cubicBezTo>
                  <a:cubicBezTo>
                    <a:pt x="1013169" y="118433"/>
                    <a:pt x="1159388" y="172318"/>
                    <a:pt x="1159388" y="312995"/>
                  </a:cubicBezTo>
                  <a:lnTo>
                    <a:pt x="1159388" y="468520"/>
                  </a:lnTo>
                  <a:cubicBezTo>
                    <a:pt x="1159388" y="471273"/>
                    <a:pt x="1158302" y="473911"/>
                    <a:pt x="1156378" y="475854"/>
                  </a:cubicBezTo>
                  <a:cubicBezTo>
                    <a:pt x="1154445" y="477797"/>
                    <a:pt x="1151835" y="478893"/>
                    <a:pt x="1149101" y="478893"/>
                  </a:cubicBezTo>
                  <a:cubicBezTo>
                    <a:pt x="1134899" y="478893"/>
                    <a:pt x="1109401" y="478893"/>
                    <a:pt x="1095199" y="478893"/>
                  </a:cubicBezTo>
                  <a:cubicBezTo>
                    <a:pt x="1092465" y="478893"/>
                    <a:pt x="1089855" y="477797"/>
                    <a:pt x="1087922" y="475854"/>
                  </a:cubicBezTo>
                  <a:cubicBezTo>
                    <a:pt x="1085998" y="473911"/>
                    <a:pt x="1084912" y="471273"/>
                    <a:pt x="1084912" y="468520"/>
                  </a:cubicBezTo>
                  <a:cubicBezTo>
                    <a:pt x="1084912" y="432211"/>
                    <a:pt x="1084912" y="312995"/>
                    <a:pt x="1084912" y="312995"/>
                  </a:cubicBezTo>
                  <a:cubicBezTo>
                    <a:pt x="1084912" y="239513"/>
                    <a:pt x="1011121" y="217047"/>
                    <a:pt x="966868" y="246504"/>
                  </a:cubicBezTo>
                  <a:cubicBezTo>
                    <a:pt x="947885" y="259141"/>
                    <a:pt x="933768" y="281804"/>
                    <a:pt x="933768" y="313343"/>
                  </a:cubicBezTo>
                  <a:close/>
                  <a:moveTo>
                    <a:pt x="596563" y="207040"/>
                  </a:moveTo>
                  <a:cubicBezTo>
                    <a:pt x="564235" y="238922"/>
                    <a:pt x="549471" y="280953"/>
                    <a:pt x="549471" y="323084"/>
                  </a:cubicBezTo>
                  <a:cubicBezTo>
                    <a:pt x="549471" y="365223"/>
                    <a:pt x="564235" y="407246"/>
                    <a:pt x="596563" y="439145"/>
                  </a:cubicBezTo>
                  <a:cubicBezTo>
                    <a:pt x="650665" y="494085"/>
                    <a:pt x="734285" y="501400"/>
                    <a:pt x="797522" y="460995"/>
                  </a:cubicBezTo>
                  <a:cubicBezTo>
                    <a:pt x="798208" y="460481"/>
                    <a:pt x="799037" y="459938"/>
                    <a:pt x="799923" y="459357"/>
                  </a:cubicBezTo>
                  <a:cubicBezTo>
                    <a:pt x="801761" y="458147"/>
                    <a:pt x="803828" y="456795"/>
                    <a:pt x="805247" y="455385"/>
                  </a:cubicBezTo>
                  <a:cubicBezTo>
                    <a:pt x="808762" y="451909"/>
                    <a:pt x="810762" y="445470"/>
                    <a:pt x="806018" y="438745"/>
                  </a:cubicBezTo>
                  <a:cubicBezTo>
                    <a:pt x="801761" y="432697"/>
                    <a:pt x="796170" y="425153"/>
                    <a:pt x="790226" y="417067"/>
                  </a:cubicBezTo>
                  <a:cubicBezTo>
                    <a:pt x="785121" y="410132"/>
                    <a:pt x="780339" y="403665"/>
                    <a:pt x="776110" y="397747"/>
                  </a:cubicBezTo>
                  <a:cubicBezTo>
                    <a:pt x="772671" y="392947"/>
                    <a:pt x="765890" y="391664"/>
                    <a:pt x="760975" y="394585"/>
                  </a:cubicBezTo>
                  <a:cubicBezTo>
                    <a:pt x="759565" y="395461"/>
                    <a:pt x="758393" y="396172"/>
                    <a:pt x="757003" y="397067"/>
                  </a:cubicBezTo>
                  <a:cubicBezTo>
                    <a:pt x="686032" y="442936"/>
                    <a:pt x="619737" y="382374"/>
                    <a:pt x="619737" y="323084"/>
                  </a:cubicBezTo>
                  <a:cubicBezTo>
                    <a:pt x="619737" y="263795"/>
                    <a:pt x="687384" y="203573"/>
                    <a:pt x="756945" y="249203"/>
                  </a:cubicBezTo>
                  <a:cubicBezTo>
                    <a:pt x="758308" y="250105"/>
                    <a:pt x="759565" y="250708"/>
                    <a:pt x="760975" y="251591"/>
                  </a:cubicBezTo>
                  <a:cubicBezTo>
                    <a:pt x="765890" y="254512"/>
                    <a:pt x="772805" y="253115"/>
                    <a:pt x="776148" y="248416"/>
                  </a:cubicBezTo>
                  <a:cubicBezTo>
                    <a:pt x="780377" y="242497"/>
                    <a:pt x="785102" y="236065"/>
                    <a:pt x="790207" y="229138"/>
                  </a:cubicBezTo>
                  <a:cubicBezTo>
                    <a:pt x="795560" y="221854"/>
                    <a:pt x="800580" y="215072"/>
                    <a:pt x="804618" y="209395"/>
                  </a:cubicBezTo>
                  <a:cubicBezTo>
                    <a:pt x="811362" y="199928"/>
                    <a:pt x="809571" y="193191"/>
                    <a:pt x="799903" y="186809"/>
                  </a:cubicBezTo>
                  <a:cubicBezTo>
                    <a:pt x="799027" y="186231"/>
                    <a:pt x="798199" y="185691"/>
                    <a:pt x="797522" y="185195"/>
                  </a:cubicBezTo>
                  <a:cubicBezTo>
                    <a:pt x="734285" y="144778"/>
                    <a:pt x="650665" y="152087"/>
                    <a:pt x="596563" y="207040"/>
                  </a:cubicBezTo>
                  <a:close/>
                  <a:moveTo>
                    <a:pt x="293714" y="350313"/>
                  </a:moveTo>
                  <a:lnTo>
                    <a:pt x="469385" y="350313"/>
                  </a:lnTo>
                  <a:cubicBezTo>
                    <a:pt x="490463" y="350313"/>
                    <a:pt x="507323" y="333283"/>
                    <a:pt x="507323" y="312290"/>
                  </a:cubicBezTo>
                  <a:cubicBezTo>
                    <a:pt x="507323" y="265561"/>
                    <a:pt x="499588" y="240644"/>
                    <a:pt x="472890" y="208836"/>
                  </a:cubicBezTo>
                  <a:cubicBezTo>
                    <a:pt x="445486" y="176865"/>
                    <a:pt x="401919" y="159530"/>
                    <a:pt x="368190" y="159530"/>
                  </a:cubicBezTo>
                  <a:cubicBezTo>
                    <a:pt x="283875" y="159530"/>
                    <a:pt x="219228" y="231722"/>
                    <a:pt x="219228" y="323103"/>
                  </a:cubicBezTo>
                  <a:cubicBezTo>
                    <a:pt x="219228" y="435697"/>
                    <a:pt x="306354" y="486674"/>
                    <a:pt x="375915" y="486674"/>
                  </a:cubicBezTo>
                  <a:cubicBezTo>
                    <a:pt x="425807" y="486674"/>
                    <a:pt x="464460" y="474616"/>
                    <a:pt x="502398" y="450623"/>
                  </a:cubicBezTo>
                  <a:cubicBezTo>
                    <a:pt x="506618" y="447470"/>
                    <a:pt x="508723" y="441003"/>
                    <a:pt x="505913" y="435907"/>
                  </a:cubicBezTo>
                  <a:lnTo>
                    <a:pt x="504818" y="434088"/>
                  </a:lnTo>
                  <a:cubicBezTo>
                    <a:pt x="497150" y="421362"/>
                    <a:pt x="486558" y="403789"/>
                    <a:pt x="478519" y="391689"/>
                  </a:cubicBezTo>
                  <a:cubicBezTo>
                    <a:pt x="475709" y="386901"/>
                    <a:pt x="469385" y="385492"/>
                    <a:pt x="464460" y="388476"/>
                  </a:cubicBezTo>
                  <a:cubicBezTo>
                    <a:pt x="440571" y="402722"/>
                    <a:pt x="415273" y="415266"/>
                    <a:pt x="377335" y="414990"/>
                  </a:cubicBezTo>
                  <a:cubicBezTo>
                    <a:pt x="342197" y="414742"/>
                    <a:pt x="304954" y="392280"/>
                    <a:pt x="293714" y="350313"/>
                  </a:cubicBezTo>
                  <a:close/>
                  <a:moveTo>
                    <a:pt x="430732" y="287912"/>
                  </a:moveTo>
                  <a:cubicBezTo>
                    <a:pt x="424407" y="240694"/>
                    <a:pt x="392079" y="232071"/>
                    <a:pt x="368190" y="232071"/>
                  </a:cubicBezTo>
                  <a:cubicBezTo>
                    <a:pt x="335872" y="232071"/>
                    <a:pt x="308478" y="256182"/>
                    <a:pt x="296524" y="287912"/>
                  </a:cubicBezTo>
                  <a:lnTo>
                    <a:pt x="430732" y="287912"/>
                  </a:lnTo>
                  <a:close/>
                </a:path>
              </a:pathLst>
            </a:custGeom>
            <a:grpFill/>
            <a:ln w="76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7" name="Полилиния 6">
              <a:extLst>
                <a:ext uri="{FF2B5EF4-FFF2-40B4-BE49-F238E27FC236}">
                  <a16:creationId xmlns:a16="http://schemas.microsoft.com/office/drawing/2014/main" id="{1CF7CFB8-8200-382F-7DBB-29C09AF7AE1B}"/>
                </a:ext>
              </a:extLst>
            </p:cNvPr>
            <p:cNvSpPr/>
            <p:nvPr/>
          </p:nvSpPr>
          <p:spPr>
            <a:xfrm>
              <a:off x="8489504" y="1070894"/>
              <a:ext cx="1492273" cy="326563"/>
            </a:xfrm>
            <a:custGeom>
              <a:avLst/>
              <a:gdLst>
                <a:gd name="connsiteX0" fmla="*/ 180273 w 1492273"/>
                <a:gd name="connsiteY0" fmla="*/ 900 h 326563"/>
                <a:gd name="connsiteX1" fmla="*/ 83526 w 1492273"/>
                <a:gd name="connsiteY1" fmla="*/ 20775 h 326563"/>
                <a:gd name="connsiteX2" fmla="*/ 15954 w 1492273"/>
                <a:gd name="connsiteY2" fmla="*/ 92853 h 326563"/>
                <a:gd name="connsiteX3" fmla="*/ 2323 w 1492273"/>
                <a:gd name="connsiteY3" fmla="*/ 190737 h 326563"/>
                <a:gd name="connsiteX4" fmla="*/ 47618 w 1492273"/>
                <a:gd name="connsiteY4" fmla="*/ 278557 h 326563"/>
                <a:gd name="connsiteX5" fmla="*/ 135243 w 1492273"/>
                <a:gd name="connsiteY5" fmla="*/ 324153 h 326563"/>
                <a:gd name="connsiteX6" fmla="*/ 233098 w 1492273"/>
                <a:gd name="connsiteY6" fmla="*/ 310818 h 326563"/>
                <a:gd name="connsiteX7" fmla="*/ 305341 w 1492273"/>
                <a:gd name="connsiteY7" fmla="*/ 243429 h 326563"/>
                <a:gd name="connsiteX8" fmla="*/ 325507 w 1492273"/>
                <a:gd name="connsiteY8" fmla="*/ 146675 h 326563"/>
                <a:gd name="connsiteX9" fmla="*/ 278778 w 1492273"/>
                <a:gd name="connsiteY9" fmla="*/ 47965 h 326563"/>
                <a:gd name="connsiteX10" fmla="*/ 180273 w 1492273"/>
                <a:gd name="connsiteY10" fmla="*/ 900 h 326563"/>
                <a:gd name="connsiteX11" fmla="*/ 174984 w 1492273"/>
                <a:gd name="connsiteY11" fmla="*/ 249697 h 326563"/>
                <a:gd name="connsiteX12" fmla="*/ 122555 w 1492273"/>
                <a:gd name="connsiteY12" fmla="*/ 240277 h 326563"/>
                <a:gd name="connsiteX13" fmla="*/ 85427 w 1492273"/>
                <a:gd name="connsiteY13" fmla="*/ 202047 h 326563"/>
                <a:gd name="connsiteX14" fmla="*/ 77507 w 1492273"/>
                <a:gd name="connsiteY14" fmla="*/ 149329 h 326563"/>
                <a:gd name="connsiteX15" fmla="*/ 101766 w 1492273"/>
                <a:gd name="connsiteY15" fmla="*/ 101883 h 326563"/>
                <a:gd name="connsiteX16" fmla="*/ 149113 w 1492273"/>
                <a:gd name="connsiteY16" fmla="*/ 77461 h 326563"/>
                <a:gd name="connsiteX17" fmla="*/ 201825 w 1492273"/>
                <a:gd name="connsiteY17" fmla="*/ 85220 h 326563"/>
                <a:gd name="connsiteX18" fmla="*/ 240132 w 1492273"/>
                <a:gd name="connsiteY18" fmla="*/ 122247 h 326563"/>
                <a:gd name="connsiteX19" fmla="*/ 249714 w 1492273"/>
                <a:gd name="connsiteY19" fmla="*/ 174684 h 326563"/>
                <a:gd name="connsiteX20" fmla="*/ 225058 w 1492273"/>
                <a:gd name="connsiteY20" fmla="*/ 224868 h 326563"/>
                <a:gd name="connsiteX21" fmla="*/ 174984 w 1492273"/>
                <a:gd name="connsiteY21" fmla="*/ 249697 h 326563"/>
                <a:gd name="connsiteX22" fmla="*/ 412780 w 1492273"/>
                <a:gd name="connsiteY22" fmla="*/ 7358 h 326563"/>
                <a:gd name="connsiteX23" fmla="*/ 396435 w 1492273"/>
                <a:gd name="connsiteY23" fmla="*/ 11091 h 326563"/>
                <a:gd name="connsiteX24" fmla="*/ 383276 w 1492273"/>
                <a:gd name="connsiteY24" fmla="*/ 21498 h 326563"/>
                <a:gd name="connsiteX25" fmla="*/ 375859 w 1492273"/>
                <a:gd name="connsiteY25" fmla="*/ 36548 h 326563"/>
                <a:gd name="connsiteX26" fmla="*/ 375620 w 1492273"/>
                <a:gd name="connsiteY26" fmla="*/ 53325 h 326563"/>
                <a:gd name="connsiteX27" fmla="*/ 414209 w 1492273"/>
                <a:gd name="connsiteY27" fmla="*/ 83537 h 326563"/>
                <a:gd name="connsiteX28" fmla="*/ 520143 w 1492273"/>
                <a:gd name="connsiteY28" fmla="*/ 83537 h 326563"/>
                <a:gd name="connsiteX29" fmla="*/ 355289 w 1492273"/>
                <a:gd name="connsiteY29" fmla="*/ 301846 h 326563"/>
                <a:gd name="connsiteX30" fmla="*/ 353136 w 1492273"/>
                <a:gd name="connsiteY30" fmla="*/ 307389 h 326563"/>
                <a:gd name="connsiteX31" fmla="*/ 354212 w 1492273"/>
                <a:gd name="connsiteY31" fmla="*/ 313237 h 326563"/>
                <a:gd name="connsiteX32" fmla="*/ 358204 w 1492273"/>
                <a:gd name="connsiteY32" fmla="*/ 317647 h 326563"/>
                <a:gd name="connsiteX33" fmla="*/ 363921 w 1492273"/>
                <a:gd name="connsiteY33" fmla="*/ 319295 h 326563"/>
                <a:gd name="connsiteX34" fmla="*/ 622504 w 1492273"/>
                <a:gd name="connsiteY34" fmla="*/ 319295 h 326563"/>
                <a:gd name="connsiteX35" fmla="*/ 661099 w 1492273"/>
                <a:gd name="connsiteY35" fmla="*/ 289082 h 326563"/>
                <a:gd name="connsiteX36" fmla="*/ 660861 w 1492273"/>
                <a:gd name="connsiteY36" fmla="*/ 272299 h 326563"/>
                <a:gd name="connsiteX37" fmla="*/ 653451 w 1492273"/>
                <a:gd name="connsiteY37" fmla="*/ 257250 h 326563"/>
                <a:gd name="connsiteX38" fmla="*/ 640297 w 1492273"/>
                <a:gd name="connsiteY38" fmla="*/ 246849 h 326563"/>
                <a:gd name="connsiteX39" fmla="*/ 623952 w 1492273"/>
                <a:gd name="connsiteY39" fmla="*/ 243105 h 326563"/>
                <a:gd name="connsiteX40" fmla="*/ 494883 w 1492273"/>
                <a:gd name="connsiteY40" fmla="*/ 243105 h 326563"/>
                <a:gd name="connsiteX41" fmla="*/ 659613 w 1492273"/>
                <a:gd name="connsiteY41" fmla="*/ 24972 h 326563"/>
                <a:gd name="connsiteX42" fmla="*/ 661785 w 1492273"/>
                <a:gd name="connsiteY42" fmla="*/ 19371 h 326563"/>
                <a:gd name="connsiteX43" fmla="*/ 660690 w 1492273"/>
                <a:gd name="connsiteY43" fmla="*/ 13473 h 326563"/>
                <a:gd name="connsiteX44" fmla="*/ 656661 w 1492273"/>
                <a:gd name="connsiteY44" fmla="*/ 9021 h 326563"/>
                <a:gd name="connsiteX45" fmla="*/ 650888 w 1492273"/>
                <a:gd name="connsiteY45" fmla="*/ 7358 h 326563"/>
                <a:gd name="connsiteX46" fmla="*/ 412780 w 1492273"/>
                <a:gd name="connsiteY46" fmla="*/ 7358 h 326563"/>
                <a:gd name="connsiteX47" fmla="*/ 1446105 w 1492273"/>
                <a:gd name="connsiteY47" fmla="*/ 8240 h 326563"/>
                <a:gd name="connsiteX48" fmla="*/ 1424484 w 1492273"/>
                <a:gd name="connsiteY48" fmla="*/ 22127 h 326563"/>
                <a:gd name="connsiteX49" fmla="*/ 1416378 w 1492273"/>
                <a:gd name="connsiteY49" fmla="*/ 46473 h 326563"/>
                <a:gd name="connsiteX50" fmla="*/ 1416378 w 1492273"/>
                <a:gd name="connsiteY50" fmla="*/ 173313 h 326563"/>
                <a:gd name="connsiteX51" fmla="*/ 1210980 w 1492273"/>
                <a:gd name="connsiteY51" fmla="*/ 9758 h 326563"/>
                <a:gd name="connsiteX52" fmla="*/ 1205389 w 1492273"/>
                <a:gd name="connsiteY52" fmla="*/ 7453 h 326563"/>
                <a:gd name="connsiteX53" fmla="*/ 1199426 w 1492273"/>
                <a:gd name="connsiteY53" fmla="*/ 8482 h 326563"/>
                <a:gd name="connsiteX54" fmla="*/ 1194921 w 1492273"/>
                <a:gd name="connsiteY54" fmla="*/ 12520 h 326563"/>
                <a:gd name="connsiteX55" fmla="*/ 1193263 w 1492273"/>
                <a:gd name="connsiteY55" fmla="*/ 18343 h 326563"/>
                <a:gd name="connsiteX56" fmla="*/ 1193263 w 1492273"/>
                <a:gd name="connsiteY56" fmla="*/ 280243 h 326563"/>
                <a:gd name="connsiteX57" fmla="*/ 1201388 w 1492273"/>
                <a:gd name="connsiteY57" fmla="*/ 304589 h 326563"/>
                <a:gd name="connsiteX58" fmla="*/ 1222962 w 1492273"/>
                <a:gd name="connsiteY58" fmla="*/ 318486 h 326563"/>
                <a:gd name="connsiteX59" fmla="*/ 1239803 w 1492273"/>
                <a:gd name="connsiteY59" fmla="*/ 318362 h 326563"/>
                <a:gd name="connsiteX60" fmla="*/ 1254966 w 1492273"/>
                <a:gd name="connsiteY60" fmla="*/ 310961 h 326563"/>
                <a:gd name="connsiteX61" fmla="*/ 1265444 w 1492273"/>
                <a:gd name="connsiteY61" fmla="*/ 297721 h 326563"/>
                <a:gd name="connsiteX62" fmla="*/ 1269159 w 1492273"/>
                <a:gd name="connsiteY62" fmla="*/ 281272 h 326563"/>
                <a:gd name="connsiteX63" fmla="*/ 1269159 w 1492273"/>
                <a:gd name="connsiteY63" fmla="*/ 153323 h 326563"/>
                <a:gd name="connsiteX64" fmla="*/ 1474538 w 1492273"/>
                <a:gd name="connsiteY64" fmla="*/ 316885 h 326563"/>
                <a:gd name="connsiteX65" fmla="*/ 1480148 w 1492273"/>
                <a:gd name="connsiteY65" fmla="*/ 319190 h 326563"/>
                <a:gd name="connsiteX66" fmla="*/ 1486120 w 1492273"/>
                <a:gd name="connsiteY66" fmla="*/ 318162 h 326563"/>
                <a:gd name="connsiteX67" fmla="*/ 1490625 w 1492273"/>
                <a:gd name="connsiteY67" fmla="*/ 314123 h 326563"/>
                <a:gd name="connsiteX68" fmla="*/ 1492273 w 1492273"/>
                <a:gd name="connsiteY68" fmla="*/ 308303 h 326563"/>
                <a:gd name="connsiteX69" fmla="*/ 1492273 w 1492273"/>
                <a:gd name="connsiteY69" fmla="*/ 45444 h 326563"/>
                <a:gd name="connsiteX70" fmla="*/ 1488559 w 1492273"/>
                <a:gd name="connsiteY70" fmla="*/ 28985 h 326563"/>
                <a:gd name="connsiteX71" fmla="*/ 1478081 w 1492273"/>
                <a:gd name="connsiteY71" fmla="*/ 15759 h 326563"/>
                <a:gd name="connsiteX72" fmla="*/ 1462908 w 1492273"/>
                <a:gd name="connsiteY72" fmla="*/ 8354 h 326563"/>
                <a:gd name="connsiteX73" fmla="*/ 1446105 w 1492273"/>
                <a:gd name="connsiteY73" fmla="*/ 8240 h 326563"/>
                <a:gd name="connsiteX74" fmla="*/ 911265 w 1492273"/>
                <a:gd name="connsiteY74" fmla="*/ 76254 h 326563"/>
                <a:gd name="connsiteX75" fmla="*/ 1063066 w 1492273"/>
                <a:gd name="connsiteY75" fmla="*/ 163286 h 326563"/>
                <a:gd name="connsiteX76" fmla="*/ 911265 w 1492273"/>
                <a:gd name="connsiteY76" fmla="*/ 250325 h 326563"/>
                <a:gd name="connsiteX77" fmla="*/ 759483 w 1492273"/>
                <a:gd name="connsiteY77" fmla="*/ 163286 h 326563"/>
                <a:gd name="connsiteX78" fmla="*/ 911265 w 1492273"/>
                <a:gd name="connsiteY78" fmla="*/ 76254 h 326563"/>
                <a:gd name="connsiteX79" fmla="*/ 911265 w 1492273"/>
                <a:gd name="connsiteY79" fmla="*/ 67 h 326563"/>
                <a:gd name="connsiteX80" fmla="*/ 683578 w 1492273"/>
                <a:gd name="connsiteY80" fmla="*/ 163286 h 326563"/>
                <a:gd name="connsiteX81" fmla="*/ 911265 w 1492273"/>
                <a:gd name="connsiteY81" fmla="*/ 326506 h 326563"/>
                <a:gd name="connsiteX82" fmla="*/ 1138961 w 1492273"/>
                <a:gd name="connsiteY82" fmla="*/ 163286 h 326563"/>
                <a:gd name="connsiteX83" fmla="*/ 911265 w 1492273"/>
                <a:gd name="connsiteY83" fmla="*/ 67 h 3265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</a:cxnLst>
              <a:rect l="l" t="t" r="r" b="b"/>
              <a:pathLst>
                <a:path w="1492273" h="326563">
                  <a:moveTo>
                    <a:pt x="180273" y="900"/>
                  </a:moveTo>
                  <a:cubicBezTo>
                    <a:pt x="146739" y="-2638"/>
                    <a:pt x="112948" y="4310"/>
                    <a:pt x="83526" y="20775"/>
                  </a:cubicBezTo>
                  <a:cubicBezTo>
                    <a:pt x="54104" y="37240"/>
                    <a:pt x="30499" y="62424"/>
                    <a:pt x="15954" y="92853"/>
                  </a:cubicBezTo>
                  <a:cubicBezTo>
                    <a:pt x="1417" y="123295"/>
                    <a:pt x="-3344" y="157489"/>
                    <a:pt x="2323" y="190737"/>
                  </a:cubicBezTo>
                  <a:cubicBezTo>
                    <a:pt x="7990" y="223998"/>
                    <a:pt x="23812" y="254669"/>
                    <a:pt x="47618" y="278557"/>
                  </a:cubicBezTo>
                  <a:cubicBezTo>
                    <a:pt x="71412" y="302455"/>
                    <a:pt x="102030" y="318381"/>
                    <a:pt x="135243" y="324153"/>
                  </a:cubicBezTo>
                  <a:cubicBezTo>
                    <a:pt x="168455" y="329925"/>
                    <a:pt x="202644" y="325277"/>
                    <a:pt x="233098" y="310818"/>
                  </a:cubicBezTo>
                  <a:cubicBezTo>
                    <a:pt x="263559" y="296359"/>
                    <a:pt x="288801" y="272814"/>
                    <a:pt x="305341" y="243429"/>
                  </a:cubicBezTo>
                  <a:cubicBezTo>
                    <a:pt x="321894" y="214035"/>
                    <a:pt x="328933" y="180240"/>
                    <a:pt x="325507" y="146675"/>
                  </a:cubicBezTo>
                  <a:cubicBezTo>
                    <a:pt x="321736" y="109375"/>
                    <a:pt x="305234" y="74514"/>
                    <a:pt x="278778" y="47965"/>
                  </a:cubicBezTo>
                  <a:cubicBezTo>
                    <a:pt x="252327" y="21410"/>
                    <a:pt x="217534" y="4786"/>
                    <a:pt x="180273" y="900"/>
                  </a:cubicBezTo>
                  <a:close/>
                  <a:moveTo>
                    <a:pt x="174984" y="249697"/>
                  </a:moveTo>
                  <a:cubicBezTo>
                    <a:pt x="156946" y="252116"/>
                    <a:pt x="138617" y="248820"/>
                    <a:pt x="122555" y="240277"/>
                  </a:cubicBezTo>
                  <a:cubicBezTo>
                    <a:pt x="106488" y="231725"/>
                    <a:pt x="93505" y="218366"/>
                    <a:pt x="85427" y="202047"/>
                  </a:cubicBezTo>
                  <a:cubicBezTo>
                    <a:pt x="77349" y="185733"/>
                    <a:pt x="74579" y="167300"/>
                    <a:pt x="77507" y="149329"/>
                  </a:cubicBezTo>
                  <a:cubicBezTo>
                    <a:pt x="80440" y="131372"/>
                    <a:pt x="88922" y="114773"/>
                    <a:pt x="101766" y="101883"/>
                  </a:cubicBezTo>
                  <a:cubicBezTo>
                    <a:pt x="114610" y="88986"/>
                    <a:pt x="131176" y="80452"/>
                    <a:pt x="149113" y="77461"/>
                  </a:cubicBezTo>
                  <a:cubicBezTo>
                    <a:pt x="167057" y="74470"/>
                    <a:pt x="185493" y="77181"/>
                    <a:pt x="201825" y="85220"/>
                  </a:cubicBezTo>
                  <a:cubicBezTo>
                    <a:pt x="218145" y="93247"/>
                    <a:pt x="231543" y="106194"/>
                    <a:pt x="240132" y="122247"/>
                  </a:cubicBezTo>
                  <a:cubicBezTo>
                    <a:pt x="248725" y="138293"/>
                    <a:pt x="252068" y="156625"/>
                    <a:pt x="249714" y="174684"/>
                  </a:cubicBezTo>
                  <a:cubicBezTo>
                    <a:pt x="247233" y="193670"/>
                    <a:pt x="238569" y="211305"/>
                    <a:pt x="225058" y="224868"/>
                  </a:cubicBezTo>
                  <a:cubicBezTo>
                    <a:pt x="211546" y="238425"/>
                    <a:pt x="193948" y="247154"/>
                    <a:pt x="174984" y="249697"/>
                  </a:cubicBezTo>
                  <a:close/>
                  <a:moveTo>
                    <a:pt x="412780" y="7358"/>
                  </a:moveTo>
                  <a:cubicBezTo>
                    <a:pt x="407126" y="7370"/>
                    <a:pt x="401534" y="8646"/>
                    <a:pt x="396435" y="11091"/>
                  </a:cubicBezTo>
                  <a:cubicBezTo>
                    <a:pt x="391328" y="13536"/>
                    <a:pt x="386833" y="17092"/>
                    <a:pt x="383276" y="21498"/>
                  </a:cubicBezTo>
                  <a:cubicBezTo>
                    <a:pt x="379712" y="25899"/>
                    <a:pt x="377174" y="31042"/>
                    <a:pt x="375859" y="36548"/>
                  </a:cubicBezTo>
                  <a:cubicBezTo>
                    <a:pt x="374537" y="42053"/>
                    <a:pt x="374448" y="47787"/>
                    <a:pt x="375620" y="53325"/>
                  </a:cubicBezTo>
                  <a:cubicBezTo>
                    <a:pt x="379202" y="71282"/>
                    <a:pt x="395956" y="83537"/>
                    <a:pt x="414209" y="83537"/>
                  </a:cubicBezTo>
                  <a:lnTo>
                    <a:pt x="520143" y="83537"/>
                  </a:lnTo>
                  <a:lnTo>
                    <a:pt x="355289" y="301846"/>
                  </a:lnTo>
                  <a:cubicBezTo>
                    <a:pt x="354067" y="303455"/>
                    <a:pt x="353324" y="305379"/>
                    <a:pt x="353136" y="307389"/>
                  </a:cubicBezTo>
                  <a:cubicBezTo>
                    <a:pt x="352940" y="309399"/>
                    <a:pt x="353319" y="311428"/>
                    <a:pt x="354212" y="313237"/>
                  </a:cubicBezTo>
                  <a:cubicBezTo>
                    <a:pt x="355113" y="315047"/>
                    <a:pt x="356491" y="316581"/>
                    <a:pt x="358204" y="317647"/>
                  </a:cubicBezTo>
                  <a:cubicBezTo>
                    <a:pt x="359923" y="318714"/>
                    <a:pt x="361900" y="319286"/>
                    <a:pt x="363921" y="319295"/>
                  </a:cubicBezTo>
                  <a:lnTo>
                    <a:pt x="622504" y="319295"/>
                  </a:lnTo>
                  <a:cubicBezTo>
                    <a:pt x="640744" y="319295"/>
                    <a:pt x="657518" y="307037"/>
                    <a:pt x="661099" y="289082"/>
                  </a:cubicBezTo>
                  <a:cubicBezTo>
                    <a:pt x="662271" y="283539"/>
                    <a:pt x="662185" y="277805"/>
                    <a:pt x="660861" y="272299"/>
                  </a:cubicBezTo>
                  <a:cubicBezTo>
                    <a:pt x="659537" y="266794"/>
                    <a:pt x="657004" y="261650"/>
                    <a:pt x="653451" y="257250"/>
                  </a:cubicBezTo>
                  <a:cubicBezTo>
                    <a:pt x="649898" y="252849"/>
                    <a:pt x="645402" y="249297"/>
                    <a:pt x="640297" y="246849"/>
                  </a:cubicBezTo>
                  <a:cubicBezTo>
                    <a:pt x="635191" y="244391"/>
                    <a:pt x="629610" y="243115"/>
                    <a:pt x="623952" y="243105"/>
                  </a:cubicBezTo>
                  <a:lnTo>
                    <a:pt x="494883" y="243105"/>
                  </a:lnTo>
                  <a:lnTo>
                    <a:pt x="659613" y="24972"/>
                  </a:lnTo>
                  <a:cubicBezTo>
                    <a:pt x="660842" y="23340"/>
                    <a:pt x="661595" y="21403"/>
                    <a:pt x="661785" y="19371"/>
                  </a:cubicBezTo>
                  <a:cubicBezTo>
                    <a:pt x="661976" y="17340"/>
                    <a:pt x="661604" y="15295"/>
                    <a:pt x="660690" y="13473"/>
                  </a:cubicBezTo>
                  <a:cubicBezTo>
                    <a:pt x="659785" y="11637"/>
                    <a:pt x="658385" y="10101"/>
                    <a:pt x="656661" y="9021"/>
                  </a:cubicBezTo>
                  <a:cubicBezTo>
                    <a:pt x="654937" y="7942"/>
                    <a:pt x="652927" y="7363"/>
                    <a:pt x="650888" y="7358"/>
                  </a:cubicBezTo>
                  <a:lnTo>
                    <a:pt x="412780" y="7358"/>
                  </a:lnTo>
                  <a:close/>
                  <a:moveTo>
                    <a:pt x="1446105" y="8240"/>
                  </a:moveTo>
                  <a:cubicBezTo>
                    <a:pt x="1437514" y="10272"/>
                    <a:pt x="1429894" y="15174"/>
                    <a:pt x="1424484" y="22127"/>
                  </a:cubicBezTo>
                  <a:cubicBezTo>
                    <a:pt x="1419112" y="29080"/>
                    <a:pt x="1416254" y="37666"/>
                    <a:pt x="1416378" y="46473"/>
                  </a:cubicBezTo>
                  <a:lnTo>
                    <a:pt x="1416378" y="173313"/>
                  </a:lnTo>
                  <a:lnTo>
                    <a:pt x="1210980" y="9758"/>
                  </a:lnTo>
                  <a:cubicBezTo>
                    <a:pt x="1209361" y="8475"/>
                    <a:pt x="1207427" y="7675"/>
                    <a:pt x="1205389" y="7453"/>
                  </a:cubicBezTo>
                  <a:cubicBezTo>
                    <a:pt x="1203341" y="7230"/>
                    <a:pt x="1201274" y="7580"/>
                    <a:pt x="1199426" y="8482"/>
                  </a:cubicBezTo>
                  <a:cubicBezTo>
                    <a:pt x="1197569" y="9377"/>
                    <a:pt x="1196006" y="10773"/>
                    <a:pt x="1194921" y="12520"/>
                  </a:cubicBezTo>
                  <a:cubicBezTo>
                    <a:pt x="1193835" y="14273"/>
                    <a:pt x="1193254" y="16285"/>
                    <a:pt x="1193263" y="18343"/>
                  </a:cubicBezTo>
                  <a:lnTo>
                    <a:pt x="1193263" y="280243"/>
                  </a:lnTo>
                  <a:cubicBezTo>
                    <a:pt x="1193120" y="289054"/>
                    <a:pt x="1195987" y="297645"/>
                    <a:pt x="1201388" y="304589"/>
                  </a:cubicBezTo>
                  <a:cubicBezTo>
                    <a:pt x="1206789" y="311542"/>
                    <a:pt x="1214409" y="316447"/>
                    <a:pt x="1222962" y="318486"/>
                  </a:cubicBezTo>
                  <a:cubicBezTo>
                    <a:pt x="1228525" y="319714"/>
                    <a:pt x="1234288" y="319667"/>
                    <a:pt x="1239803" y="318362"/>
                  </a:cubicBezTo>
                  <a:cubicBezTo>
                    <a:pt x="1245346" y="317066"/>
                    <a:pt x="1250518" y="314533"/>
                    <a:pt x="1254966" y="310961"/>
                  </a:cubicBezTo>
                  <a:cubicBezTo>
                    <a:pt x="1259415" y="307389"/>
                    <a:pt x="1263006" y="302874"/>
                    <a:pt x="1265444" y="297721"/>
                  </a:cubicBezTo>
                  <a:cubicBezTo>
                    <a:pt x="1267882" y="292587"/>
                    <a:pt x="1269159" y="286958"/>
                    <a:pt x="1269159" y="281272"/>
                  </a:cubicBezTo>
                  <a:lnTo>
                    <a:pt x="1269159" y="153323"/>
                  </a:lnTo>
                  <a:lnTo>
                    <a:pt x="1474538" y="316885"/>
                  </a:lnTo>
                  <a:cubicBezTo>
                    <a:pt x="1476195" y="318171"/>
                    <a:pt x="1478138" y="318962"/>
                    <a:pt x="1480148" y="319190"/>
                  </a:cubicBezTo>
                  <a:cubicBezTo>
                    <a:pt x="1482224" y="319419"/>
                    <a:pt x="1484291" y="319057"/>
                    <a:pt x="1486120" y="318162"/>
                  </a:cubicBezTo>
                  <a:cubicBezTo>
                    <a:pt x="1487949" y="317266"/>
                    <a:pt x="1489530" y="315866"/>
                    <a:pt x="1490625" y="314123"/>
                  </a:cubicBezTo>
                  <a:cubicBezTo>
                    <a:pt x="1491721" y="312380"/>
                    <a:pt x="1492273" y="310361"/>
                    <a:pt x="1492273" y="308303"/>
                  </a:cubicBezTo>
                  <a:lnTo>
                    <a:pt x="1492273" y="45444"/>
                  </a:lnTo>
                  <a:cubicBezTo>
                    <a:pt x="1492273" y="39748"/>
                    <a:pt x="1490997" y="34123"/>
                    <a:pt x="1488559" y="28985"/>
                  </a:cubicBezTo>
                  <a:cubicBezTo>
                    <a:pt x="1486120" y="23848"/>
                    <a:pt x="1482529" y="19327"/>
                    <a:pt x="1478081" y="15759"/>
                  </a:cubicBezTo>
                  <a:cubicBezTo>
                    <a:pt x="1473633" y="12190"/>
                    <a:pt x="1468461" y="9656"/>
                    <a:pt x="1462908" y="8354"/>
                  </a:cubicBezTo>
                  <a:cubicBezTo>
                    <a:pt x="1457364" y="7059"/>
                    <a:pt x="1451649" y="7015"/>
                    <a:pt x="1446105" y="8240"/>
                  </a:cubicBezTo>
                  <a:close/>
                  <a:moveTo>
                    <a:pt x="911265" y="76254"/>
                  </a:moveTo>
                  <a:cubicBezTo>
                    <a:pt x="998152" y="76254"/>
                    <a:pt x="1063066" y="122196"/>
                    <a:pt x="1063066" y="163286"/>
                  </a:cubicBezTo>
                  <a:cubicBezTo>
                    <a:pt x="1063066" y="204383"/>
                    <a:pt x="998152" y="250325"/>
                    <a:pt x="911265" y="250325"/>
                  </a:cubicBezTo>
                  <a:cubicBezTo>
                    <a:pt x="824397" y="250325"/>
                    <a:pt x="759483" y="204383"/>
                    <a:pt x="759483" y="163286"/>
                  </a:cubicBezTo>
                  <a:cubicBezTo>
                    <a:pt x="759483" y="122196"/>
                    <a:pt x="824397" y="76254"/>
                    <a:pt x="911265" y="76254"/>
                  </a:cubicBezTo>
                  <a:close/>
                  <a:moveTo>
                    <a:pt x="911265" y="67"/>
                  </a:moveTo>
                  <a:cubicBezTo>
                    <a:pt x="785515" y="67"/>
                    <a:pt x="683578" y="73142"/>
                    <a:pt x="683578" y="163286"/>
                  </a:cubicBezTo>
                  <a:cubicBezTo>
                    <a:pt x="683578" y="253421"/>
                    <a:pt x="785515" y="326506"/>
                    <a:pt x="911265" y="326506"/>
                  </a:cubicBezTo>
                  <a:cubicBezTo>
                    <a:pt x="1037024" y="326506"/>
                    <a:pt x="1138961" y="253421"/>
                    <a:pt x="1138961" y="163286"/>
                  </a:cubicBezTo>
                  <a:cubicBezTo>
                    <a:pt x="1138961" y="73142"/>
                    <a:pt x="1037024" y="67"/>
                    <a:pt x="911265" y="67"/>
                  </a:cubicBezTo>
                  <a:close/>
                </a:path>
              </a:pathLst>
            </a:custGeom>
            <a:grpFill/>
            <a:ln w="76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9C6A208F-2A8F-8640-1889-7EF3989875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6547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33" imgH="233" progId="TCLayout.ActiveDocument.1">
                  <p:embed/>
                </p:oleObj>
              </mc:Choice>
              <mc:Fallback>
                <p:oleObj name="Слайд think-cell" r:id="rId3" imgW="233" imgH="233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9C6A208F-2A8F-8640-1889-7EF3989875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Заголовок 1">
            <a:extLst>
              <a:ext uri="{FF2B5EF4-FFF2-40B4-BE49-F238E27FC236}">
                <a16:creationId xmlns:a16="http://schemas.microsoft.com/office/drawing/2014/main" id="{1E7388FD-D149-4D25-0D53-8FD5721832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9764" y="411163"/>
            <a:ext cx="10910888" cy="68446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7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ru-RU"/>
              <a:t>Сформулируй заголовок </a:t>
            </a:r>
            <a:br>
              <a:rPr lang="ru-RU"/>
            </a:br>
            <a:r>
              <a:rPr lang="ru-RU"/>
              <a:t>слайда в 1–2 строки</a:t>
            </a:r>
          </a:p>
        </p:txBody>
      </p:sp>
      <p:sp>
        <p:nvSpPr>
          <p:cNvPr id="15" name="Объект 2">
            <a:extLst>
              <a:ext uri="{FF2B5EF4-FFF2-40B4-BE49-F238E27FC236}">
                <a16:creationId xmlns:a16="http://schemas.microsoft.com/office/drawing/2014/main" id="{00E81AAF-ABDB-4D08-7BE3-C7B407E68E1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763" y="1520824"/>
            <a:ext cx="10910887" cy="47418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5">
            <a:extLst>
              <a:ext uri="{FF2B5EF4-FFF2-40B4-BE49-F238E27FC236}">
                <a16:creationId xmlns:a16="http://schemas.microsoft.com/office/drawing/2014/main" id="{371F2FD1-0E8C-A36C-3CEF-FF20A77F36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57744" y="6430370"/>
            <a:ext cx="908050" cy="216000"/>
          </a:xfrm>
        </p:spPr>
        <p:txBody>
          <a:bodyPr/>
          <a:lstStyle>
            <a:lvl1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fld id="{EB5249F5-0093-48B0-B996-C4E44A87EAF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35" name="Прямоугольник: скругленные углы 34">
            <a:extLst>
              <a:ext uri="{FF2B5EF4-FFF2-40B4-BE49-F238E27FC236}">
                <a16:creationId xmlns:a16="http://schemas.microsoft.com/office/drawing/2014/main" id="{C9800CF7-ABC5-B2F5-0454-607E6375863B}"/>
              </a:ext>
            </a:extLst>
          </p:cNvPr>
          <p:cNvSpPr/>
          <p:nvPr userDrawn="1"/>
        </p:nvSpPr>
        <p:spPr>
          <a:xfrm>
            <a:off x="-2138458" y="54865"/>
            <a:ext cx="1928241" cy="2826069"/>
          </a:xfrm>
          <a:prstGeom prst="roundRect">
            <a:avLst>
              <a:gd name="adj" fmla="val 5926"/>
            </a:avLst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" name="Прямоугольник: скругленные верхние углы 35">
            <a:extLst>
              <a:ext uri="{FF2B5EF4-FFF2-40B4-BE49-F238E27FC236}">
                <a16:creationId xmlns:a16="http://schemas.microsoft.com/office/drawing/2014/main" id="{C2940C45-7EC6-0986-B020-2D94E4C01F25}"/>
              </a:ext>
            </a:extLst>
          </p:cNvPr>
          <p:cNvSpPr/>
          <p:nvPr/>
        </p:nvSpPr>
        <p:spPr>
          <a:xfrm>
            <a:off x="-2136930" y="0"/>
            <a:ext cx="1926713" cy="2880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36000" rtlCol="0" anchor="ctr"/>
          <a:lstStyle/>
          <a:p>
            <a:pPr algn="ctr"/>
            <a:r>
              <a:rPr lang="ru-RU" sz="1100" b="1">
                <a:solidFill>
                  <a:schemeClr val="tx1"/>
                </a:solidFill>
              </a:rPr>
              <a:t>Размеры текста</a:t>
            </a:r>
          </a:p>
        </p:txBody>
      </p:sp>
      <p:graphicFrame>
        <p:nvGraphicFramePr>
          <p:cNvPr id="37" name="Таблица 46">
            <a:extLst>
              <a:ext uri="{FF2B5EF4-FFF2-40B4-BE49-F238E27FC236}">
                <a16:creationId xmlns:a16="http://schemas.microsoft.com/office/drawing/2014/main" id="{22E21D68-4F58-F199-36D3-C10450C366F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97993614"/>
              </p:ext>
            </p:extLst>
          </p:nvPr>
        </p:nvGraphicFramePr>
        <p:xfrm>
          <a:off x="-2046114" y="312643"/>
          <a:ext cx="1958731" cy="2142000"/>
        </p:xfrm>
        <a:graphic>
          <a:graphicData uri="http://schemas.openxmlformats.org/drawingml/2006/table">
            <a:tbl>
              <a:tblPr/>
              <a:tblGrid>
                <a:gridCol w="532517">
                  <a:extLst>
                    <a:ext uri="{9D8B030D-6E8A-4147-A177-3AD203B41FA5}">
                      <a16:colId xmlns:a16="http://schemas.microsoft.com/office/drawing/2014/main" val="2594385797"/>
                    </a:ext>
                  </a:extLst>
                </a:gridCol>
                <a:gridCol w="1426214">
                  <a:extLst>
                    <a:ext uri="{9D8B030D-6E8A-4147-A177-3AD203B41FA5}">
                      <a16:colId xmlns:a16="http://schemas.microsoft.com/office/drawing/2014/main" val="1017723076"/>
                    </a:ext>
                  </a:extLst>
                </a:gridCol>
              </a:tblGrid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44+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0" spc="-40" baseline="0"/>
                        <a:t>акцентные цифр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8329665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32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заголовки и самые </a:t>
                      </a:r>
                      <a:br>
                        <a:rPr lang="ru-RU" sz="1000" spc="-40" baseline="0"/>
                      </a:br>
                      <a:r>
                        <a:rPr lang="ru-RU" sz="1000" spc="-40" baseline="0"/>
                        <a:t>важные данные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17697917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24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8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подзаголовки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72780009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18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4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основной текст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0685745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4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2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торой уровень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текста (менее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ажная информация)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1997433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0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сноски, пояснения, </a:t>
                      </a:r>
                      <a:br>
                        <a:rPr lang="en-US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большие таблиц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76660845"/>
                  </a:ext>
                </a:extLst>
              </a:tr>
            </a:tbl>
          </a:graphicData>
        </a:graphic>
      </p:graphicFrame>
      <p:sp>
        <p:nvSpPr>
          <p:cNvPr id="38" name="Полилиния: фигура 37">
            <a:extLst>
              <a:ext uri="{FF2B5EF4-FFF2-40B4-BE49-F238E27FC236}">
                <a16:creationId xmlns:a16="http://schemas.microsoft.com/office/drawing/2014/main" id="{84FF97CD-0431-AB46-37C2-E699CA989913}"/>
              </a:ext>
            </a:extLst>
          </p:cNvPr>
          <p:cNvSpPr/>
          <p:nvPr/>
        </p:nvSpPr>
        <p:spPr>
          <a:xfrm>
            <a:off x="-2004344" y="2488864"/>
            <a:ext cx="216624" cy="228657"/>
          </a:xfrm>
          <a:custGeom>
            <a:avLst/>
            <a:gdLst>
              <a:gd name="connsiteX0" fmla="*/ 72536 w 171450"/>
              <a:gd name="connsiteY0" fmla="*/ 162210 h 180974"/>
              <a:gd name="connsiteX1" fmla="*/ 98923 w 171450"/>
              <a:gd name="connsiteY1" fmla="*/ 162210 h 180974"/>
              <a:gd name="connsiteX2" fmla="*/ 103600 w 171450"/>
              <a:gd name="connsiteY2" fmla="*/ 172160 h 180974"/>
              <a:gd name="connsiteX3" fmla="*/ 85726 w 171450"/>
              <a:gd name="connsiteY3" fmla="*/ 180974 h 180974"/>
              <a:gd name="connsiteX4" fmla="*/ 67852 w 171450"/>
              <a:gd name="connsiteY4" fmla="*/ 172160 h 180974"/>
              <a:gd name="connsiteX5" fmla="*/ 72536 w 171450"/>
              <a:gd name="connsiteY5" fmla="*/ 162210 h 180974"/>
              <a:gd name="connsiteX6" fmla="*/ 152400 w 171450"/>
              <a:gd name="connsiteY6" fmla="*/ 76200 h 180974"/>
              <a:gd name="connsiteX7" fmla="*/ 161925 w 171450"/>
              <a:gd name="connsiteY7" fmla="*/ 76200 h 180974"/>
              <a:gd name="connsiteX8" fmla="*/ 171450 w 171450"/>
              <a:gd name="connsiteY8" fmla="*/ 85725 h 180974"/>
              <a:gd name="connsiteX9" fmla="*/ 161925 w 171450"/>
              <a:gd name="connsiteY9" fmla="*/ 95250 h 180974"/>
              <a:gd name="connsiteX10" fmla="*/ 152400 w 171450"/>
              <a:gd name="connsiteY10" fmla="*/ 95250 h 180974"/>
              <a:gd name="connsiteX11" fmla="*/ 142875 w 171450"/>
              <a:gd name="connsiteY11" fmla="*/ 85725 h 180974"/>
              <a:gd name="connsiteX12" fmla="*/ 152400 w 171450"/>
              <a:gd name="connsiteY12" fmla="*/ 76200 h 180974"/>
              <a:gd name="connsiteX13" fmla="*/ 9525 w 171450"/>
              <a:gd name="connsiteY13" fmla="*/ 76200 h 180974"/>
              <a:gd name="connsiteX14" fmla="*/ 19050 w 171450"/>
              <a:gd name="connsiteY14" fmla="*/ 76200 h 180974"/>
              <a:gd name="connsiteX15" fmla="*/ 28575 w 171450"/>
              <a:gd name="connsiteY15" fmla="*/ 85725 h 180974"/>
              <a:gd name="connsiteX16" fmla="*/ 19050 w 171450"/>
              <a:gd name="connsiteY16" fmla="*/ 95250 h 180974"/>
              <a:gd name="connsiteX17" fmla="*/ 9525 w 171450"/>
              <a:gd name="connsiteY17" fmla="*/ 95250 h 180974"/>
              <a:gd name="connsiteX18" fmla="*/ 0 w 171450"/>
              <a:gd name="connsiteY18" fmla="*/ 85725 h 180974"/>
              <a:gd name="connsiteX19" fmla="*/ 9525 w 171450"/>
              <a:gd name="connsiteY19" fmla="*/ 76200 h 180974"/>
              <a:gd name="connsiteX20" fmla="*/ 85725 w 171450"/>
              <a:gd name="connsiteY20" fmla="*/ 38100 h 180974"/>
              <a:gd name="connsiteX21" fmla="*/ 133350 w 171450"/>
              <a:gd name="connsiteY21" fmla="*/ 85725 h 180974"/>
              <a:gd name="connsiteX22" fmla="*/ 123174 w 171450"/>
              <a:gd name="connsiteY22" fmla="*/ 114596 h 180974"/>
              <a:gd name="connsiteX23" fmla="*/ 114300 w 171450"/>
              <a:gd name="connsiteY23" fmla="*/ 138113 h 180974"/>
              <a:gd name="connsiteX24" fmla="*/ 85725 w 171450"/>
              <a:gd name="connsiteY24" fmla="*/ 152400 h 180974"/>
              <a:gd name="connsiteX25" fmla="*/ 57150 w 171450"/>
              <a:gd name="connsiteY25" fmla="*/ 138113 h 180974"/>
              <a:gd name="connsiteX26" fmla="*/ 48275 w 171450"/>
              <a:gd name="connsiteY26" fmla="*/ 114596 h 180974"/>
              <a:gd name="connsiteX27" fmla="*/ 38100 w 171450"/>
              <a:gd name="connsiteY27" fmla="*/ 85725 h 180974"/>
              <a:gd name="connsiteX28" fmla="*/ 85725 w 171450"/>
              <a:gd name="connsiteY28" fmla="*/ 38100 h 180974"/>
              <a:gd name="connsiteX29" fmla="*/ 136141 w 171450"/>
              <a:gd name="connsiteY29" fmla="*/ 21840 h 180974"/>
              <a:gd name="connsiteX30" fmla="*/ 149611 w 171450"/>
              <a:gd name="connsiteY30" fmla="*/ 21840 h 180974"/>
              <a:gd name="connsiteX31" fmla="*/ 149611 w 171450"/>
              <a:gd name="connsiteY31" fmla="*/ 35310 h 180974"/>
              <a:gd name="connsiteX32" fmla="*/ 140086 w 171450"/>
              <a:gd name="connsiteY32" fmla="*/ 44835 h 180974"/>
              <a:gd name="connsiteX33" fmla="*/ 126616 w 171450"/>
              <a:gd name="connsiteY33" fmla="*/ 44835 h 180974"/>
              <a:gd name="connsiteX34" fmla="*/ 126616 w 171450"/>
              <a:gd name="connsiteY34" fmla="*/ 31365 h 180974"/>
              <a:gd name="connsiteX35" fmla="*/ 21840 w 171450"/>
              <a:gd name="connsiteY35" fmla="*/ 21840 h 180974"/>
              <a:gd name="connsiteX36" fmla="*/ 35310 w 171450"/>
              <a:gd name="connsiteY36" fmla="*/ 21840 h 180974"/>
              <a:gd name="connsiteX37" fmla="*/ 44835 w 171450"/>
              <a:gd name="connsiteY37" fmla="*/ 31365 h 180974"/>
              <a:gd name="connsiteX38" fmla="*/ 44835 w 171450"/>
              <a:gd name="connsiteY38" fmla="*/ 44835 h 180974"/>
              <a:gd name="connsiteX39" fmla="*/ 31365 w 171450"/>
              <a:gd name="connsiteY39" fmla="*/ 44835 h 180974"/>
              <a:gd name="connsiteX40" fmla="*/ 21840 w 171450"/>
              <a:gd name="connsiteY40" fmla="*/ 35310 h 180974"/>
              <a:gd name="connsiteX41" fmla="*/ 21840 w 171450"/>
              <a:gd name="connsiteY41" fmla="*/ 21840 h 180974"/>
              <a:gd name="connsiteX42" fmla="*/ 85725 w 171450"/>
              <a:gd name="connsiteY42" fmla="*/ 0 h 180974"/>
              <a:gd name="connsiteX43" fmla="*/ 95250 w 171450"/>
              <a:gd name="connsiteY43" fmla="*/ 9525 h 180974"/>
              <a:gd name="connsiteX44" fmla="*/ 95250 w 171450"/>
              <a:gd name="connsiteY44" fmla="*/ 19050 h 180974"/>
              <a:gd name="connsiteX45" fmla="*/ 85725 w 171450"/>
              <a:gd name="connsiteY45" fmla="*/ 28575 h 180974"/>
              <a:gd name="connsiteX46" fmla="*/ 76200 w 171450"/>
              <a:gd name="connsiteY46" fmla="*/ 19050 h 180974"/>
              <a:gd name="connsiteX47" fmla="*/ 76200 w 171450"/>
              <a:gd name="connsiteY47" fmla="*/ 9525 h 180974"/>
              <a:gd name="connsiteX48" fmla="*/ 85725 w 171450"/>
              <a:gd name="connsiteY48" fmla="*/ 0 h 18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1450" h="180974">
                <a:moveTo>
                  <a:pt x="72536" y="162210"/>
                </a:moveTo>
                <a:cubicBezTo>
                  <a:pt x="80449" y="164140"/>
                  <a:pt x="90933" y="164211"/>
                  <a:pt x="98923" y="162210"/>
                </a:cubicBezTo>
                <a:cubicBezTo>
                  <a:pt x="105617" y="160534"/>
                  <a:pt x="105617" y="166533"/>
                  <a:pt x="103600" y="172160"/>
                </a:cubicBezTo>
                <a:cubicBezTo>
                  <a:pt x="100950" y="179549"/>
                  <a:pt x="95451" y="180974"/>
                  <a:pt x="85726" y="180974"/>
                </a:cubicBezTo>
                <a:cubicBezTo>
                  <a:pt x="76000" y="180974"/>
                  <a:pt x="70501" y="179549"/>
                  <a:pt x="67852" y="172160"/>
                </a:cubicBezTo>
                <a:cubicBezTo>
                  <a:pt x="65835" y="166534"/>
                  <a:pt x="65835" y="160576"/>
                  <a:pt x="72536" y="162210"/>
                </a:cubicBezTo>
                <a:close/>
                <a:moveTo>
                  <a:pt x="152400" y="76200"/>
                </a:moveTo>
                <a:lnTo>
                  <a:pt x="161925" y="76200"/>
                </a:lnTo>
                <a:cubicBezTo>
                  <a:pt x="167186" y="76200"/>
                  <a:pt x="171450" y="80464"/>
                  <a:pt x="171450" y="85725"/>
                </a:cubicBezTo>
                <a:cubicBezTo>
                  <a:pt x="171450" y="90986"/>
                  <a:pt x="167186" y="95250"/>
                  <a:pt x="161925" y="95250"/>
                </a:cubicBezTo>
                <a:lnTo>
                  <a:pt x="152400" y="95250"/>
                </a:lnTo>
                <a:cubicBezTo>
                  <a:pt x="147139" y="95250"/>
                  <a:pt x="142875" y="90986"/>
                  <a:pt x="142875" y="85725"/>
                </a:cubicBezTo>
                <a:cubicBezTo>
                  <a:pt x="142875" y="80464"/>
                  <a:pt x="147139" y="76200"/>
                  <a:pt x="152400" y="76200"/>
                </a:cubicBezTo>
                <a:close/>
                <a:moveTo>
                  <a:pt x="9525" y="76200"/>
                </a:moveTo>
                <a:lnTo>
                  <a:pt x="19050" y="76200"/>
                </a:lnTo>
                <a:cubicBezTo>
                  <a:pt x="24310" y="76200"/>
                  <a:pt x="28575" y="80464"/>
                  <a:pt x="28575" y="85725"/>
                </a:cubicBezTo>
                <a:cubicBezTo>
                  <a:pt x="28575" y="90986"/>
                  <a:pt x="24310" y="95250"/>
                  <a:pt x="19050" y="95250"/>
                </a:cubicBezTo>
                <a:lnTo>
                  <a:pt x="9525" y="95250"/>
                </a:lnTo>
                <a:cubicBezTo>
                  <a:pt x="4265" y="95250"/>
                  <a:pt x="0" y="90986"/>
                  <a:pt x="0" y="85725"/>
                </a:cubicBezTo>
                <a:cubicBezTo>
                  <a:pt x="0" y="80464"/>
                  <a:pt x="4265" y="76200"/>
                  <a:pt x="9525" y="76200"/>
                </a:cubicBezTo>
                <a:close/>
                <a:moveTo>
                  <a:pt x="85725" y="38100"/>
                </a:moveTo>
                <a:cubicBezTo>
                  <a:pt x="112027" y="38100"/>
                  <a:pt x="133350" y="58671"/>
                  <a:pt x="133350" y="85725"/>
                </a:cubicBezTo>
                <a:cubicBezTo>
                  <a:pt x="133350" y="100663"/>
                  <a:pt x="128144" y="107793"/>
                  <a:pt x="123174" y="114596"/>
                </a:cubicBezTo>
                <a:cubicBezTo>
                  <a:pt x="118639" y="120807"/>
                  <a:pt x="114300" y="126748"/>
                  <a:pt x="114300" y="138113"/>
                </a:cubicBezTo>
                <a:cubicBezTo>
                  <a:pt x="114300" y="147638"/>
                  <a:pt x="104775" y="152400"/>
                  <a:pt x="85725" y="152400"/>
                </a:cubicBezTo>
                <a:cubicBezTo>
                  <a:pt x="66675" y="152400"/>
                  <a:pt x="57150" y="147638"/>
                  <a:pt x="57150" y="138113"/>
                </a:cubicBezTo>
                <a:cubicBezTo>
                  <a:pt x="57150" y="126748"/>
                  <a:pt x="52811" y="120807"/>
                  <a:pt x="48275" y="114596"/>
                </a:cubicBezTo>
                <a:cubicBezTo>
                  <a:pt x="43306" y="107793"/>
                  <a:pt x="38100" y="100663"/>
                  <a:pt x="38100" y="85725"/>
                </a:cubicBezTo>
                <a:cubicBezTo>
                  <a:pt x="38100" y="57150"/>
                  <a:pt x="59422" y="38100"/>
                  <a:pt x="85725" y="38100"/>
                </a:cubicBezTo>
                <a:close/>
                <a:moveTo>
                  <a:pt x="136141" y="21840"/>
                </a:moveTo>
                <a:cubicBezTo>
                  <a:pt x="139860" y="18120"/>
                  <a:pt x="145891" y="18120"/>
                  <a:pt x="149611" y="21840"/>
                </a:cubicBezTo>
                <a:cubicBezTo>
                  <a:pt x="153330" y="25560"/>
                  <a:pt x="153330" y="31590"/>
                  <a:pt x="149611" y="35310"/>
                </a:cubicBezTo>
                <a:lnTo>
                  <a:pt x="140086" y="44835"/>
                </a:lnTo>
                <a:cubicBezTo>
                  <a:pt x="136366" y="48555"/>
                  <a:pt x="130335" y="48555"/>
                  <a:pt x="126616" y="44835"/>
                </a:cubicBezTo>
                <a:cubicBezTo>
                  <a:pt x="122896" y="41115"/>
                  <a:pt x="122896" y="35085"/>
                  <a:pt x="126616" y="31365"/>
                </a:cubicBezTo>
                <a:close/>
                <a:moveTo>
                  <a:pt x="21840" y="21840"/>
                </a:moveTo>
                <a:cubicBezTo>
                  <a:pt x="25560" y="18120"/>
                  <a:pt x="31590" y="18120"/>
                  <a:pt x="35310" y="21840"/>
                </a:cubicBezTo>
                <a:lnTo>
                  <a:pt x="44835" y="31365"/>
                </a:lnTo>
                <a:cubicBezTo>
                  <a:pt x="48555" y="35085"/>
                  <a:pt x="48555" y="41115"/>
                  <a:pt x="44835" y="44835"/>
                </a:cubicBezTo>
                <a:cubicBezTo>
                  <a:pt x="41115" y="48555"/>
                  <a:pt x="35085" y="48555"/>
                  <a:pt x="31365" y="44835"/>
                </a:cubicBezTo>
                <a:lnTo>
                  <a:pt x="21840" y="35310"/>
                </a:lnTo>
                <a:cubicBezTo>
                  <a:pt x="18120" y="31590"/>
                  <a:pt x="18120" y="25560"/>
                  <a:pt x="21840" y="21840"/>
                </a:cubicBezTo>
                <a:close/>
                <a:moveTo>
                  <a:pt x="85725" y="0"/>
                </a:moveTo>
                <a:cubicBezTo>
                  <a:pt x="90986" y="0"/>
                  <a:pt x="95250" y="4265"/>
                  <a:pt x="95250" y="9525"/>
                </a:cubicBezTo>
                <a:lnTo>
                  <a:pt x="95250" y="19050"/>
                </a:lnTo>
                <a:cubicBezTo>
                  <a:pt x="95250" y="24310"/>
                  <a:pt x="90986" y="28575"/>
                  <a:pt x="85725" y="28575"/>
                </a:cubicBezTo>
                <a:cubicBezTo>
                  <a:pt x="80464" y="28575"/>
                  <a:pt x="76200" y="24310"/>
                  <a:pt x="76200" y="19050"/>
                </a:cubicBezTo>
                <a:lnTo>
                  <a:pt x="76200" y="9525"/>
                </a:lnTo>
                <a:cubicBezTo>
                  <a:pt x="76200" y="4265"/>
                  <a:pt x="80464" y="0"/>
                  <a:pt x="85725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EC11CE47-F2DE-CA1C-5C0F-C21FAC0B5671}"/>
              </a:ext>
            </a:extLst>
          </p:cNvPr>
          <p:cNvSpPr txBox="1"/>
          <p:nvPr/>
        </p:nvSpPr>
        <p:spPr>
          <a:xfrm>
            <a:off x="-1691344" y="2506490"/>
            <a:ext cx="1373969" cy="2428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</a:pPr>
            <a:r>
              <a:rPr lang="ru-RU" sz="900" b="0">
                <a:solidFill>
                  <a:schemeClr val="accent1"/>
                </a:solidFill>
              </a:rPr>
              <a:t>Используй эти размеры </a:t>
            </a:r>
            <a:br>
              <a:rPr lang="ru-RU" sz="900" b="0">
                <a:solidFill>
                  <a:schemeClr val="accent1"/>
                </a:solidFill>
              </a:rPr>
            </a:br>
            <a:r>
              <a:rPr lang="ru-RU" sz="900" b="0">
                <a:solidFill>
                  <a:schemeClr val="accent1"/>
                </a:solidFill>
              </a:rPr>
              <a:t>по всей презентации</a:t>
            </a:r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F67C59A3-D429-7B31-A5B0-0D1EFC446FA3}"/>
              </a:ext>
            </a:extLst>
          </p:cNvPr>
          <p:cNvGrpSpPr/>
          <p:nvPr userDrawn="1"/>
        </p:nvGrpSpPr>
        <p:grpSpPr>
          <a:xfrm>
            <a:off x="-2138458" y="3070447"/>
            <a:ext cx="1935384" cy="3787553"/>
            <a:chOff x="-2138458" y="3070447"/>
            <a:chExt cx="1935384" cy="3787553"/>
          </a:xfrm>
        </p:grpSpPr>
        <p:sp>
          <p:nvSpPr>
            <p:cNvPr id="39" name="Прямоугольник: скругленные углы 38">
              <a:extLst>
                <a:ext uri="{FF2B5EF4-FFF2-40B4-BE49-F238E27FC236}">
                  <a16:creationId xmlns:a16="http://schemas.microsoft.com/office/drawing/2014/main" id="{26561D24-BBBB-253A-7A51-A96C57F40E5B}"/>
                </a:ext>
              </a:extLst>
            </p:cNvPr>
            <p:cNvSpPr/>
            <p:nvPr/>
          </p:nvSpPr>
          <p:spPr>
            <a:xfrm>
              <a:off x="-2138458" y="3125312"/>
              <a:ext cx="1928241" cy="2468818"/>
            </a:xfrm>
            <a:prstGeom prst="roundRect">
              <a:avLst>
                <a:gd name="adj" fmla="val 5926"/>
              </a:avLst>
            </a:prstGeom>
            <a:solidFill>
              <a:schemeClr val="bg1"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0" name="Прямоугольник: скругленные верхние углы 39">
              <a:extLst>
                <a:ext uri="{FF2B5EF4-FFF2-40B4-BE49-F238E27FC236}">
                  <a16:creationId xmlns:a16="http://schemas.microsoft.com/office/drawing/2014/main" id="{A2B8DFB7-79B0-0439-C360-6941BF32E4D7}"/>
                </a:ext>
              </a:extLst>
            </p:cNvPr>
            <p:cNvSpPr/>
            <p:nvPr/>
          </p:nvSpPr>
          <p:spPr>
            <a:xfrm>
              <a:off x="-2136930" y="3070447"/>
              <a:ext cx="1926713" cy="28800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36000" rtlCol="0" anchor="ctr"/>
            <a:lstStyle/>
            <a:p>
              <a:pPr algn="ctr"/>
              <a:r>
                <a:rPr lang="ru-RU" sz="1100" b="1">
                  <a:solidFill>
                    <a:schemeClr val="tx1"/>
                  </a:solidFill>
                </a:rPr>
                <a:t>Цвета </a:t>
              </a:r>
              <a:r>
                <a:rPr lang="en-US" sz="1100" b="1">
                  <a:solidFill>
                    <a:schemeClr val="tx1"/>
                  </a:solidFill>
                </a:rPr>
                <a:t>Ozon</a:t>
              </a:r>
              <a:endParaRPr lang="ru-RU" sz="1100" b="1">
                <a:solidFill>
                  <a:schemeClr val="tx1"/>
                </a:solidFill>
              </a:endParaRP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69298A01-26D5-77F0-1B44-28C8BBA32B5A}"/>
                </a:ext>
              </a:extLst>
            </p:cNvPr>
            <p:cNvSpPr txBox="1"/>
            <p:nvPr userDrawn="1"/>
          </p:nvSpPr>
          <p:spPr>
            <a:xfrm>
              <a:off x="-2003446" y="3412239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текста </a:t>
              </a:r>
            </a:p>
          </p:txBody>
        </p:sp>
        <p:sp>
          <p:nvSpPr>
            <p:cNvPr id="42" name="Прямоугольник: скругленные углы 41">
              <a:extLst>
                <a:ext uri="{FF2B5EF4-FFF2-40B4-BE49-F238E27FC236}">
                  <a16:creationId xmlns:a16="http://schemas.microsoft.com/office/drawing/2014/main" id="{21EA26B0-23BA-7A00-892D-A1F326878E52}"/>
                </a:ext>
              </a:extLst>
            </p:cNvPr>
            <p:cNvSpPr/>
            <p:nvPr userDrawn="1"/>
          </p:nvSpPr>
          <p:spPr>
            <a:xfrm>
              <a:off x="-2004344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3" name="Прямоугольник: скругленные углы 42">
              <a:extLst>
                <a:ext uri="{FF2B5EF4-FFF2-40B4-BE49-F238E27FC236}">
                  <a16:creationId xmlns:a16="http://schemas.microsoft.com/office/drawing/2014/main" id="{A5D3FC7E-9D3D-EB60-5F4A-AB0976EFEC60}"/>
                </a:ext>
              </a:extLst>
            </p:cNvPr>
            <p:cNvSpPr/>
            <p:nvPr userDrawn="1"/>
          </p:nvSpPr>
          <p:spPr>
            <a:xfrm>
              <a:off x="-1738339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6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4" name="Прямоугольник: скругленные углы 43">
              <a:extLst>
                <a:ext uri="{FF2B5EF4-FFF2-40B4-BE49-F238E27FC236}">
                  <a16:creationId xmlns:a16="http://schemas.microsoft.com/office/drawing/2014/main" id="{E6DA982A-4819-86A4-B3E3-3820BE19C0E0}"/>
                </a:ext>
              </a:extLst>
            </p:cNvPr>
            <p:cNvSpPr/>
            <p:nvPr userDrawn="1"/>
          </p:nvSpPr>
          <p:spPr>
            <a:xfrm>
              <a:off x="-1739900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3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5" name="Прямоугольник: скругленные углы 44">
              <a:extLst>
                <a:ext uri="{FF2B5EF4-FFF2-40B4-BE49-F238E27FC236}">
                  <a16:creationId xmlns:a16="http://schemas.microsoft.com/office/drawing/2014/main" id="{682E6276-38E4-B43E-1997-1EB72EA2A914}"/>
                </a:ext>
              </a:extLst>
            </p:cNvPr>
            <p:cNvSpPr/>
            <p:nvPr userDrawn="1"/>
          </p:nvSpPr>
          <p:spPr>
            <a:xfrm>
              <a:off x="-2004963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9068336B-339F-1776-3C0F-78C717AA59C8}"/>
                </a:ext>
              </a:extLst>
            </p:cNvPr>
            <p:cNvSpPr txBox="1"/>
            <p:nvPr userDrawn="1"/>
          </p:nvSpPr>
          <p:spPr>
            <a:xfrm>
              <a:off x="-2003446" y="3935644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больших плашек</a:t>
              </a:r>
            </a:p>
          </p:txBody>
        </p:sp>
        <p:sp>
          <p:nvSpPr>
            <p:cNvPr id="48" name="Прямоугольник: скругленные углы 47">
              <a:extLst>
                <a:ext uri="{FF2B5EF4-FFF2-40B4-BE49-F238E27FC236}">
                  <a16:creationId xmlns:a16="http://schemas.microsoft.com/office/drawing/2014/main" id="{FE2D34FD-CFD5-F181-5F8D-99FE8F6B9336}"/>
                </a:ext>
              </a:extLst>
            </p:cNvPr>
            <p:cNvSpPr/>
            <p:nvPr userDrawn="1"/>
          </p:nvSpPr>
          <p:spPr>
            <a:xfrm>
              <a:off x="-2004963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tx2">
                <a:lumMod val="90000"/>
                <a:lumOff val="10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9" name="Прямоугольник: скругленные углы 48">
              <a:extLst>
                <a:ext uri="{FF2B5EF4-FFF2-40B4-BE49-F238E27FC236}">
                  <a16:creationId xmlns:a16="http://schemas.microsoft.com/office/drawing/2014/main" id="{48ABCE10-7A7F-1324-4D1D-7AD10D1042B1}"/>
                </a:ext>
              </a:extLst>
            </p:cNvPr>
            <p:cNvSpPr/>
            <p:nvPr userDrawn="1"/>
          </p:nvSpPr>
          <p:spPr>
            <a:xfrm>
              <a:off x="-1739900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0FA92F67-A433-8731-5914-B14989A94311}"/>
                </a:ext>
              </a:extLst>
            </p:cNvPr>
            <p:cNvSpPr txBox="1"/>
            <p:nvPr userDrawn="1"/>
          </p:nvSpPr>
          <p:spPr>
            <a:xfrm>
              <a:off x="-2003446" y="4451492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а маленьких плашек</a:t>
              </a:r>
            </a:p>
          </p:txBody>
        </p:sp>
        <p:sp>
          <p:nvSpPr>
            <p:cNvPr id="52" name="Прямоугольник: скругленные углы 51">
              <a:extLst>
                <a:ext uri="{FF2B5EF4-FFF2-40B4-BE49-F238E27FC236}">
                  <a16:creationId xmlns:a16="http://schemas.microsoft.com/office/drawing/2014/main" id="{4C7A1397-7A11-591D-AA68-55A9039699E9}"/>
                </a:ext>
              </a:extLst>
            </p:cNvPr>
            <p:cNvSpPr/>
            <p:nvPr userDrawn="1"/>
          </p:nvSpPr>
          <p:spPr>
            <a:xfrm>
              <a:off x="-1475201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tx2"/>
            </a:solidFill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3" name="Прямоугольник: скругленные углы 52">
              <a:extLst>
                <a:ext uri="{FF2B5EF4-FFF2-40B4-BE49-F238E27FC236}">
                  <a16:creationId xmlns:a16="http://schemas.microsoft.com/office/drawing/2014/main" id="{504D71D0-6847-ADE8-467F-77206D5DE761}"/>
                </a:ext>
              </a:extLst>
            </p:cNvPr>
            <p:cNvSpPr/>
            <p:nvPr userDrawn="1"/>
          </p:nvSpPr>
          <p:spPr>
            <a:xfrm>
              <a:off x="-1739900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B7EDC9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4" name="Прямоугольник: скругленные углы 53">
              <a:extLst>
                <a:ext uri="{FF2B5EF4-FFF2-40B4-BE49-F238E27FC236}">
                  <a16:creationId xmlns:a16="http://schemas.microsoft.com/office/drawing/2014/main" id="{AB17545C-2653-11B9-6AAD-F2414CA88813}"/>
                </a:ext>
              </a:extLst>
            </p:cNvPr>
            <p:cNvSpPr/>
            <p:nvPr userDrawn="1"/>
          </p:nvSpPr>
          <p:spPr>
            <a:xfrm>
              <a:off x="-1474837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FA800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5" name="Прямоугольник: скругленные углы 54">
              <a:extLst>
                <a:ext uri="{FF2B5EF4-FFF2-40B4-BE49-F238E27FC236}">
                  <a16:creationId xmlns:a16="http://schemas.microsoft.com/office/drawing/2014/main" id="{1D454EF4-1099-5940-A5D4-5F82D3172AE1}"/>
                </a:ext>
              </a:extLst>
            </p:cNvPr>
            <p:cNvSpPr/>
            <p:nvPr userDrawn="1"/>
          </p:nvSpPr>
          <p:spPr>
            <a:xfrm>
              <a:off x="-2004963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10C44C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FAB6D7EE-DAF5-E7EF-6D1E-0891469BD32B}"/>
                </a:ext>
              </a:extLst>
            </p:cNvPr>
            <p:cNvSpPr txBox="1"/>
            <p:nvPr userDrawn="1"/>
          </p:nvSpPr>
          <p:spPr>
            <a:xfrm>
              <a:off x="-2003446" y="4973480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900"/>
                <a:t>Рост / падение показателей</a:t>
              </a:r>
            </a:p>
          </p:txBody>
        </p:sp>
        <p:sp>
          <p:nvSpPr>
            <p:cNvPr id="57" name="Прямоугольник: скругленные углы 56">
              <a:extLst>
                <a:ext uri="{FF2B5EF4-FFF2-40B4-BE49-F238E27FC236}">
                  <a16:creationId xmlns:a16="http://schemas.microsoft.com/office/drawing/2014/main" id="{64568EE7-F81D-84C3-5AE6-8B77C2134C94}"/>
                </a:ext>
              </a:extLst>
            </p:cNvPr>
            <p:cNvSpPr/>
            <p:nvPr userDrawn="1"/>
          </p:nvSpPr>
          <p:spPr>
            <a:xfrm>
              <a:off x="-1209774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1">
                <a:lumMod val="20000"/>
                <a:lumOff val="80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8" name="Прямоугольник: скругленные углы 57">
              <a:extLst>
                <a:ext uri="{FF2B5EF4-FFF2-40B4-BE49-F238E27FC236}">
                  <a16:creationId xmlns:a16="http://schemas.microsoft.com/office/drawing/2014/main" id="{0BC0B63B-AFDA-54FE-3829-EC8AA6CFBAEB}"/>
                </a:ext>
              </a:extLst>
            </p:cNvPr>
            <p:cNvSpPr/>
            <p:nvPr/>
          </p:nvSpPr>
          <p:spPr>
            <a:xfrm>
              <a:off x="-2131314" y="5782119"/>
              <a:ext cx="1928240" cy="1075881"/>
            </a:xfrm>
            <a:prstGeom prst="roundRect">
              <a:avLst>
                <a:gd name="adj" fmla="val 12985"/>
              </a:avLst>
            </a:prstGeom>
            <a:solidFill>
              <a:schemeClr val="bg1"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72FE7B29-A123-EF1E-09DB-12AADC874FA6}"/>
                </a:ext>
              </a:extLst>
            </p:cNvPr>
            <p:cNvSpPr txBox="1"/>
            <p:nvPr/>
          </p:nvSpPr>
          <p:spPr>
            <a:xfrm>
              <a:off x="-1788338" y="5868204"/>
              <a:ext cx="1155882" cy="15109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l">
                <a:lnSpc>
                  <a:spcPct val="90000"/>
                </a:lnSpc>
              </a:pPr>
              <a:r>
                <a:rPr lang="ru-RU" sz="1000" b="1">
                  <a:solidFill>
                    <a:schemeClr val="accent1"/>
                  </a:solidFill>
                </a:rPr>
                <a:t>Шаблон </a:t>
              </a:r>
              <a:r>
                <a:rPr lang="en-US" sz="1000" b="1">
                  <a:solidFill>
                    <a:schemeClr val="accent1"/>
                  </a:solidFill>
                </a:rPr>
                <a:t>Ozon</a:t>
              </a:r>
              <a:endParaRPr lang="ru-RU" sz="1000" b="1">
                <a:solidFill>
                  <a:schemeClr val="accent1"/>
                </a:solidFill>
              </a:endParaRPr>
            </a:p>
          </p:txBody>
        </p:sp>
        <p:sp>
          <p:nvSpPr>
            <p:cNvPr id="60" name="Рисунок 93">
              <a:extLst>
                <a:ext uri="{FF2B5EF4-FFF2-40B4-BE49-F238E27FC236}">
                  <a16:creationId xmlns:a16="http://schemas.microsoft.com/office/drawing/2014/main" id="{AA53B632-DD94-4453-746B-3AC3CCA27D0B}"/>
                </a:ext>
              </a:extLst>
            </p:cNvPr>
            <p:cNvSpPr/>
            <p:nvPr/>
          </p:nvSpPr>
          <p:spPr>
            <a:xfrm>
              <a:off x="-2004963" y="5853908"/>
              <a:ext cx="161099" cy="161099"/>
            </a:xfrm>
            <a:custGeom>
              <a:avLst/>
              <a:gdLst>
                <a:gd name="connsiteX0" fmla="*/ 85725 w 171450"/>
                <a:gd name="connsiteY0" fmla="*/ 171450 h 171450"/>
                <a:gd name="connsiteX1" fmla="*/ 171450 w 171450"/>
                <a:gd name="connsiteY1" fmla="*/ 85725 h 171450"/>
                <a:gd name="connsiteX2" fmla="*/ 85725 w 171450"/>
                <a:gd name="connsiteY2" fmla="*/ 0 h 171450"/>
                <a:gd name="connsiteX3" fmla="*/ 0 w 171450"/>
                <a:gd name="connsiteY3" fmla="*/ 85725 h 171450"/>
                <a:gd name="connsiteX4" fmla="*/ 85725 w 171450"/>
                <a:gd name="connsiteY4" fmla="*/ 171450 h 171450"/>
                <a:gd name="connsiteX5" fmla="*/ 130560 w 171450"/>
                <a:gd name="connsiteY5" fmla="*/ 73410 h 171450"/>
                <a:gd name="connsiteX6" fmla="*/ 82935 w 171450"/>
                <a:gd name="connsiteY6" fmla="*/ 121035 h 171450"/>
                <a:gd name="connsiteX7" fmla="*/ 69465 w 171450"/>
                <a:gd name="connsiteY7" fmla="*/ 121035 h 171450"/>
                <a:gd name="connsiteX8" fmla="*/ 40890 w 171450"/>
                <a:gd name="connsiteY8" fmla="*/ 92460 h 171450"/>
                <a:gd name="connsiteX9" fmla="*/ 40890 w 171450"/>
                <a:gd name="connsiteY9" fmla="*/ 78990 h 171450"/>
                <a:gd name="connsiteX10" fmla="*/ 54360 w 171450"/>
                <a:gd name="connsiteY10" fmla="*/ 78990 h 171450"/>
                <a:gd name="connsiteX11" fmla="*/ 76200 w 171450"/>
                <a:gd name="connsiteY11" fmla="*/ 100830 h 171450"/>
                <a:gd name="connsiteX12" fmla="*/ 117090 w 171450"/>
                <a:gd name="connsiteY12" fmla="*/ 59940 h 171450"/>
                <a:gd name="connsiteX13" fmla="*/ 130560 w 171450"/>
                <a:gd name="connsiteY13" fmla="*/ 59940 h 171450"/>
                <a:gd name="connsiteX14" fmla="*/ 130560 w 171450"/>
                <a:gd name="connsiteY14" fmla="*/ 7341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71450" h="171450">
                  <a:moveTo>
                    <a:pt x="85725" y="171450"/>
                  </a:moveTo>
                  <a:cubicBezTo>
                    <a:pt x="138915" y="171450"/>
                    <a:pt x="171450" y="138915"/>
                    <a:pt x="171450" y="85725"/>
                  </a:cubicBezTo>
                  <a:cubicBezTo>
                    <a:pt x="171450" y="32535"/>
                    <a:pt x="138915" y="0"/>
                    <a:pt x="85725" y="0"/>
                  </a:cubicBezTo>
                  <a:cubicBezTo>
                    <a:pt x="32535" y="0"/>
                    <a:pt x="0" y="32535"/>
                    <a:pt x="0" y="85725"/>
                  </a:cubicBezTo>
                  <a:cubicBezTo>
                    <a:pt x="0" y="138915"/>
                    <a:pt x="32535" y="171450"/>
                    <a:pt x="85725" y="171450"/>
                  </a:cubicBezTo>
                  <a:close/>
                  <a:moveTo>
                    <a:pt x="130560" y="73410"/>
                  </a:moveTo>
                  <a:lnTo>
                    <a:pt x="82935" y="121035"/>
                  </a:lnTo>
                  <a:cubicBezTo>
                    <a:pt x="79216" y="124755"/>
                    <a:pt x="73184" y="124755"/>
                    <a:pt x="69465" y="121035"/>
                  </a:cubicBezTo>
                  <a:lnTo>
                    <a:pt x="40890" y="92460"/>
                  </a:lnTo>
                  <a:cubicBezTo>
                    <a:pt x="37170" y="88741"/>
                    <a:pt x="37170" y="82709"/>
                    <a:pt x="40890" y="78990"/>
                  </a:cubicBezTo>
                  <a:cubicBezTo>
                    <a:pt x="44610" y="75270"/>
                    <a:pt x="50640" y="75270"/>
                    <a:pt x="54360" y="78990"/>
                  </a:cubicBezTo>
                  <a:lnTo>
                    <a:pt x="76200" y="100830"/>
                  </a:lnTo>
                  <a:lnTo>
                    <a:pt x="117090" y="59940"/>
                  </a:lnTo>
                  <a:cubicBezTo>
                    <a:pt x="120809" y="56220"/>
                    <a:pt x="126841" y="56220"/>
                    <a:pt x="130560" y="59940"/>
                  </a:cubicBezTo>
                  <a:cubicBezTo>
                    <a:pt x="134280" y="63660"/>
                    <a:pt x="134280" y="69691"/>
                    <a:pt x="130560" y="7341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8DE6F264-2180-A77B-E487-478DC7F970C2}"/>
                </a:ext>
              </a:extLst>
            </p:cNvPr>
            <p:cNvSpPr txBox="1"/>
            <p:nvPr/>
          </p:nvSpPr>
          <p:spPr>
            <a:xfrm>
              <a:off x="-2004962" y="6072106"/>
              <a:ext cx="1687587" cy="60024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>
                <a:lnSpc>
                  <a:spcPct val="110000"/>
                </a:lnSpc>
              </a:pPr>
              <a:r>
                <a:rPr lang="ru-RU" sz="900" spc="-30" baseline="0">
                  <a:solidFill>
                    <a:schemeClr val="tx2"/>
                  </a:solidFill>
                </a:rPr>
                <a:t>Если нужно больше материалов: </a:t>
              </a:r>
              <a:r>
                <a:rPr lang="ru-RU" sz="900" b="1" spc="-30" baseline="0">
                  <a:solidFill>
                    <a:schemeClr val="tx2"/>
                  </a:solidFill>
                </a:rPr>
                <a:t>правое меню </a:t>
              </a:r>
              <a:r>
                <a:rPr lang="en-US" sz="900" b="1" spc="-30" baseline="0">
                  <a:solidFill>
                    <a:schemeClr val="tx2"/>
                  </a:solidFill>
                </a:rPr>
                <a:t>Staff — Brand </a:t>
              </a:r>
              <a:r>
                <a:rPr lang="ru-RU" sz="900" b="1" spc="-30" baseline="0">
                  <a:solidFill>
                    <a:schemeClr val="tx2"/>
                  </a:solidFill>
                </a:rPr>
                <a:t>— Всё для презентаций. </a:t>
              </a:r>
              <a:r>
                <a:rPr lang="ru-RU" sz="900" b="0" spc="-30" baseline="0">
                  <a:solidFill>
                    <a:schemeClr val="tx2"/>
                  </a:solidFill>
                </a:rPr>
                <a:t>Или пиши нам на </a:t>
              </a:r>
              <a:r>
                <a:rPr lang="en-US" sz="900" b="0" spc="-30" baseline="0">
                  <a:solidFill>
                    <a:schemeClr val="tx2"/>
                  </a:solidFill>
                </a:rPr>
                <a:t>presentations@ozon.ru.</a:t>
              </a:r>
              <a:r>
                <a:rPr lang="ru-RU" sz="900" b="0" spc="-30" baseline="0">
                  <a:solidFill>
                    <a:schemeClr val="tx2"/>
                  </a:solidFill>
                </a:rPr>
                <a:t> </a:t>
              </a:r>
            </a:p>
          </p:txBody>
        </p:sp>
        <p:sp>
          <p:nvSpPr>
            <p:cNvPr id="64" name="Прямоугольник: скругленные углы 63">
              <a:extLst>
                <a:ext uri="{FF2B5EF4-FFF2-40B4-BE49-F238E27FC236}">
                  <a16:creationId xmlns:a16="http://schemas.microsoft.com/office/drawing/2014/main" id="{2B9BFCAF-86CA-1244-E85A-F30E4AC766F2}"/>
                </a:ext>
              </a:extLst>
            </p:cNvPr>
            <p:cNvSpPr/>
            <p:nvPr userDrawn="1"/>
          </p:nvSpPr>
          <p:spPr>
            <a:xfrm>
              <a:off x="-944711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53C14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5" name="Прямоугольник: скругленные углы 64">
              <a:extLst>
                <a:ext uri="{FF2B5EF4-FFF2-40B4-BE49-F238E27FC236}">
                  <a16:creationId xmlns:a16="http://schemas.microsoft.com/office/drawing/2014/main" id="{860A63BB-781E-AEA8-4E5D-D35214A49880}"/>
                </a:ext>
              </a:extLst>
            </p:cNvPr>
            <p:cNvSpPr/>
            <p:nvPr userDrawn="1"/>
          </p:nvSpPr>
          <p:spPr>
            <a:xfrm>
              <a:off x="-679648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CC4B8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6" name="Прямоугольник: скругленные углы 65">
              <a:extLst>
                <a:ext uri="{FF2B5EF4-FFF2-40B4-BE49-F238E27FC236}">
                  <a16:creationId xmlns:a16="http://schemas.microsoft.com/office/drawing/2014/main" id="{09CABE96-EC03-3157-B363-C0896B3891CC}"/>
                </a:ext>
              </a:extLst>
            </p:cNvPr>
            <p:cNvSpPr/>
            <p:nvPr userDrawn="1"/>
          </p:nvSpPr>
          <p:spPr>
            <a:xfrm>
              <a:off x="-1209774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FE5B2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4" name="Прямоугольник: скругленные углы 13">
              <a:extLst>
                <a:ext uri="{FF2B5EF4-FFF2-40B4-BE49-F238E27FC236}">
                  <a16:creationId xmlns:a16="http://schemas.microsoft.com/office/drawing/2014/main" id="{10235599-9C22-810F-AFFE-43B3719F8049}"/>
                </a:ext>
              </a:extLst>
            </p:cNvPr>
            <p:cNvSpPr/>
            <p:nvPr userDrawn="1"/>
          </p:nvSpPr>
          <p:spPr>
            <a:xfrm>
              <a:off x="-2004344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6" name="Прямоугольник: скругленные углы 15">
              <a:extLst>
                <a:ext uri="{FF2B5EF4-FFF2-40B4-BE49-F238E27FC236}">
                  <a16:creationId xmlns:a16="http://schemas.microsoft.com/office/drawing/2014/main" id="{BCCB48D8-60A8-9E17-D2F8-C11A8EA8C284}"/>
                </a:ext>
              </a:extLst>
            </p:cNvPr>
            <p:cNvSpPr/>
            <p:nvPr userDrawn="1"/>
          </p:nvSpPr>
          <p:spPr>
            <a:xfrm>
              <a:off x="-1738339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6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00" name="Прямоугольник: скругленные углы 48">
              <a:extLst>
                <a:ext uri="{FF2B5EF4-FFF2-40B4-BE49-F238E27FC236}">
                  <a16:creationId xmlns:a16="http://schemas.microsoft.com/office/drawing/2014/main" id="{5FE503CD-B1B5-1547-AFB0-C04820859122}"/>
                </a:ext>
              </a:extLst>
            </p:cNvPr>
            <p:cNvSpPr/>
            <p:nvPr userDrawn="1"/>
          </p:nvSpPr>
          <p:spPr>
            <a:xfrm>
              <a:off x="-1475201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tx2"/>
            </a:solidFill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01" name="Прямоугольник: скругленные углы 56">
              <a:extLst>
                <a:ext uri="{FF2B5EF4-FFF2-40B4-BE49-F238E27FC236}">
                  <a16:creationId xmlns:a16="http://schemas.microsoft.com/office/drawing/2014/main" id="{9ED3D159-6E3E-E74B-B704-06E7EF66176B}"/>
                </a:ext>
              </a:extLst>
            </p:cNvPr>
            <p:cNvSpPr/>
            <p:nvPr userDrawn="1"/>
          </p:nvSpPr>
          <p:spPr>
            <a:xfrm>
              <a:off x="-946163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47" name="Нижний колонтитул 4">
            <a:extLst>
              <a:ext uri="{FF2B5EF4-FFF2-40B4-BE49-F238E27FC236}">
                <a16:creationId xmlns:a16="http://schemas.microsoft.com/office/drawing/2014/main" id="{10253803-6842-474F-8345-1128330D55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458800" y="6465600"/>
            <a:ext cx="7274114" cy="144500"/>
          </a:xfrm>
        </p:spPr>
        <p:txBody>
          <a:bodyPr anchor="b"/>
          <a:lstStyle>
            <a:lvl1pPr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645121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8">
          <p15:clr>
            <a:srgbClr val="F26B43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sic_ligh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Группа 29">
            <a:extLst>
              <a:ext uri="{FF2B5EF4-FFF2-40B4-BE49-F238E27FC236}">
                <a16:creationId xmlns:a16="http://schemas.microsoft.com/office/drawing/2014/main" id="{10D6F415-5971-D713-010A-984685CE43F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641985" y="6415289"/>
            <a:ext cx="1044575" cy="231716"/>
            <a:chOff x="8489504" y="910877"/>
            <a:chExt cx="2734509" cy="606592"/>
          </a:xfrm>
          <a:solidFill>
            <a:schemeClr val="tx1"/>
          </a:solidFill>
        </p:grpSpPr>
        <p:sp>
          <p:nvSpPr>
            <p:cNvPr id="26" name="Полилиния 25">
              <a:extLst>
                <a:ext uri="{FF2B5EF4-FFF2-40B4-BE49-F238E27FC236}">
                  <a16:creationId xmlns:a16="http://schemas.microsoft.com/office/drawing/2014/main" id="{D40097E2-2B5C-8101-60E7-30D795E30DCA}"/>
                </a:ext>
              </a:extLst>
            </p:cNvPr>
            <p:cNvSpPr/>
            <p:nvPr/>
          </p:nvSpPr>
          <p:spPr>
            <a:xfrm>
              <a:off x="10064626" y="910877"/>
              <a:ext cx="1159387" cy="606592"/>
            </a:xfrm>
            <a:custGeom>
              <a:avLst/>
              <a:gdLst>
                <a:gd name="connsiteX0" fmla="*/ 0 w 1159387"/>
                <a:gd name="connsiteY0" fmla="*/ 178242 h 606592"/>
                <a:gd name="connsiteX1" fmla="*/ 0 w 1159387"/>
                <a:gd name="connsiteY1" fmla="*/ 237024 h 606592"/>
                <a:gd name="connsiteX2" fmla="*/ 9135 w 1159387"/>
                <a:gd name="connsiteY2" fmla="*/ 246098 h 606592"/>
                <a:gd name="connsiteX3" fmla="*/ 30214 w 1159387"/>
                <a:gd name="connsiteY3" fmla="*/ 250009 h 606592"/>
                <a:gd name="connsiteX4" fmla="*/ 32261 w 1159387"/>
                <a:gd name="connsiteY4" fmla="*/ 250607 h 606592"/>
                <a:gd name="connsiteX5" fmla="*/ 85030 w 1159387"/>
                <a:gd name="connsiteY5" fmla="*/ 319338 h 606592"/>
                <a:gd name="connsiteX6" fmla="*/ 85030 w 1159387"/>
                <a:gd name="connsiteY6" fmla="*/ 483817 h 606592"/>
                <a:gd name="connsiteX7" fmla="*/ 120863 w 1159387"/>
                <a:gd name="connsiteY7" fmla="*/ 570989 h 606592"/>
                <a:gd name="connsiteX8" fmla="*/ 205874 w 1159387"/>
                <a:gd name="connsiteY8" fmla="*/ 606364 h 606592"/>
                <a:gd name="connsiteX9" fmla="*/ 207284 w 1159387"/>
                <a:gd name="connsiteY9" fmla="*/ 606364 h 606592"/>
                <a:gd name="connsiteX10" fmla="*/ 235964 w 1159387"/>
                <a:gd name="connsiteY10" fmla="*/ 606364 h 606592"/>
                <a:gd name="connsiteX11" fmla="*/ 247356 w 1159387"/>
                <a:gd name="connsiteY11" fmla="*/ 593268 h 606592"/>
                <a:gd name="connsiteX12" fmla="*/ 247337 w 1159387"/>
                <a:gd name="connsiteY12" fmla="*/ 563750 h 606592"/>
                <a:gd name="connsiteX13" fmla="*/ 247337 w 1159387"/>
                <a:gd name="connsiteY13" fmla="*/ 541928 h 606592"/>
                <a:gd name="connsiteX14" fmla="*/ 236802 w 1159387"/>
                <a:gd name="connsiteY14" fmla="*/ 530565 h 606592"/>
                <a:gd name="connsiteX15" fmla="*/ 197454 w 1159387"/>
                <a:gd name="connsiteY15" fmla="*/ 530527 h 606592"/>
                <a:gd name="connsiteX16" fmla="*/ 159506 w 1159387"/>
                <a:gd name="connsiteY16" fmla="*/ 492285 h 606592"/>
                <a:gd name="connsiteX17" fmla="*/ 159506 w 1159387"/>
                <a:gd name="connsiteY17" fmla="*/ 403084 h 606592"/>
                <a:gd name="connsiteX18" fmla="*/ 159506 w 1159387"/>
                <a:gd name="connsiteY18" fmla="*/ 316772 h 606592"/>
                <a:gd name="connsiteX19" fmla="*/ 100365 w 1159387"/>
                <a:gd name="connsiteY19" fmla="*/ 207274 h 606592"/>
                <a:gd name="connsiteX20" fmla="*/ 99080 w 1159387"/>
                <a:gd name="connsiteY20" fmla="*/ 206423 h 606592"/>
                <a:gd name="connsiteX21" fmla="*/ 100356 w 1159387"/>
                <a:gd name="connsiteY21" fmla="*/ 205547 h 606592"/>
                <a:gd name="connsiteX22" fmla="*/ 159506 w 1159387"/>
                <a:gd name="connsiteY22" fmla="*/ 90665 h 606592"/>
                <a:gd name="connsiteX23" fmla="*/ 159506 w 1159387"/>
                <a:gd name="connsiteY23" fmla="*/ 10992 h 606592"/>
                <a:gd name="connsiteX24" fmla="*/ 148962 w 1159387"/>
                <a:gd name="connsiteY24" fmla="*/ 0 h 606592"/>
                <a:gd name="connsiteX25" fmla="*/ 95565 w 1159387"/>
                <a:gd name="connsiteY25" fmla="*/ 0 h 606592"/>
                <a:gd name="connsiteX26" fmla="*/ 85030 w 1159387"/>
                <a:gd name="connsiteY26" fmla="*/ 10992 h 606592"/>
                <a:gd name="connsiteX27" fmla="*/ 85030 w 1159387"/>
                <a:gd name="connsiteY27" fmla="*/ 90665 h 606592"/>
                <a:gd name="connsiteX28" fmla="*/ 32366 w 1159387"/>
                <a:gd name="connsiteY28" fmla="*/ 162761 h 606592"/>
                <a:gd name="connsiteX29" fmla="*/ 30214 w 1159387"/>
                <a:gd name="connsiteY29" fmla="*/ 163402 h 606592"/>
                <a:gd name="connsiteX30" fmla="*/ 9135 w 1159387"/>
                <a:gd name="connsiteY30" fmla="*/ 167302 h 606592"/>
                <a:gd name="connsiteX31" fmla="*/ 0 w 1159387"/>
                <a:gd name="connsiteY31" fmla="*/ 178242 h 606592"/>
                <a:gd name="connsiteX32" fmla="*/ 933768 w 1159387"/>
                <a:gd name="connsiteY32" fmla="*/ 313343 h 606592"/>
                <a:gd name="connsiteX33" fmla="*/ 933768 w 1159387"/>
                <a:gd name="connsiteY33" fmla="*/ 468558 h 606592"/>
                <a:gd name="connsiteX34" fmla="*/ 930749 w 1159387"/>
                <a:gd name="connsiteY34" fmla="*/ 475902 h 606592"/>
                <a:gd name="connsiteX35" fmla="*/ 923472 w 1159387"/>
                <a:gd name="connsiteY35" fmla="*/ 478940 h 606592"/>
                <a:gd name="connsiteX36" fmla="*/ 869627 w 1159387"/>
                <a:gd name="connsiteY36" fmla="*/ 478902 h 606592"/>
                <a:gd name="connsiteX37" fmla="*/ 859349 w 1159387"/>
                <a:gd name="connsiteY37" fmla="*/ 468530 h 606592"/>
                <a:gd name="connsiteX38" fmla="*/ 859349 w 1159387"/>
                <a:gd name="connsiteY38" fmla="*/ 10375 h 606592"/>
                <a:gd name="connsiteX39" fmla="*/ 869636 w 1159387"/>
                <a:gd name="connsiteY39" fmla="*/ 0 h 606592"/>
                <a:gd name="connsiteX40" fmla="*/ 923472 w 1159387"/>
                <a:gd name="connsiteY40" fmla="*/ 0 h 606592"/>
                <a:gd name="connsiteX41" fmla="*/ 933768 w 1159387"/>
                <a:gd name="connsiteY41" fmla="*/ 10375 h 606592"/>
                <a:gd name="connsiteX42" fmla="*/ 933768 w 1159387"/>
                <a:gd name="connsiteY42" fmla="*/ 193355 h 606592"/>
                <a:gd name="connsiteX43" fmla="*/ 1159388 w 1159387"/>
                <a:gd name="connsiteY43" fmla="*/ 312995 h 606592"/>
                <a:gd name="connsiteX44" fmla="*/ 1159388 w 1159387"/>
                <a:gd name="connsiteY44" fmla="*/ 468520 h 606592"/>
                <a:gd name="connsiteX45" fmla="*/ 1156378 w 1159387"/>
                <a:gd name="connsiteY45" fmla="*/ 475854 h 606592"/>
                <a:gd name="connsiteX46" fmla="*/ 1149101 w 1159387"/>
                <a:gd name="connsiteY46" fmla="*/ 478893 h 606592"/>
                <a:gd name="connsiteX47" fmla="*/ 1095199 w 1159387"/>
                <a:gd name="connsiteY47" fmla="*/ 478893 h 606592"/>
                <a:gd name="connsiteX48" fmla="*/ 1087922 w 1159387"/>
                <a:gd name="connsiteY48" fmla="*/ 475854 h 606592"/>
                <a:gd name="connsiteX49" fmla="*/ 1084912 w 1159387"/>
                <a:gd name="connsiteY49" fmla="*/ 468520 h 606592"/>
                <a:gd name="connsiteX50" fmla="*/ 1084912 w 1159387"/>
                <a:gd name="connsiteY50" fmla="*/ 312995 h 606592"/>
                <a:gd name="connsiteX51" fmla="*/ 966868 w 1159387"/>
                <a:gd name="connsiteY51" fmla="*/ 246504 h 606592"/>
                <a:gd name="connsiteX52" fmla="*/ 933768 w 1159387"/>
                <a:gd name="connsiteY52" fmla="*/ 313343 h 606592"/>
                <a:gd name="connsiteX53" fmla="*/ 596563 w 1159387"/>
                <a:gd name="connsiteY53" fmla="*/ 207040 h 606592"/>
                <a:gd name="connsiteX54" fmla="*/ 549471 w 1159387"/>
                <a:gd name="connsiteY54" fmla="*/ 323084 h 606592"/>
                <a:gd name="connsiteX55" fmla="*/ 596563 w 1159387"/>
                <a:gd name="connsiteY55" fmla="*/ 439145 h 606592"/>
                <a:gd name="connsiteX56" fmla="*/ 797522 w 1159387"/>
                <a:gd name="connsiteY56" fmla="*/ 460995 h 606592"/>
                <a:gd name="connsiteX57" fmla="*/ 799923 w 1159387"/>
                <a:gd name="connsiteY57" fmla="*/ 459357 h 606592"/>
                <a:gd name="connsiteX58" fmla="*/ 805247 w 1159387"/>
                <a:gd name="connsiteY58" fmla="*/ 455385 h 606592"/>
                <a:gd name="connsiteX59" fmla="*/ 806018 w 1159387"/>
                <a:gd name="connsiteY59" fmla="*/ 438745 h 606592"/>
                <a:gd name="connsiteX60" fmla="*/ 790226 w 1159387"/>
                <a:gd name="connsiteY60" fmla="*/ 417067 h 606592"/>
                <a:gd name="connsiteX61" fmla="*/ 776110 w 1159387"/>
                <a:gd name="connsiteY61" fmla="*/ 397747 h 606592"/>
                <a:gd name="connsiteX62" fmla="*/ 760975 w 1159387"/>
                <a:gd name="connsiteY62" fmla="*/ 394585 h 606592"/>
                <a:gd name="connsiteX63" fmla="*/ 757003 w 1159387"/>
                <a:gd name="connsiteY63" fmla="*/ 397067 h 606592"/>
                <a:gd name="connsiteX64" fmla="*/ 619737 w 1159387"/>
                <a:gd name="connsiteY64" fmla="*/ 323084 h 606592"/>
                <a:gd name="connsiteX65" fmla="*/ 756945 w 1159387"/>
                <a:gd name="connsiteY65" fmla="*/ 249203 h 606592"/>
                <a:gd name="connsiteX66" fmla="*/ 760975 w 1159387"/>
                <a:gd name="connsiteY66" fmla="*/ 251591 h 606592"/>
                <a:gd name="connsiteX67" fmla="*/ 776148 w 1159387"/>
                <a:gd name="connsiteY67" fmla="*/ 248416 h 606592"/>
                <a:gd name="connsiteX68" fmla="*/ 790207 w 1159387"/>
                <a:gd name="connsiteY68" fmla="*/ 229138 h 606592"/>
                <a:gd name="connsiteX69" fmla="*/ 804618 w 1159387"/>
                <a:gd name="connsiteY69" fmla="*/ 209395 h 606592"/>
                <a:gd name="connsiteX70" fmla="*/ 799903 w 1159387"/>
                <a:gd name="connsiteY70" fmla="*/ 186809 h 606592"/>
                <a:gd name="connsiteX71" fmla="*/ 797522 w 1159387"/>
                <a:gd name="connsiteY71" fmla="*/ 185195 h 606592"/>
                <a:gd name="connsiteX72" fmla="*/ 596563 w 1159387"/>
                <a:gd name="connsiteY72" fmla="*/ 207040 h 606592"/>
                <a:gd name="connsiteX73" fmla="*/ 293714 w 1159387"/>
                <a:gd name="connsiteY73" fmla="*/ 350313 h 606592"/>
                <a:gd name="connsiteX74" fmla="*/ 469385 w 1159387"/>
                <a:gd name="connsiteY74" fmla="*/ 350313 h 606592"/>
                <a:gd name="connsiteX75" fmla="*/ 507323 w 1159387"/>
                <a:gd name="connsiteY75" fmla="*/ 312290 h 606592"/>
                <a:gd name="connsiteX76" fmla="*/ 472890 w 1159387"/>
                <a:gd name="connsiteY76" fmla="*/ 208836 h 606592"/>
                <a:gd name="connsiteX77" fmla="*/ 368190 w 1159387"/>
                <a:gd name="connsiteY77" fmla="*/ 159530 h 606592"/>
                <a:gd name="connsiteX78" fmla="*/ 219228 w 1159387"/>
                <a:gd name="connsiteY78" fmla="*/ 323103 h 606592"/>
                <a:gd name="connsiteX79" fmla="*/ 375915 w 1159387"/>
                <a:gd name="connsiteY79" fmla="*/ 486674 h 606592"/>
                <a:gd name="connsiteX80" fmla="*/ 502398 w 1159387"/>
                <a:gd name="connsiteY80" fmla="*/ 450623 h 606592"/>
                <a:gd name="connsiteX81" fmla="*/ 505913 w 1159387"/>
                <a:gd name="connsiteY81" fmla="*/ 435907 h 606592"/>
                <a:gd name="connsiteX82" fmla="*/ 504818 w 1159387"/>
                <a:gd name="connsiteY82" fmla="*/ 434088 h 606592"/>
                <a:gd name="connsiteX83" fmla="*/ 478519 w 1159387"/>
                <a:gd name="connsiteY83" fmla="*/ 391689 h 606592"/>
                <a:gd name="connsiteX84" fmla="*/ 464460 w 1159387"/>
                <a:gd name="connsiteY84" fmla="*/ 388476 h 606592"/>
                <a:gd name="connsiteX85" fmla="*/ 377335 w 1159387"/>
                <a:gd name="connsiteY85" fmla="*/ 414990 h 606592"/>
                <a:gd name="connsiteX86" fmla="*/ 293714 w 1159387"/>
                <a:gd name="connsiteY86" fmla="*/ 350313 h 606592"/>
                <a:gd name="connsiteX87" fmla="*/ 430732 w 1159387"/>
                <a:gd name="connsiteY87" fmla="*/ 287912 h 606592"/>
                <a:gd name="connsiteX88" fmla="*/ 368190 w 1159387"/>
                <a:gd name="connsiteY88" fmla="*/ 232071 h 606592"/>
                <a:gd name="connsiteX89" fmla="*/ 296524 w 1159387"/>
                <a:gd name="connsiteY89" fmla="*/ 287912 h 606592"/>
                <a:gd name="connsiteX90" fmla="*/ 430732 w 1159387"/>
                <a:gd name="connsiteY90" fmla="*/ 287912 h 606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</a:cxnLst>
              <a:rect l="l" t="t" r="r" b="b"/>
              <a:pathLst>
                <a:path w="1159387" h="606592">
                  <a:moveTo>
                    <a:pt x="0" y="178242"/>
                  </a:moveTo>
                  <a:lnTo>
                    <a:pt x="0" y="237024"/>
                  </a:lnTo>
                  <a:cubicBezTo>
                    <a:pt x="695" y="241577"/>
                    <a:pt x="4220" y="245266"/>
                    <a:pt x="9135" y="246098"/>
                  </a:cubicBezTo>
                  <a:cubicBezTo>
                    <a:pt x="16869" y="247387"/>
                    <a:pt x="27404" y="249197"/>
                    <a:pt x="30214" y="250009"/>
                  </a:cubicBezTo>
                  <a:cubicBezTo>
                    <a:pt x="30833" y="250193"/>
                    <a:pt x="31518" y="250390"/>
                    <a:pt x="32261" y="250607"/>
                  </a:cubicBezTo>
                  <a:cubicBezTo>
                    <a:pt x="46749" y="254784"/>
                    <a:pt x="83697" y="265433"/>
                    <a:pt x="85030" y="319338"/>
                  </a:cubicBezTo>
                  <a:lnTo>
                    <a:pt x="85030" y="483817"/>
                  </a:lnTo>
                  <a:cubicBezTo>
                    <a:pt x="85030" y="516573"/>
                    <a:pt x="97670" y="547958"/>
                    <a:pt x="120863" y="570989"/>
                  </a:cubicBezTo>
                  <a:cubicBezTo>
                    <a:pt x="143342" y="593696"/>
                    <a:pt x="174261" y="606402"/>
                    <a:pt x="205874" y="606364"/>
                  </a:cubicBezTo>
                  <a:lnTo>
                    <a:pt x="207284" y="606364"/>
                  </a:lnTo>
                  <a:cubicBezTo>
                    <a:pt x="207284" y="606364"/>
                    <a:pt x="207284" y="606879"/>
                    <a:pt x="235964" y="606364"/>
                  </a:cubicBezTo>
                  <a:cubicBezTo>
                    <a:pt x="243232" y="606231"/>
                    <a:pt x="247461" y="601383"/>
                    <a:pt x="247356" y="593268"/>
                  </a:cubicBezTo>
                  <a:cubicBezTo>
                    <a:pt x="247222" y="582028"/>
                    <a:pt x="247527" y="573246"/>
                    <a:pt x="247337" y="563750"/>
                  </a:cubicBezTo>
                  <a:cubicBezTo>
                    <a:pt x="247184" y="555816"/>
                    <a:pt x="247337" y="548520"/>
                    <a:pt x="247337" y="541928"/>
                  </a:cubicBezTo>
                  <a:cubicBezTo>
                    <a:pt x="247337" y="535804"/>
                    <a:pt x="242422" y="530794"/>
                    <a:pt x="236802" y="530565"/>
                  </a:cubicBezTo>
                  <a:cubicBezTo>
                    <a:pt x="226258" y="530527"/>
                    <a:pt x="211504" y="530527"/>
                    <a:pt x="197454" y="530527"/>
                  </a:cubicBezTo>
                  <a:cubicBezTo>
                    <a:pt x="177071" y="530527"/>
                    <a:pt x="159506" y="513401"/>
                    <a:pt x="159506" y="492285"/>
                  </a:cubicBezTo>
                  <a:lnTo>
                    <a:pt x="159506" y="403084"/>
                  </a:lnTo>
                  <a:cubicBezTo>
                    <a:pt x="160202" y="402874"/>
                    <a:pt x="159506" y="317750"/>
                    <a:pt x="159506" y="316772"/>
                  </a:cubicBezTo>
                  <a:cubicBezTo>
                    <a:pt x="157544" y="243958"/>
                    <a:pt x="109233" y="212964"/>
                    <a:pt x="100365" y="207274"/>
                  </a:cubicBezTo>
                  <a:cubicBezTo>
                    <a:pt x="99708" y="206855"/>
                    <a:pt x="99270" y="206569"/>
                    <a:pt x="99080" y="206423"/>
                  </a:cubicBezTo>
                  <a:cubicBezTo>
                    <a:pt x="99270" y="206264"/>
                    <a:pt x="99708" y="205979"/>
                    <a:pt x="100356" y="205547"/>
                  </a:cubicBezTo>
                  <a:cubicBezTo>
                    <a:pt x="109395" y="199604"/>
                    <a:pt x="159506" y="166622"/>
                    <a:pt x="159506" y="90665"/>
                  </a:cubicBezTo>
                  <a:lnTo>
                    <a:pt x="159506" y="10992"/>
                  </a:lnTo>
                  <a:cubicBezTo>
                    <a:pt x="159506" y="4922"/>
                    <a:pt x="155287" y="0"/>
                    <a:pt x="148962" y="0"/>
                  </a:cubicBezTo>
                  <a:lnTo>
                    <a:pt x="95565" y="0"/>
                  </a:lnTo>
                  <a:cubicBezTo>
                    <a:pt x="89945" y="0"/>
                    <a:pt x="85030" y="4922"/>
                    <a:pt x="85030" y="10992"/>
                  </a:cubicBezTo>
                  <a:lnTo>
                    <a:pt x="85030" y="90665"/>
                  </a:lnTo>
                  <a:cubicBezTo>
                    <a:pt x="85030" y="147350"/>
                    <a:pt x="47054" y="158469"/>
                    <a:pt x="32366" y="162761"/>
                  </a:cubicBezTo>
                  <a:cubicBezTo>
                    <a:pt x="31576" y="162997"/>
                    <a:pt x="30861" y="163206"/>
                    <a:pt x="30214" y="163402"/>
                  </a:cubicBezTo>
                  <a:cubicBezTo>
                    <a:pt x="27404" y="164209"/>
                    <a:pt x="16869" y="166026"/>
                    <a:pt x="9135" y="167302"/>
                  </a:cubicBezTo>
                  <a:cubicBezTo>
                    <a:pt x="3515" y="168248"/>
                    <a:pt x="0" y="172858"/>
                    <a:pt x="0" y="178242"/>
                  </a:cubicBezTo>
                  <a:close/>
                  <a:moveTo>
                    <a:pt x="933768" y="313343"/>
                  </a:moveTo>
                  <a:lnTo>
                    <a:pt x="933768" y="468558"/>
                  </a:lnTo>
                  <a:cubicBezTo>
                    <a:pt x="933768" y="471320"/>
                    <a:pt x="932682" y="473949"/>
                    <a:pt x="930749" y="475902"/>
                  </a:cubicBezTo>
                  <a:cubicBezTo>
                    <a:pt x="928825" y="477845"/>
                    <a:pt x="926206" y="478940"/>
                    <a:pt x="923472" y="478940"/>
                  </a:cubicBezTo>
                  <a:cubicBezTo>
                    <a:pt x="909270" y="478921"/>
                    <a:pt x="883819" y="478912"/>
                    <a:pt x="869627" y="478902"/>
                  </a:cubicBezTo>
                  <a:cubicBezTo>
                    <a:pt x="863950" y="478893"/>
                    <a:pt x="859349" y="474254"/>
                    <a:pt x="859349" y="468530"/>
                  </a:cubicBezTo>
                  <a:cubicBezTo>
                    <a:pt x="859349" y="405427"/>
                    <a:pt x="859349" y="73513"/>
                    <a:pt x="859349" y="10375"/>
                  </a:cubicBezTo>
                  <a:cubicBezTo>
                    <a:pt x="859349" y="4648"/>
                    <a:pt x="863959" y="0"/>
                    <a:pt x="869636" y="0"/>
                  </a:cubicBezTo>
                  <a:cubicBezTo>
                    <a:pt x="883838" y="0"/>
                    <a:pt x="909279" y="0"/>
                    <a:pt x="923472" y="0"/>
                  </a:cubicBezTo>
                  <a:cubicBezTo>
                    <a:pt x="929158" y="0"/>
                    <a:pt x="933768" y="4648"/>
                    <a:pt x="933768" y="10375"/>
                  </a:cubicBezTo>
                  <a:cubicBezTo>
                    <a:pt x="933768" y="50513"/>
                    <a:pt x="933768" y="193355"/>
                    <a:pt x="933768" y="193355"/>
                  </a:cubicBezTo>
                  <a:cubicBezTo>
                    <a:pt x="1013169" y="118433"/>
                    <a:pt x="1159388" y="172318"/>
                    <a:pt x="1159388" y="312995"/>
                  </a:cubicBezTo>
                  <a:lnTo>
                    <a:pt x="1159388" y="468520"/>
                  </a:lnTo>
                  <a:cubicBezTo>
                    <a:pt x="1159388" y="471273"/>
                    <a:pt x="1158302" y="473911"/>
                    <a:pt x="1156378" y="475854"/>
                  </a:cubicBezTo>
                  <a:cubicBezTo>
                    <a:pt x="1154445" y="477797"/>
                    <a:pt x="1151835" y="478893"/>
                    <a:pt x="1149101" y="478893"/>
                  </a:cubicBezTo>
                  <a:cubicBezTo>
                    <a:pt x="1134899" y="478893"/>
                    <a:pt x="1109401" y="478893"/>
                    <a:pt x="1095199" y="478893"/>
                  </a:cubicBezTo>
                  <a:cubicBezTo>
                    <a:pt x="1092465" y="478893"/>
                    <a:pt x="1089855" y="477797"/>
                    <a:pt x="1087922" y="475854"/>
                  </a:cubicBezTo>
                  <a:cubicBezTo>
                    <a:pt x="1085998" y="473911"/>
                    <a:pt x="1084912" y="471273"/>
                    <a:pt x="1084912" y="468520"/>
                  </a:cubicBezTo>
                  <a:cubicBezTo>
                    <a:pt x="1084912" y="432211"/>
                    <a:pt x="1084912" y="312995"/>
                    <a:pt x="1084912" y="312995"/>
                  </a:cubicBezTo>
                  <a:cubicBezTo>
                    <a:pt x="1084912" y="239513"/>
                    <a:pt x="1011121" y="217047"/>
                    <a:pt x="966868" y="246504"/>
                  </a:cubicBezTo>
                  <a:cubicBezTo>
                    <a:pt x="947885" y="259141"/>
                    <a:pt x="933768" y="281804"/>
                    <a:pt x="933768" y="313343"/>
                  </a:cubicBezTo>
                  <a:close/>
                  <a:moveTo>
                    <a:pt x="596563" y="207040"/>
                  </a:moveTo>
                  <a:cubicBezTo>
                    <a:pt x="564235" y="238922"/>
                    <a:pt x="549471" y="280953"/>
                    <a:pt x="549471" y="323084"/>
                  </a:cubicBezTo>
                  <a:cubicBezTo>
                    <a:pt x="549471" y="365223"/>
                    <a:pt x="564235" y="407246"/>
                    <a:pt x="596563" y="439145"/>
                  </a:cubicBezTo>
                  <a:cubicBezTo>
                    <a:pt x="650665" y="494085"/>
                    <a:pt x="734285" y="501400"/>
                    <a:pt x="797522" y="460995"/>
                  </a:cubicBezTo>
                  <a:cubicBezTo>
                    <a:pt x="798208" y="460481"/>
                    <a:pt x="799037" y="459938"/>
                    <a:pt x="799923" y="459357"/>
                  </a:cubicBezTo>
                  <a:cubicBezTo>
                    <a:pt x="801761" y="458147"/>
                    <a:pt x="803828" y="456795"/>
                    <a:pt x="805247" y="455385"/>
                  </a:cubicBezTo>
                  <a:cubicBezTo>
                    <a:pt x="808762" y="451909"/>
                    <a:pt x="810762" y="445470"/>
                    <a:pt x="806018" y="438745"/>
                  </a:cubicBezTo>
                  <a:cubicBezTo>
                    <a:pt x="801761" y="432697"/>
                    <a:pt x="796170" y="425153"/>
                    <a:pt x="790226" y="417067"/>
                  </a:cubicBezTo>
                  <a:cubicBezTo>
                    <a:pt x="785121" y="410132"/>
                    <a:pt x="780339" y="403665"/>
                    <a:pt x="776110" y="397747"/>
                  </a:cubicBezTo>
                  <a:cubicBezTo>
                    <a:pt x="772671" y="392947"/>
                    <a:pt x="765890" y="391664"/>
                    <a:pt x="760975" y="394585"/>
                  </a:cubicBezTo>
                  <a:cubicBezTo>
                    <a:pt x="759565" y="395461"/>
                    <a:pt x="758393" y="396172"/>
                    <a:pt x="757003" y="397067"/>
                  </a:cubicBezTo>
                  <a:cubicBezTo>
                    <a:pt x="686032" y="442936"/>
                    <a:pt x="619737" y="382374"/>
                    <a:pt x="619737" y="323084"/>
                  </a:cubicBezTo>
                  <a:cubicBezTo>
                    <a:pt x="619737" y="263795"/>
                    <a:pt x="687384" y="203573"/>
                    <a:pt x="756945" y="249203"/>
                  </a:cubicBezTo>
                  <a:cubicBezTo>
                    <a:pt x="758308" y="250105"/>
                    <a:pt x="759565" y="250708"/>
                    <a:pt x="760975" y="251591"/>
                  </a:cubicBezTo>
                  <a:cubicBezTo>
                    <a:pt x="765890" y="254512"/>
                    <a:pt x="772805" y="253115"/>
                    <a:pt x="776148" y="248416"/>
                  </a:cubicBezTo>
                  <a:cubicBezTo>
                    <a:pt x="780377" y="242497"/>
                    <a:pt x="785102" y="236065"/>
                    <a:pt x="790207" y="229138"/>
                  </a:cubicBezTo>
                  <a:cubicBezTo>
                    <a:pt x="795560" y="221854"/>
                    <a:pt x="800580" y="215072"/>
                    <a:pt x="804618" y="209395"/>
                  </a:cubicBezTo>
                  <a:cubicBezTo>
                    <a:pt x="811362" y="199928"/>
                    <a:pt x="809571" y="193191"/>
                    <a:pt x="799903" y="186809"/>
                  </a:cubicBezTo>
                  <a:cubicBezTo>
                    <a:pt x="799027" y="186231"/>
                    <a:pt x="798199" y="185691"/>
                    <a:pt x="797522" y="185195"/>
                  </a:cubicBezTo>
                  <a:cubicBezTo>
                    <a:pt x="734285" y="144778"/>
                    <a:pt x="650665" y="152087"/>
                    <a:pt x="596563" y="207040"/>
                  </a:cubicBezTo>
                  <a:close/>
                  <a:moveTo>
                    <a:pt x="293714" y="350313"/>
                  </a:moveTo>
                  <a:lnTo>
                    <a:pt x="469385" y="350313"/>
                  </a:lnTo>
                  <a:cubicBezTo>
                    <a:pt x="490463" y="350313"/>
                    <a:pt x="507323" y="333283"/>
                    <a:pt x="507323" y="312290"/>
                  </a:cubicBezTo>
                  <a:cubicBezTo>
                    <a:pt x="507323" y="265561"/>
                    <a:pt x="499588" y="240644"/>
                    <a:pt x="472890" y="208836"/>
                  </a:cubicBezTo>
                  <a:cubicBezTo>
                    <a:pt x="445486" y="176865"/>
                    <a:pt x="401919" y="159530"/>
                    <a:pt x="368190" y="159530"/>
                  </a:cubicBezTo>
                  <a:cubicBezTo>
                    <a:pt x="283875" y="159530"/>
                    <a:pt x="219228" y="231722"/>
                    <a:pt x="219228" y="323103"/>
                  </a:cubicBezTo>
                  <a:cubicBezTo>
                    <a:pt x="219228" y="435697"/>
                    <a:pt x="306354" y="486674"/>
                    <a:pt x="375915" y="486674"/>
                  </a:cubicBezTo>
                  <a:cubicBezTo>
                    <a:pt x="425807" y="486674"/>
                    <a:pt x="464460" y="474616"/>
                    <a:pt x="502398" y="450623"/>
                  </a:cubicBezTo>
                  <a:cubicBezTo>
                    <a:pt x="506618" y="447470"/>
                    <a:pt x="508723" y="441003"/>
                    <a:pt x="505913" y="435907"/>
                  </a:cubicBezTo>
                  <a:lnTo>
                    <a:pt x="504818" y="434088"/>
                  </a:lnTo>
                  <a:cubicBezTo>
                    <a:pt x="497150" y="421362"/>
                    <a:pt x="486558" y="403789"/>
                    <a:pt x="478519" y="391689"/>
                  </a:cubicBezTo>
                  <a:cubicBezTo>
                    <a:pt x="475709" y="386901"/>
                    <a:pt x="469385" y="385492"/>
                    <a:pt x="464460" y="388476"/>
                  </a:cubicBezTo>
                  <a:cubicBezTo>
                    <a:pt x="440571" y="402722"/>
                    <a:pt x="415273" y="415266"/>
                    <a:pt x="377335" y="414990"/>
                  </a:cubicBezTo>
                  <a:cubicBezTo>
                    <a:pt x="342197" y="414742"/>
                    <a:pt x="304954" y="392280"/>
                    <a:pt x="293714" y="350313"/>
                  </a:cubicBezTo>
                  <a:close/>
                  <a:moveTo>
                    <a:pt x="430732" y="287912"/>
                  </a:moveTo>
                  <a:cubicBezTo>
                    <a:pt x="424407" y="240694"/>
                    <a:pt x="392079" y="232071"/>
                    <a:pt x="368190" y="232071"/>
                  </a:cubicBezTo>
                  <a:cubicBezTo>
                    <a:pt x="335872" y="232071"/>
                    <a:pt x="308478" y="256182"/>
                    <a:pt x="296524" y="287912"/>
                  </a:cubicBezTo>
                  <a:lnTo>
                    <a:pt x="430732" y="287912"/>
                  </a:lnTo>
                  <a:close/>
                </a:path>
              </a:pathLst>
            </a:custGeom>
            <a:grpFill/>
            <a:ln w="76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" name="Полилиния 28">
              <a:extLst>
                <a:ext uri="{FF2B5EF4-FFF2-40B4-BE49-F238E27FC236}">
                  <a16:creationId xmlns:a16="http://schemas.microsoft.com/office/drawing/2014/main" id="{94702B16-41DB-EC61-7FA5-51AE8CA2BA17}"/>
                </a:ext>
              </a:extLst>
            </p:cNvPr>
            <p:cNvSpPr/>
            <p:nvPr/>
          </p:nvSpPr>
          <p:spPr>
            <a:xfrm>
              <a:off x="8489504" y="1070894"/>
              <a:ext cx="1492273" cy="326563"/>
            </a:xfrm>
            <a:custGeom>
              <a:avLst/>
              <a:gdLst>
                <a:gd name="connsiteX0" fmla="*/ 180273 w 1492273"/>
                <a:gd name="connsiteY0" fmla="*/ 900 h 326563"/>
                <a:gd name="connsiteX1" fmla="*/ 83526 w 1492273"/>
                <a:gd name="connsiteY1" fmla="*/ 20775 h 326563"/>
                <a:gd name="connsiteX2" fmla="*/ 15954 w 1492273"/>
                <a:gd name="connsiteY2" fmla="*/ 92853 h 326563"/>
                <a:gd name="connsiteX3" fmla="*/ 2323 w 1492273"/>
                <a:gd name="connsiteY3" fmla="*/ 190737 h 326563"/>
                <a:gd name="connsiteX4" fmla="*/ 47618 w 1492273"/>
                <a:gd name="connsiteY4" fmla="*/ 278557 h 326563"/>
                <a:gd name="connsiteX5" fmla="*/ 135243 w 1492273"/>
                <a:gd name="connsiteY5" fmla="*/ 324153 h 326563"/>
                <a:gd name="connsiteX6" fmla="*/ 233098 w 1492273"/>
                <a:gd name="connsiteY6" fmla="*/ 310818 h 326563"/>
                <a:gd name="connsiteX7" fmla="*/ 305341 w 1492273"/>
                <a:gd name="connsiteY7" fmla="*/ 243429 h 326563"/>
                <a:gd name="connsiteX8" fmla="*/ 325507 w 1492273"/>
                <a:gd name="connsiteY8" fmla="*/ 146675 h 326563"/>
                <a:gd name="connsiteX9" fmla="*/ 278778 w 1492273"/>
                <a:gd name="connsiteY9" fmla="*/ 47965 h 326563"/>
                <a:gd name="connsiteX10" fmla="*/ 180273 w 1492273"/>
                <a:gd name="connsiteY10" fmla="*/ 900 h 326563"/>
                <a:gd name="connsiteX11" fmla="*/ 174984 w 1492273"/>
                <a:gd name="connsiteY11" fmla="*/ 249697 h 326563"/>
                <a:gd name="connsiteX12" fmla="*/ 122555 w 1492273"/>
                <a:gd name="connsiteY12" fmla="*/ 240277 h 326563"/>
                <a:gd name="connsiteX13" fmla="*/ 85427 w 1492273"/>
                <a:gd name="connsiteY13" fmla="*/ 202047 h 326563"/>
                <a:gd name="connsiteX14" fmla="*/ 77507 w 1492273"/>
                <a:gd name="connsiteY14" fmla="*/ 149329 h 326563"/>
                <a:gd name="connsiteX15" fmla="*/ 101766 w 1492273"/>
                <a:gd name="connsiteY15" fmla="*/ 101883 h 326563"/>
                <a:gd name="connsiteX16" fmla="*/ 149113 w 1492273"/>
                <a:gd name="connsiteY16" fmla="*/ 77461 h 326563"/>
                <a:gd name="connsiteX17" fmla="*/ 201825 w 1492273"/>
                <a:gd name="connsiteY17" fmla="*/ 85220 h 326563"/>
                <a:gd name="connsiteX18" fmla="*/ 240132 w 1492273"/>
                <a:gd name="connsiteY18" fmla="*/ 122247 h 326563"/>
                <a:gd name="connsiteX19" fmla="*/ 249714 w 1492273"/>
                <a:gd name="connsiteY19" fmla="*/ 174684 h 326563"/>
                <a:gd name="connsiteX20" fmla="*/ 225058 w 1492273"/>
                <a:gd name="connsiteY20" fmla="*/ 224868 h 326563"/>
                <a:gd name="connsiteX21" fmla="*/ 174984 w 1492273"/>
                <a:gd name="connsiteY21" fmla="*/ 249697 h 326563"/>
                <a:gd name="connsiteX22" fmla="*/ 412780 w 1492273"/>
                <a:gd name="connsiteY22" fmla="*/ 7358 h 326563"/>
                <a:gd name="connsiteX23" fmla="*/ 396435 w 1492273"/>
                <a:gd name="connsiteY23" fmla="*/ 11091 h 326563"/>
                <a:gd name="connsiteX24" fmla="*/ 383276 w 1492273"/>
                <a:gd name="connsiteY24" fmla="*/ 21498 h 326563"/>
                <a:gd name="connsiteX25" fmla="*/ 375859 w 1492273"/>
                <a:gd name="connsiteY25" fmla="*/ 36548 h 326563"/>
                <a:gd name="connsiteX26" fmla="*/ 375620 w 1492273"/>
                <a:gd name="connsiteY26" fmla="*/ 53325 h 326563"/>
                <a:gd name="connsiteX27" fmla="*/ 414209 w 1492273"/>
                <a:gd name="connsiteY27" fmla="*/ 83537 h 326563"/>
                <a:gd name="connsiteX28" fmla="*/ 520143 w 1492273"/>
                <a:gd name="connsiteY28" fmla="*/ 83537 h 326563"/>
                <a:gd name="connsiteX29" fmla="*/ 355289 w 1492273"/>
                <a:gd name="connsiteY29" fmla="*/ 301846 h 326563"/>
                <a:gd name="connsiteX30" fmla="*/ 353136 w 1492273"/>
                <a:gd name="connsiteY30" fmla="*/ 307389 h 326563"/>
                <a:gd name="connsiteX31" fmla="*/ 354212 w 1492273"/>
                <a:gd name="connsiteY31" fmla="*/ 313237 h 326563"/>
                <a:gd name="connsiteX32" fmla="*/ 358204 w 1492273"/>
                <a:gd name="connsiteY32" fmla="*/ 317647 h 326563"/>
                <a:gd name="connsiteX33" fmla="*/ 363921 w 1492273"/>
                <a:gd name="connsiteY33" fmla="*/ 319295 h 326563"/>
                <a:gd name="connsiteX34" fmla="*/ 622504 w 1492273"/>
                <a:gd name="connsiteY34" fmla="*/ 319295 h 326563"/>
                <a:gd name="connsiteX35" fmla="*/ 661099 w 1492273"/>
                <a:gd name="connsiteY35" fmla="*/ 289082 h 326563"/>
                <a:gd name="connsiteX36" fmla="*/ 660861 w 1492273"/>
                <a:gd name="connsiteY36" fmla="*/ 272299 h 326563"/>
                <a:gd name="connsiteX37" fmla="*/ 653451 w 1492273"/>
                <a:gd name="connsiteY37" fmla="*/ 257250 h 326563"/>
                <a:gd name="connsiteX38" fmla="*/ 640297 w 1492273"/>
                <a:gd name="connsiteY38" fmla="*/ 246849 h 326563"/>
                <a:gd name="connsiteX39" fmla="*/ 623952 w 1492273"/>
                <a:gd name="connsiteY39" fmla="*/ 243105 h 326563"/>
                <a:gd name="connsiteX40" fmla="*/ 494883 w 1492273"/>
                <a:gd name="connsiteY40" fmla="*/ 243105 h 326563"/>
                <a:gd name="connsiteX41" fmla="*/ 659613 w 1492273"/>
                <a:gd name="connsiteY41" fmla="*/ 24972 h 326563"/>
                <a:gd name="connsiteX42" fmla="*/ 661785 w 1492273"/>
                <a:gd name="connsiteY42" fmla="*/ 19371 h 326563"/>
                <a:gd name="connsiteX43" fmla="*/ 660690 w 1492273"/>
                <a:gd name="connsiteY43" fmla="*/ 13473 h 326563"/>
                <a:gd name="connsiteX44" fmla="*/ 656661 w 1492273"/>
                <a:gd name="connsiteY44" fmla="*/ 9021 h 326563"/>
                <a:gd name="connsiteX45" fmla="*/ 650888 w 1492273"/>
                <a:gd name="connsiteY45" fmla="*/ 7358 h 326563"/>
                <a:gd name="connsiteX46" fmla="*/ 412780 w 1492273"/>
                <a:gd name="connsiteY46" fmla="*/ 7358 h 326563"/>
                <a:gd name="connsiteX47" fmla="*/ 1446105 w 1492273"/>
                <a:gd name="connsiteY47" fmla="*/ 8240 h 326563"/>
                <a:gd name="connsiteX48" fmla="*/ 1424484 w 1492273"/>
                <a:gd name="connsiteY48" fmla="*/ 22127 h 326563"/>
                <a:gd name="connsiteX49" fmla="*/ 1416378 w 1492273"/>
                <a:gd name="connsiteY49" fmla="*/ 46473 h 326563"/>
                <a:gd name="connsiteX50" fmla="*/ 1416378 w 1492273"/>
                <a:gd name="connsiteY50" fmla="*/ 173313 h 326563"/>
                <a:gd name="connsiteX51" fmla="*/ 1210980 w 1492273"/>
                <a:gd name="connsiteY51" fmla="*/ 9758 h 326563"/>
                <a:gd name="connsiteX52" fmla="*/ 1205389 w 1492273"/>
                <a:gd name="connsiteY52" fmla="*/ 7453 h 326563"/>
                <a:gd name="connsiteX53" fmla="*/ 1199426 w 1492273"/>
                <a:gd name="connsiteY53" fmla="*/ 8482 h 326563"/>
                <a:gd name="connsiteX54" fmla="*/ 1194921 w 1492273"/>
                <a:gd name="connsiteY54" fmla="*/ 12520 h 326563"/>
                <a:gd name="connsiteX55" fmla="*/ 1193263 w 1492273"/>
                <a:gd name="connsiteY55" fmla="*/ 18343 h 326563"/>
                <a:gd name="connsiteX56" fmla="*/ 1193263 w 1492273"/>
                <a:gd name="connsiteY56" fmla="*/ 280243 h 326563"/>
                <a:gd name="connsiteX57" fmla="*/ 1201388 w 1492273"/>
                <a:gd name="connsiteY57" fmla="*/ 304589 h 326563"/>
                <a:gd name="connsiteX58" fmla="*/ 1222962 w 1492273"/>
                <a:gd name="connsiteY58" fmla="*/ 318486 h 326563"/>
                <a:gd name="connsiteX59" fmla="*/ 1239803 w 1492273"/>
                <a:gd name="connsiteY59" fmla="*/ 318362 h 326563"/>
                <a:gd name="connsiteX60" fmla="*/ 1254966 w 1492273"/>
                <a:gd name="connsiteY60" fmla="*/ 310961 h 326563"/>
                <a:gd name="connsiteX61" fmla="*/ 1265444 w 1492273"/>
                <a:gd name="connsiteY61" fmla="*/ 297721 h 326563"/>
                <a:gd name="connsiteX62" fmla="*/ 1269159 w 1492273"/>
                <a:gd name="connsiteY62" fmla="*/ 281272 h 326563"/>
                <a:gd name="connsiteX63" fmla="*/ 1269159 w 1492273"/>
                <a:gd name="connsiteY63" fmla="*/ 153323 h 326563"/>
                <a:gd name="connsiteX64" fmla="*/ 1474538 w 1492273"/>
                <a:gd name="connsiteY64" fmla="*/ 316885 h 326563"/>
                <a:gd name="connsiteX65" fmla="*/ 1480148 w 1492273"/>
                <a:gd name="connsiteY65" fmla="*/ 319190 h 326563"/>
                <a:gd name="connsiteX66" fmla="*/ 1486120 w 1492273"/>
                <a:gd name="connsiteY66" fmla="*/ 318162 h 326563"/>
                <a:gd name="connsiteX67" fmla="*/ 1490625 w 1492273"/>
                <a:gd name="connsiteY67" fmla="*/ 314123 h 326563"/>
                <a:gd name="connsiteX68" fmla="*/ 1492273 w 1492273"/>
                <a:gd name="connsiteY68" fmla="*/ 308303 h 326563"/>
                <a:gd name="connsiteX69" fmla="*/ 1492273 w 1492273"/>
                <a:gd name="connsiteY69" fmla="*/ 45444 h 326563"/>
                <a:gd name="connsiteX70" fmla="*/ 1488559 w 1492273"/>
                <a:gd name="connsiteY70" fmla="*/ 28985 h 326563"/>
                <a:gd name="connsiteX71" fmla="*/ 1478081 w 1492273"/>
                <a:gd name="connsiteY71" fmla="*/ 15759 h 326563"/>
                <a:gd name="connsiteX72" fmla="*/ 1462908 w 1492273"/>
                <a:gd name="connsiteY72" fmla="*/ 8354 h 326563"/>
                <a:gd name="connsiteX73" fmla="*/ 1446105 w 1492273"/>
                <a:gd name="connsiteY73" fmla="*/ 8240 h 326563"/>
                <a:gd name="connsiteX74" fmla="*/ 911265 w 1492273"/>
                <a:gd name="connsiteY74" fmla="*/ 76254 h 326563"/>
                <a:gd name="connsiteX75" fmla="*/ 1063066 w 1492273"/>
                <a:gd name="connsiteY75" fmla="*/ 163286 h 326563"/>
                <a:gd name="connsiteX76" fmla="*/ 911265 w 1492273"/>
                <a:gd name="connsiteY76" fmla="*/ 250325 h 326563"/>
                <a:gd name="connsiteX77" fmla="*/ 759483 w 1492273"/>
                <a:gd name="connsiteY77" fmla="*/ 163286 h 326563"/>
                <a:gd name="connsiteX78" fmla="*/ 911265 w 1492273"/>
                <a:gd name="connsiteY78" fmla="*/ 76254 h 326563"/>
                <a:gd name="connsiteX79" fmla="*/ 911265 w 1492273"/>
                <a:gd name="connsiteY79" fmla="*/ 67 h 326563"/>
                <a:gd name="connsiteX80" fmla="*/ 683578 w 1492273"/>
                <a:gd name="connsiteY80" fmla="*/ 163286 h 326563"/>
                <a:gd name="connsiteX81" fmla="*/ 911265 w 1492273"/>
                <a:gd name="connsiteY81" fmla="*/ 326506 h 326563"/>
                <a:gd name="connsiteX82" fmla="*/ 1138961 w 1492273"/>
                <a:gd name="connsiteY82" fmla="*/ 163286 h 326563"/>
                <a:gd name="connsiteX83" fmla="*/ 911265 w 1492273"/>
                <a:gd name="connsiteY83" fmla="*/ 67 h 3265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</a:cxnLst>
              <a:rect l="l" t="t" r="r" b="b"/>
              <a:pathLst>
                <a:path w="1492273" h="326563">
                  <a:moveTo>
                    <a:pt x="180273" y="900"/>
                  </a:moveTo>
                  <a:cubicBezTo>
                    <a:pt x="146739" y="-2638"/>
                    <a:pt x="112948" y="4310"/>
                    <a:pt x="83526" y="20775"/>
                  </a:cubicBezTo>
                  <a:cubicBezTo>
                    <a:pt x="54104" y="37240"/>
                    <a:pt x="30499" y="62424"/>
                    <a:pt x="15954" y="92853"/>
                  </a:cubicBezTo>
                  <a:cubicBezTo>
                    <a:pt x="1417" y="123295"/>
                    <a:pt x="-3344" y="157489"/>
                    <a:pt x="2323" y="190737"/>
                  </a:cubicBezTo>
                  <a:cubicBezTo>
                    <a:pt x="7990" y="223998"/>
                    <a:pt x="23812" y="254669"/>
                    <a:pt x="47618" y="278557"/>
                  </a:cubicBezTo>
                  <a:cubicBezTo>
                    <a:pt x="71412" y="302455"/>
                    <a:pt x="102030" y="318381"/>
                    <a:pt x="135243" y="324153"/>
                  </a:cubicBezTo>
                  <a:cubicBezTo>
                    <a:pt x="168455" y="329925"/>
                    <a:pt x="202644" y="325277"/>
                    <a:pt x="233098" y="310818"/>
                  </a:cubicBezTo>
                  <a:cubicBezTo>
                    <a:pt x="263559" y="296359"/>
                    <a:pt x="288801" y="272814"/>
                    <a:pt x="305341" y="243429"/>
                  </a:cubicBezTo>
                  <a:cubicBezTo>
                    <a:pt x="321894" y="214035"/>
                    <a:pt x="328933" y="180240"/>
                    <a:pt x="325507" y="146675"/>
                  </a:cubicBezTo>
                  <a:cubicBezTo>
                    <a:pt x="321736" y="109375"/>
                    <a:pt x="305234" y="74514"/>
                    <a:pt x="278778" y="47965"/>
                  </a:cubicBezTo>
                  <a:cubicBezTo>
                    <a:pt x="252327" y="21410"/>
                    <a:pt x="217534" y="4786"/>
                    <a:pt x="180273" y="900"/>
                  </a:cubicBezTo>
                  <a:close/>
                  <a:moveTo>
                    <a:pt x="174984" y="249697"/>
                  </a:moveTo>
                  <a:cubicBezTo>
                    <a:pt x="156946" y="252116"/>
                    <a:pt x="138617" y="248820"/>
                    <a:pt x="122555" y="240277"/>
                  </a:cubicBezTo>
                  <a:cubicBezTo>
                    <a:pt x="106488" y="231725"/>
                    <a:pt x="93505" y="218366"/>
                    <a:pt x="85427" y="202047"/>
                  </a:cubicBezTo>
                  <a:cubicBezTo>
                    <a:pt x="77349" y="185733"/>
                    <a:pt x="74579" y="167300"/>
                    <a:pt x="77507" y="149329"/>
                  </a:cubicBezTo>
                  <a:cubicBezTo>
                    <a:pt x="80440" y="131372"/>
                    <a:pt x="88922" y="114773"/>
                    <a:pt x="101766" y="101883"/>
                  </a:cubicBezTo>
                  <a:cubicBezTo>
                    <a:pt x="114610" y="88986"/>
                    <a:pt x="131176" y="80452"/>
                    <a:pt x="149113" y="77461"/>
                  </a:cubicBezTo>
                  <a:cubicBezTo>
                    <a:pt x="167057" y="74470"/>
                    <a:pt x="185493" y="77181"/>
                    <a:pt x="201825" y="85220"/>
                  </a:cubicBezTo>
                  <a:cubicBezTo>
                    <a:pt x="218145" y="93247"/>
                    <a:pt x="231543" y="106194"/>
                    <a:pt x="240132" y="122247"/>
                  </a:cubicBezTo>
                  <a:cubicBezTo>
                    <a:pt x="248725" y="138293"/>
                    <a:pt x="252068" y="156625"/>
                    <a:pt x="249714" y="174684"/>
                  </a:cubicBezTo>
                  <a:cubicBezTo>
                    <a:pt x="247233" y="193670"/>
                    <a:pt x="238569" y="211305"/>
                    <a:pt x="225058" y="224868"/>
                  </a:cubicBezTo>
                  <a:cubicBezTo>
                    <a:pt x="211546" y="238425"/>
                    <a:pt x="193948" y="247154"/>
                    <a:pt x="174984" y="249697"/>
                  </a:cubicBezTo>
                  <a:close/>
                  <a:moveTo>
                    <a:pt x="412780" y="7358"/>
                  </a:moveTo>
                  <a:cubicBezTo>
                    <a:pt x="407126" y="7370"/>
                    <a:pt x="401534" y="8646"/>
                    <a:pt x="396435" y="11091"/>
                  </a:cubicBezTo>
                  <a:cubicBezTo>
                    <a:pt x="391328" y="13536"/>
                    <a:pt x="386833" y="17092"/>
                    <a:pt x="383276" y="21498"/>
                  </a:cubicBezTo>
                  <a:cubicBezTo>
                    <a:pt x="379712" y="25899"/>
                    <a:pt x="377174" y="31042"/>
                    <a:pt x="375859" y="36548"/>
                  </a:cubicBezTo>
                  <a:cubicBezTo>
                    <a:pt x="374537" y="42053"/>
                    <a:pt x="374448" y="47787"/>
                    <a:pt x="375620" y="53325"/>
                  </a:cubicBezTo>
                  <a:cubicBezTo>
                    <a:pt x="379202" y="71282"/>
                    <a:pt x="395956" y="83537"/>
                    <a:pt x="414209" y="83537"/>
                  </a:cubicBezTo>
                  <a:lnTo>
                    <a:pt x="520143" y="83537"/>
                  </a:lnTo>
                  <a:lnTo>
                    <a:pt x="355289" y="301846"/>
                  </a:lnTo>
                  <a:cubicBezTo>
                    <a:pt x="354067" y="303455"/>
                    <a:pt x="353324" y="305379"/>
                    <a:pt x="353136" y="307389"/>
                  </a:cubicBezTo>
                  <a:cubicBezTo>
                    <a:pt x="352940" y="309399"/>
                    <a:pt x="353319" y="311428"/>
                    <a:pt x="354212" y="313237"/>
                  </a:cubicBezTo>
                  <a:cubicBezTo>
                    <a:pt x="355113" y="315047"/>
                    <a:pt x="356491" y="316581"/>
                    <a:pt x="358204" y="317647"/>
                  </a:cubicBezTo>
                  <a:cubicBezTo>
                    <a:pt x="359923" y="318714"/>
                    <a:pt x="361900" y="319286"/>
                    <a:pt x="363921" y="319295"/>
                  </a:cubicBezTo>
                  <a:lnTo>
                    <a:pt x="622504" y="319295"/>
                  </a:lnTo>
                  <a:cubicBezTo>
                    <a:pt x="640744" y="319295"/>
                    <a:pt x="657518" y="307037"/>
                    <a:pt x="661099" y="289082"/>
                  </a:cubicBezTo>
                  <a:cubicBezTo>
                    <a:pt x="662271" y="283539"/>
                    <a:pt x="662185" y="277805"/>
                    <a:pt x="660861" y="272299"/>
                  </a:cubicBezTo>
                  <a:cubicBezTo>
                    <a:pt x="659537" y="266794"/>
                    <a:pt x="657004" y="261650"/>
                    <a:pt x="653451" y="257250"/>
                  </a:cubicBezTo>
                  <a:cubicBezTo>
                    <a:pt x="649898" y="252849"/>
                    <a:pt x="645402" y="249297"/>
                    <a:pt x="640297" y="246849"/>
                  </a:cubicBezTo>
                  <a:cubicBezTo>
                    <a:pt x="635191" y="244391"/>
                    <a:pt x="629610" y="243115"/>
                    <a:pt x="623952" y="243105"/>
                  </a:cubicBezTo>
                  <a:lnTo>
                    <a:pt x="494883" y="243105"/>
                  </a:lnTo>
                  <a:lnTo>
                    <a:pt x="659613" y="24972"/>
                  </a:lnTo>
                  <a:cubicBezTo>
                    <a:pt x="660842" y="23340"/>
                    <a:pt x="661595" y="21403"/>
                    <a:pt x="661785" y="19371"/>
                  </a:cubicBezTo>
                  <a:cubicBezTo>
                    <a:pt x="661976" y="17340"/>
                    <a:pt x="661604" y="15295"/>
                    <a:pt x="660690" y="13473"/>
                  </a:cubicBezTo>
                  <a:cubicBezTo>
                    <a:pt x="659785" y="11637"/>
                    <a:pt x="658385" y="10101"/>
                    <a:pt x="656661" y="9021"/>
                  </a:cubicBezTo>
                  <a:cubicBezTo>
                    <a:pt x="654937" y="7942"/>
                    <a:pt x="652927" y="7363"/>
                    <a:pt x="650888" y="7358"/>
                  </a:cubicBezTo>
                  <a:lnTo>
                    <a:pt x="412780" y="7358"/>
                  </a:lnTo>
                  <a:close/>
                  <a:moveTo>
                    <a:pt x="1446105" y="8240"/>
                  </a:moveTo>
                  <a:cubicBezTo>
                    <a:pt x="1437514" y="10272"/>
                    <a:pt x="1429894" y="15174"/>
                    <a:pt x="1424484" y="22127"/>
                  </a:cubicBezTo>
                  <a:cubicBezTo>
                    <a:pt x="1419112" y="29080"/>
                    <a:pt x="1416254" y="37666"/>
                    <a:pt x="1416378" y="46473"/>
                  </a:cubicBezTo>
                  <a:lnTo>
                    <a:pt x="1416378" y="173313"/>
                  </a:lnTo>
                  <a:lnTo>
                    <a:pt x="1210980" y="9758"/>
                  </a:lnTo>
                  <a:cubicBezTo>
                    <a:pt x="1209361" y="8475"/>
                    <a:pt x="1207427" y="7675"/>
                    <a:pt x="1205389" y="7453"/>
                  </a:cubicBezTo>
                  <a:cubicBezTo>
                    <a:pt x="1203341" y="7230"/>
                    <a:pt x="1201274" y="7580"/>
                    <a:pt x="1199426" y="8482"/>
                  </a:cubicBezTo>
                  <a:cubicBezTo>
                    <a:pt x="1197569" y="9377"/>
                    <a:pt x="1196006" y="10773"/>
                    <a:pt x="1194921" y="12520"/>
                  </a:cubicBezTo>
                  <a:cubicBezTo>
                    <a:pt x="1193835" y="14273"/>
                    <a:pt x="1193254" y="16285"/>
                    <a:pt x="1193263" y="18343"/>
                  </a:cubicBezTo>
                  <a:lnTo>
                    <a:pt x="1193263" y="280243"/>
                  </a:lnTo>
                  <a:cubicBezTo>
                    <a:pt x="1193120" y="289054"/>
                    <a:pt x="1195987" y="297645"/>
                    <a:pt x="1201388" y="304589"/>
                  </a:cubicBezTo>
                  <a:cubicBezTo>
                    <a:pt x="1206789" y="311542"/>
                    <a:pt x="1214409" y="316447"/>
                    <a:pt x="1222962" y="318486"/>
                  </a:cubicBezTo>
                  <a:cubicBezTo>
                    <a:pt x="1228525" y="319714"/>
                    <a:pt x="1234288" y="319667"/>
                    <a:pt x="1239803" y="318362"/>
                  </a:cubicBezTo>
                  <a:cubicBezTo>
                    <a:pt x="1245346" y="317066"/>
                    <a:pt x="1250518" y="314533"/>
                    <a:pt x="1254966" y="310961"/>
                  </a:cubicBezTo>
                  <a:cubicBezTo>
                    <a:pt x="1259415" y="307389"/>
                    <a:pt x="1263006" y="302874"/>
                    <a:pt x="1265444" y="297721"/>
                  </a:cubicBezTo>
                  <a:cubicBezTo>
                    <a:pt x="1267882" y="292587"/>
                    <a:pt x="1269159" y="286958"/>
                    <a:pt x="1269159" y="281272"/>
                  </a:cubicBezTo>
                  <a:lnTo>
                    <a:pt x="1269159" y="153323"/>
                  </a:lnTo>
                  <a:lnTo>
                    <a:pt x="1474538" y="316885"/>
                  </a:lnTo>
                  <a:cubicBezTo>
                    <a:pt x="1476195" y="318171"/>
                    <a:pt x="1478138" y="318962"/>
                    <a:pt x="1480148" y="319190"/>
                  </a:cubicBezTo>
                  <a:cubicBezTo>
                    <a:pt x="1482224" y="319419"/>
                    <a:pt x="1484291" y="319057"/>
                    <a:pt x="1486120" y="318162"/>
                  </a:cubicBezTo>
                  <a:cubicBezTo>
                    <a:pt x="1487949" y="317266"/>
                    <a:pt x="1489530" y="315866"/>
                    <a:pt x="1490625" y="314123"/>
                  </a:cubicBezTo>
                  <a:cubicBezTo>
                    <a:pt x="1491721" y="312380"/>
                    <a:pt x="1492273" y="310361"/>
                    <a:pt x="1492273" y="308303"/>
                  </a:cubicBezTo>
                  <a:lnTo>
                    <a:pt x="1492273" y="45444"/>
                  </a:lnTo>
                  <a:cubicBezTo>
                    <a:pt x="1492273" y="39748"/>
                    <a:pt x="1490997" y="34123"/>
                    <a:pt x="1488559" y="28985"/>
                  </a:cubicBezTo>
                  <a:cubicBezTo>
                    <a:pt x="1486120" y="23848"/>
                    <a:pt x="1482529" y="19327"/>
                    <a:pt x="1478081" y="15759"/>
                  </a:cubicBezTo>
                  <a:cubicBezTo>
                    <a:pt x="1473633" y="12190"/>
                    <a:pt x="1468461" y="9656"/>
                    <a:pt x="1462908" y="8354"/>
                  </a:cubicBezTo>
                  <a:cubicBezTo>
                    <a:pt x="1457364" y="7059"/>
                    <a:pt x="1451649" y="7015"/>
                    <a:pt x="1446105" y="8240"/>
                  </a:cubicBezTo>
                  <a:close/>
                  <a:moveTo>
                    <a:pt x="911265" y="76254"/>
                  </a:moveTo>
                  <a:cubicBezTo>
                    <a:pt x="998152" y="76254"/>
                    <a:pt x="1063066" y="122196"/>
                    <a:pt x="1063066" y="163286"/>
                  </a:cubicBezTo>
                  <a:cubicBezTo>
                    <a:pt x="1063066" y="204383"/>
                    <a:pt x="998152" y="250325"/>
                    <a:pt x="911265" y="250325"/>
                  </a:cubicBezTo>
                  <a:cubicBezTo>
                    <a:pt x="824397" y="250325"/>
                    <a:pt x="759483" y="204383"/>
                    <a:pt x="759483" y="163286"/>
                  </a:cubicBezTo>
                  <a:cubicBezTo>
                    <a:pt x="759483" y="122196"/>
                    <a:pt x="824397" y="76254"/>
                    <a:pt x="911265" y="76254"/>
                  </a:cubicBezTo>
                  <a:close/>
                  <a:moveTo>
                    <a:pt x="911265" y="67"/>
                  </a:moveTo>
                  <a:cubicBezTo>
                    <a:pt x="785515" y="67"/>
                    <a:pt x="683578" y="73142"/>
                    <a:pt x="683578" y="163286"/>
                  </a:cubicBezTo>
                  <a:cubicBezTo>
                    <a:pt x="683578" y="253421"/>
                    <a:pt x="785515" y="326506"/>
                    <a:pt x="911265" y="326506"/>
                  </a:cubicBezTo>
                  <a:cubicBezTo>
                    <a:pt x="1037024" y="326506"/>
                    <a:pt x="1138961" y="253421"/>
                    <a:pt x="1138961" y="163286"/>
                  </a:cubicBezTo>
                  <a:cubicBezTo>
                    <a:pt x="1138961" y="73142"/>
                    <a:pt x="1037024" y="67"/>
                    <a:pt x="911265" y="67"/>
                  </a:cubicBezTo>
                  <a:close/>
                </a:path>
              </a:pathLst>
            </a:custGeom>
            <a:grpFill/>
            <a:ln w="76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0" name="Группа 9">
            <a:extLst>
              <a:ext uri="{FF2B5EF4-FFF2-40B4-BE49-F238E27FC236}">
                <a16:creationId xmlns:a16="http://schemas.microsoft.com/office/drawing/2014/main" id="{598D0B46-B0A6-A42A-ED59-1B31201D1AB2}"/>
              </a:ext>
            </a:extLst>
          </p:cNvPr>
          <p:cNvGrpSpPr/>
          <p:nvPr userDrawn="1"/>
        </p:nvGrpSpPr>
        <p:grpSpPr>
          <a:xfrm>
            <a:off x="-2138458" y="0"/>
            <a:ext cx="1928241" cy="2880934"/>
            <a:chOff x="-2138458" y="0"/>
            <a:chExt cx="1928241" cy="2880934"/>
          </a:xfrm>
        </p:grpSpPr>
        <p:sp>
          <p:nvSpPr>
            <p:cNvPr id="27" name="Прямоугольник: скругленные углы 26">
              <a:extLst>
                <a:ext uri="{FF2B5EF4-FFF2-40B4-BE49-F238E27FC236}">
                  <a16:creationId xmlns:a16="http://schemas.microsoft.com/office/drawing/2014/main" id="{A1753B2C-76E2-A5A6-A432-B4822F053CE8}"/>
                </a:ext>
              </a:extLst>
            </p:cNvPr>
            <p:cNvSpPr/>
            <p:nvPr/>
          </p:nvSpPr>
          <p:spPr>
            <a:xfrm>
              <a:off x="-2138458" y="54865"/>
              <a:ext cx="1928241" cy="2826069"/>
            </a:xfrm>
            <a:prstGeom prst="roundRect">
              <a:avLst>
                <a:gd name="adj" fmla="val 5926"/>
              </a:avLst>
            </a:prstGeom>
            <a:solidFill>
              <a:schemeClr val="bg1"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8" name="Прямоугольник: скругленные верхние углы 27">
              <a:extLst>
                <a:ext uri="{FF2B5EF4-FFF2-40B4-BE49-F238E27FC236}">
                  <a16:creationId xmlns:a16="http://schemas.microsoft.com/office/drawing/2014/main" id="{9872BA5A-3054-929B-2FEA-74D99D7CC1B7}"/>
                </a:ext>
              </a:extLst>
            </p:cNvPr>
            <p:cNvSpPr/>
            <p:nvPr/>
          </p:nvSpPr>
          <p:spPr>
            <a:xfrm>
              <a:off x="-2136930" y="0"/>
              <a:ext cx="1926713" cy="28800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36000" rtlCol="0" anchor="ctr"/>
            <a:lstStyle/>
            <a:p>
              <a:pPr algn="ctr"/>
              <a:r>
                <a:rPr lang="ru-RU" sz="1100" b="1">
                  <a:solidFill>
                    <a:schemeClr val="tx1"/>
                  </a:solidFill>
                </a:rPr>
                <a:t>Размеры текста</a:t>
              </a: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EE06276D-FE9B-6C65-2089-D67EA95A44C3}"/>
                </a:ext>
              </a:extLst>
            </p:cNvPr>
            <p:cNvSpPr txBox="1"/>
            <p:nvPr/>
          </p:nvSpPr>
          <p:spPr>
            <a:xfrm>
              <a:off x="-1691344" y="2506490"/>
              <a:ext cx="1373969" cy="24284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>
                <a:lnSpc>
                  <a:spcPct val="90000"/>
                </a:lnSpc>
              </a:pPr>
              <a:r>
                <a:rPr lang="ru-RU" sz="900" b="0">
                  <a:solidFill>
                    <a:schemeClr val="accent1"/>
                  </a:solidFill>
                </a:rPr>
                <a:t>Используй эти размеры </a:t>
              </a:r>
              <a:br>
                <a:rPr lang="ru-RU" sz="900" b="0">
                  <a:solidFill>
                    <a:schemeClr val="accent1"/>
                  </a:solidFill>
                </a:rPr>
              </a:br>
              <a:r>
                <a:rPr lang="ru-RU" sz="900" b="0">
                  <a:solidFill>
                    <a:schemeClr val="accent1"/>
                  </a:solidFill>
                </a:rPr>
                <a:t>по всей презентации</a:t>
              </a:r>
            </a:p>
          </p:txBody>
        </p:sp>
        <p:sp>
          <p:nvSpPr>
            <p:cNvPr id="57" name="Полилиния: фигура 56">
              <a:extLst>
                <a:ext uri="{FF2B5EF4-FFF2-40B4-BE49-F238E27FC236}">
                  <a16:creationId xmlns:a16="http://schemas.microsoft.com/office/drawing/2014/main" id="{78DE2901-DB4C-83F6-72BC-325CB8411C2E}"/>
                </a:ext>
              </a:extLst>
            </p:cNvPr>
            <p:cNvSpPr/>
            <p:nvPr/>
          </p:nvSpPr>
          <p:spPr>
            <a:xfrm>
              <a:off x="-2004344" y="2488864"/>
              <a:ext cx="216624" cy="228657"/>
            </a:xfrm>
            <a:custGeom>
              <a:avLst/>
              <a:gdLst>
                <a:gd name="connsiteX0" fmla="*/ 72536 w 171450"/>
                <a:gd name="connsiteY0" fmla="*/ 162210 h 180974"/>
                <a:gd name="connsiteX1" fmla="*/ 98923 w 171450"/>
                <a:gd name="connsiteY1" fmla="*/ 162210 h 180974"/>
                <a:gd name="connsiteX2" fmla="*/ 103600 w 171450"/>
                <a:gd name="connsiteY2" fmla="*/ 172160 h 180974"/>
                <a:gd name="connsiteX3" fmla="*/ 85726 w 171450"/>
                <a:gd name="connsiteY3" fmla="*/ 180974 h 180974"/>
                <a:gd name="connsiteX4" fmla="*/ 67852 w 171450"/>
                <a:gd name="connsiteY4" fmla="*/ 172160 h 180974"/>
                <a:gd name="connsiteX5" fmla="*/ 72536 w 171450"/>
                <a:gd name="connsiteY5" fmla="*/ 162210 h 180974"/>
                <a:gd name="connsiteX6" fmla="*/ 152400 w 171450"/>
                <a:gd name="connsiteY6" fmla="*/ 76200 h 180974"/>
                <a:gd name="connsiteX7" fmla="*/ 161925 w 171450"/>
                <a:gd name="connsiteY7" fmla="*/ 76200 h 180974"/>
                <a:gd name="connsiteX8" fmla="*/ 171450 w 171450"/>
                <a:gd name="connsiteY8" fmla="*/ 85725 h 180974"/>
                <a:gd name="connsiteX9" fmla="*/ 161925 w 171450"/>
                <a:gd name="connsiteY9" fmla="*/ 95250 h 180974"/>
                <a:gd name="connsiteX10" fmla="*/ 152400 w 171450"/>
                <a:gd name="connsiteY10" fmla="*/ 95250 h 180974"/>
                <a:gd name="connsiteX11" fmla="*/ 142875 w 171450"/>
                <a:gd name="connsiteY11" fmla="*/ 85725 h 180974"/>
                <a:gd name="connsiteX12" fmla="*/ 152400 w 171450"/>
                <a:gd name="connsiteY12" fmla="*/ 76200 h 180974"/>
                <a:gd name="connsiteX13" fmla="*/ 9525 w 171450"/>
                <a:gd name="connsiteY13" fmla="*/ 76200 h 180974"/>
                <a:gd name="connsiteX14" fmla="*/ 19050 w 171450"/>
                <a:gd name="connsiteY14" fmla="*/ 76200 h 180974"/>
                <a:gd name="connsiteX15" fmla="*/ 28575 w 171450"/>
                <a:gd name="connsiteY15" fmla="*/ 85725 h 180974"/>
                <a:gd name="connsiteX16" fmla="*/ 19050 w 171450"/>
                <a:gd name="connsiteY16" fmla="*/ 95250 h 180974"/>
                <a:gd name="connsiteX17" fmla="*/ 9525 w 171450"/>
                <a:gd name="connsiteY17" fmla="*/ 95250 h 180974"/>
                <a:gd name="connsiteX18" fmla="*/ 0 w 171450"/>
                <a:gd name="connsiteY18" fmla="*/ 85725 h 180974"/>
                <a:gd name="connsiteX19" fmla="*/ 9525 w 171450"/>
                <a:gd name="connsiteY19" fmla="*/ 76200 h 180974"/>
                <a:gd name="connsiteX20" fmla="*/ 85725 w 171450"/>
                <a:gd name="connsiteY20" fmla="*/ 38100 h 180974"/>
                <a:gd name="connsiteX21" fmla="*/ 133350 w 171450"/>
                <a:gd name="connsiteY21" fmla="*/ 85725 h 180974"/>
                <a:gd name="connsiteX22" fmla="*/ 123174 w 171450"/>
                <a:gd name="connsiteY22" fmla="*/ 114596 h 180974"/>
                <a:gd name="connsiteX23" fmla="*/ 114300 w 171450"/>
                <a:gd name="connsiteY23" fmla="*/ 138113 h 180974"/>
                <a:gd name="connsiteX24" fmla="*/ 85725 w 171450"/>
                <a:gd name="connsiteY24" fmla="*/ 152400 h 180974"/>
                <a:gd name="connsiteX25" fmla="*/ 57150 w 171450"/>
                <a:gd name="connsiteY25" fmla="*/ 138113 h 180974"/>
                <a:gd name="connsiteX26" fmla="*/ 48275 w 171450"/>
                <a:gd name="connsiteY26" fmla="*/ 114596 h 180974"/>
                <a:gd name="connsiteX27" fmla="*/ 38100 w 171450"/>
                <a:gd name="connsiteY27" fmla="*/ 85725 h 180974"/>
                <a:gd name="connsiteX28" fmla="*/ 85725 w 171450"/>
                <a:gd name="connsiteY28" fmla="*/ 38100 h 180974"/>
                <a:gd name="connsiteX29" fmla="*/ 136141 w 171450"/>
                <a:gd name="connsiteY29" fmla="*/ 21840 h 180974"/>
                <a:gd name="connsiteX30" fmla="*/ 149611 w 171450"/>
                <a:gd name="connsiteY30" fmla="*/ 21840 h 180974"/>
                <a:gd name="connsiteX31" fmla="*/ 149611 w 171450"/>
                <a:gd name="connsiteY31" fmla="*/ 35310 h 180974"/>
                <a:gd name="connsiteX32" fmla="*/ 140086 w 171450"/>
                <a:gd name="connsiteY32" fmla="*/ 44835 h 180974"/>
                <a:gd name="connsiteX33" fmla="*/ 126616 w 171450"/>
                <a:gd name="connsiteY33" fmla="*/ 44835 h 180974"/>
                <a:gd name="connsiteX34" fmla="*/ 126616 w 171450"/>
                <a:gd name="connsiteY34" fmla="*/ 31365 h 180974"/>
                <a:gd name="connsiteX35" fmla="*/ 21840 w 171450"/>
                <a:gd name="connsiteY35" fmla="*/ 21840 h 180974"/>
                <a:gd name="connsiteX36" fmla="*/ 35310 w 171450"/>
                <a:gd name="connsiteY36" fmla="*/ 21840 h 180974"/>
                <a:gd name="connsiteX37" fmla="*/ 44835 w 171450"/>
                <a:gd name="connsiteY37" fmla="*/ 31365 h 180974"/>
                <a:gd name="connsiteX38" fmla="*/ 44835 w 171450"/>
                <a:gd name="connsiteY38" fmla="*/ 44835 h 180974"/>
                <a:gd name="connsiteX39" fmla="*/ 31365 w 171450"/>
                <a:gd name="connsiteY39" fmla="*/ 44835 h 180974"/>
                <a:gd name="connsiteX40" fmla="*/ 21840 w 171450"/>
                <a:gd name="connsiteY40" fmla="*/ 35310 h 180974"/>
                <a:gd name="connsiteX41" fmla="*/ 21840 w 171450"/>
                <a:gd name="connsiteY41" fmla="*/ 21840 h 180974"/>
                <a:gd name="connsiteX42" fmla="*/ 85725 w 171450"/>
                <a:gd name="connsiteY42" fmla="*/ 0 h 180974"/>
                <a:gd name="connsiteX43" fmla="*/ 95250 w 171450"/>
                <a:gd name="connsiteY43" fmla="*/ 9525 h 180974"/>
                <a:gd name="connsiteX44" fmla="*/ 95250 w 171450"/>
                <a:gd name="connsiteY44" fmla="*/ 19050 h 180974"/>
                <a:gd name="connsiteX45" fmla="*/ 85725 w 171450"/>
                <a:gd name="connsiteY45" fmla="*/ 28575 h 180974"/>
                <a:gd name="connsiteX46" fmla="*/ 76200 w 171450"/>
                <a:gd name="connsiteY46" fmla="*/ 19050 h 180974"/>
                <a:gd name="connsiteX47" fmla="*/ 76200 w 171450"/>
                <a:gd name="connsiteY47" fmla="*/ 9525 h 180974"/>
                <a:gd name="connsiteX48" fmla="*/ 85725 w 171450"/>
                <a:gd name="connsiteY48" fmla="*/ 0 h 180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171450" h="180974">
                  <a:moveTo>
                    <a:pt x="72536" y="162210"/>
                  </a:moveTo>
                  <a:cubicBezTo>
                    <a:pt x="80449" y="164140"/>
                    <a:pt x="90933" y="164211"/>
                    <a:pt x="98923" y="162210"/>
                  </a:cubicBezTo>
                  <a:cubicBezTo>
                    <a:pt x="105617" y="160534"/>
                    <a:pt x="105617" y="166533"/>
                    <a:pt x="103600" y="172160"/>
                  </a:cubicBezTo>
                  <a:cubicBezTo>
                    <a:pt x="100950" y="179549"/>
                    <a:pt x="95451" y="180974"/>
                    <a:pt x="85726" y="180974"/>
                  </a:cubicBezTo>
                  <a:cubicBezTo>
                    <a:pt x="76000" y="180974"/>
                    <a:pt x="70501" y="179549"/>
                    <a:pt x="67852" y="172160"/>
                  </a:cubicBezTo>
                  <a:cubicBezTo>
                    <a:pt x="65835" y="166534"/>
                    <a:pt x="65835" y="160576"/>
                    <a:pt x="72536" y="162210"/>
                  </a:cubicBezTo>
                  <a:close/>
                  <a:moveTo>
                    <a:pt x="152400" y="76200"/>
                  </a:moveTo>
                  <a:lnTo>
                    <a:pt x="161925" y="76200"/>
                  </a:lnTo>
                  <a:cubicBezTo>
                    <a:pt x="167186" y="76200"/>
                    <a:pt x="171450" y="80464"/>
                    <a:pt x="171450" y="85725"/>
                  </a:cubicBezTo>
                  <a:cubicBezTo>
                    <a:pt x="171450" y="90986"/>
                    <a:pt x="167186" y="95250"/>
                    <a:pt x="161925" y="95250"/>
                  </a:cubicBezTo>
                  <a:lnTo>
                    <a:pt x="152400" y="95250"/>
                  </a:lnTo>
                  <a:cubicBezTo>
                    <a:pt x="147139" y="95250"/>
                    <a:pt x="142875" y="90986"/>
                    <a:pt x="142875" y="85725"/>
                  </a:cubicBezTo>
                  <a:cubicBezTo>
                    <a:pt x="142875" y="80464"/>
                    <a:pt x="147139" y="76200"/>
                    <a:pt x="152400" y="76200"/>
                  </a:cubicBezTo>
                  <a:close/>
                  <a:moveTo>
                    <a:pt x="9525" y="76200"/>
                  </a:moveTo>
                  <a:lnTo>
                    <a:pt x="19050" y="76200"/>
                  </a:lnTo>
                  <a:cubicBezTo>
                    <a:pt x="24310" y="76200"/>
                    <a:pt x="28575" y="80464"/>
                    <a:pt x="28575" y="85725"/>
                  </a:cubicBezTo>
                  <a:cubicBezTo>
                    <a:pt x="28575" y="90986"/>
                    <a:pt x="24310" y="95250"/>
                    <a:pt x="19050" y="95250"/>
                  </a:cubicBezTo>
                  <a:lnTo>
                    <a:pt x="9525" y="95250"/>
                  </a:lnTo>
                  <a:cubicBezTo>
                    <a:pt x="4265" y="95250"/>
                    <a:pt x="0" y="90986"/>
                    <a:pt x="0" y="85725"/>
                  </a:cubicBezTo>
                  <a:cubicBezTo>
                    <a:pt x="0" y="80464"/>
                    <a:pt x="4265" y="76200"/>
                    <a:pt x="9525" y="76200"/>
                  </a:cubicBezTo>
                  <a:close/>
                  <a:moveTo>
                    <a:pt x="85725" y="38100"/>
                  </a:moveTo>
                  <a:cubicBezTo>
                    <a:pt x="112027" y="38100"/>
                    <a:pt x="133350" y="58671"/>
                    <a:pt x="133350" y="85725"/>
                  </a:cubicBezTo>
                  <a:cubicBezTo>
                    <a:pt x="133350" y="100663"/>
                    <a:pt x="128144" y="107793"/>
                    <a:pt x="123174" y="114596"/>
                  </a:cubicBezTo>
                  <a:cubicBezTo>
                    <a:pt x="118639" y="120807"/>
                    <a:pt x="114300" y="126748"/>
                    <a:pt x="114300" y="138113"/>
                  </a:cubicBezTo>
                  <a:cubicBezTo>
                    <a:pt x="114300" y="147638"/>
                    <a:pt x="104775" y="152400"/>
                    <a:pt x="85725" y="152400"/>
                  </a:cubicBezTo>
                  <a:cubicBezTo>
                    <a:pt x="66675" y="152400"/>
                    <a:pt x="57150" y="147638"/>
                    <a:pt x="57150" y="138113"/>
                  </a:cubicBezTo>
                  <a:cubicBezTo>
                    <a:pt x="57150" y="126748"/>
                    <a:pt x="52811" y="120807"/>
                    <a:pt x="48275" y="114596"/>
                  </a:cubicBezTo>
                  <a:cubicBezTo>
                    <a:pt x="43306" y="107793"/>
                    <a:pt x="38100" y="100663"/>
                    <a:pt x="38100" y="85725"/>
                  </a:cubicBezTo>
                  <a:cubicBezTo>
                    <a:pt x="38100" y="57150"/>
                    <a:pt x="59422" y="38100"/>
                    <a:pt x="85725" y="38100"/>
                  </a:cubicBezTo>
                  <a:close/>
                  <a:moveTo>
                    <a:pt x="136141" y="21840"/>
                  </a:moveTo>
                  <a:cubicBezTo>
                    <a:pt x="139860" y="18120"/>
                    <a:pt x="145891" y="18120"/>
                    <a:pt x="149611" y="21840"/>
                  </a:cubicBezTo>
                  <a:cubicBezTo>
                    <a:pt x="153330" y="25560"/>
                    <a:pt x="153330" y="31590"/>
                    <a:pt x="149611" y="35310"/>
                  </a:cubicBezTo>
                  <a:lnTo>
                    <a:pt x="140086" y="44835"/>
                  </a:lnTo>
                  <a:cubicBezTo>
                    <a:pt x="136366" y="48555"/>
                    <a:pt x="130335" y="48555"/>
                    <a:pt x="126616" y="44835"/>
                  </a:cubicBezTo>
                  <a:cubicBezTo>
                    <a:pt x="122896" y="41115"/>
                    <a:pt x="122896" y="35085"/>
                    <a:pt x="126616" y="31365"/>
                  </a:cubicBezTo>
                  <a:close/>
                  <a:moveTo>
                    <a:pt x="21840" y="21840"/>
                  </a:moveTo>
                  <a:cubicBezTo>
                    <a:pt x="25560" y="18120"/>
                    <a:pt x="31590" y="18120"/>
                    <a:pt x="35310" y="21840"/>
                  </a:cubicBezTo>
                  <a:lnTo>
                    <a:pt x="44835" y="31365"/>
                  </a:lnTo>
                  <a:cubicBezTo>
                    <a:pt x="48555" y="35085"/>
                    <a:pt x="48555" y="41115"/>
                    <a:pt x="44835" y="44835"/>
                  </a:cubicBezTo>
                  <a:cubicBezTo>
                    <a:pt x="41115" y="48555"/>
                    <a:pt x="35085" y="48555"/>
                    <a:pt x="31365" y="44835"/>
                  </a:cubicBezTo>
                  <a:lnTo>
                    <a:pt x="21840" y="35310"/>
                  </a:lnTo>
                  <a:cubicBezTo>
                    <a:pt x="18120" y="31590"/>
                    <a:pt x="18120" y="25560"/>
                    <a:pt x="21840" y="21840"/>
                  </a:cubicBezTo>
                  <a:close/>
                  <a:moveTo>
                    <a:pt x="85725" y="0"/>
                  </a:moveTo>
                  <a:cubicBezTo>
                    <a:pt x="90986" y="0"/>
                    <a:pt x="95250" y="4265"/>
                    <a:pt x="95250" y="9525"/>
                  </a:cubicBezTo>
                  <a:lnTo>
                    <a:pt x="95250" y="19050"/>
                  </a:lnTo>
                  <a:cubicBezTo>
                    <a:pt x="95250" y="24310"/>
                    <a:pt x="90986" y="28575"/>
                    <a:pt x="85725" y="28575"/>
                  </a:cubicBezTo>
                  <a:cubicBezTo>
                    <a:pt x="80464" y="28575"/>
                    <a:pt x="76200" y="24310"/>
                    <a:pt x="76200" y="19050"/>
                  </a:cubicBezTo>
                  <a:lnTo>
                    <a:pt x="76200" y="9525"/>
                  </a:lnTo>
                  <a:cubicBezTo>
                    <a:pt x="76200" y="4265"/>
                    <a:pt x="80464" y="0"/>
                    <a:pt x="85725" y="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9C6A208F-2A8F-8640-1889-7EF3989875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560661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33" imgH="233" progId="TCLayout.ActiveDocument.1">
                  <p:embed/>
                </p:oleObj>
              </mc:Choice>
              <mc:Fallback>
                <p:oleObj name="Слайд think-cell" r:id="rId3" imgW="233" imgH="233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9C6A208F-2A8F-8640-1889-7EF3989875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Объект 2">
            <a:extLst>
              <a:ext uri="{FF2B5EF4-FFF2-40B4-BE49-F238E27FC236}">
                <a16:creationId xmlns:a16="http://schemas.microsoft.com/office/drawing/2014/main" id="{91C59567-F70E-CC32-748F-63A920CFAA0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0799" y="1520824"/>
            <a:ext cx="10911600" cy="4741864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D1B8BF84-4C88-A2BF-3322-2EC1F81B35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57744" y="6430370"/>
            <a:ext cx="907200" cy="216000"/>
          </a:xfrm>
        </p:spPr>
        <p:txBody>
          <a:bodyPr/>
          <a:lstStyle>
            <a:lvl1pPr>
              <a:defRPr>
                <a:solidFill>
                  <a:srgbClr val="5A6C7D"/>
                </a:solidFill>
              </a:defRPr>
            </a:lvl1pPr>
          </a:lstStyle>
          <a:p>
            <a:fld id="{EB5249F5-0093-48B0-B996-C4E44A87EAFB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1CD188B5-4A1B-CBD8-E7B6-3AA0E6DAFA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9764" y="411163"/>
            <a:ext cx="10910888" cy="68446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5000"/>
              </a:lnSpc>
              <a:defRPr spc="-30" baseline="0"/>
            </a:lvl1pPr>
          </a:lstStyle>
          <a:p>
            <a:r>
              <a:rPr lang="ru-RU" dirty="0"/>
              <a:t>Сформулируй заголовок </a:t>
            </a:r>
            <a:br>
              <a:rPr lang="en-US" dirty="0"/>
            </a:br>
            <a:r>
              <a:rPr lang="ru-RU" dirty="0"/>
              <a:t>слайда в 1–2 строки</a:t>
            </a:r>
          </a:p>
        </p:txBody>
      </p:sp>
      <p:graphicFrame>
        <p:nvGraphicFramePr>
          <p:cNvPr id="46" name="Таблица 46">
            <a:extLst>
              <a:ext uri="{FF2B5EF4-FFF2-40B4-BE49-F238E27FC236}">
                <a16:creationId xmlns:a16="http://schemas.microsoft.com/office/drawing/2014/main" id="{16AD7780-25A8-C111-96FC-5E75B5A0C42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51093387"/>
              </p:ext>
            </p:extLst>
          </p:nvPr>
        </p:nvGraphicFramePr>
        <p:xfrm>
          <a:off x="-2046114" y="312643"/>
          <a:ext cx="1914309" cy="2142000"/>
        </p:xfrm>
        <a:graphic>
          <a:graphicData uri="http://schemas.openxmlformats.org/drawingml/2006/table">
            <a:tbl>
              <a:tblPr/>
              <a:tblGrid>
                <a:gridCol w="532517">
                  <a:extLst>
                    <a:ext uri="{9D8B030D-6E8A-4147-A177-3AD203B41FA5}">
                      <a16:colId xmlns:a16="http://schemas.microsoft.com/office/drawing/2014/main" val="2594385797"/>
                    </a:ext>
                  </a:extLst>
                </a:gridCol>
                <a:gridCol w="1381792">
                  <a:extLst>
                    <a:ext uri="{9D8B030D-6E8A-4147-A177-3AD203B41FA5}">
                      <a16:colId xmlns:a16="http://schemas.microsoft.com/office/drawing/2014/main" val="1017723076"/>
                    </a:ext>
                  </a:extLst>
                </a:gridCol>
              </a:tblGrid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44+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0" spc="-40" baseline="0"/>
                        <a:t>акцентные цифр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8329665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32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заголовки и самые </a:t>
                      </a:r>
                      <a:br>
                        <a:rPr lang="ru-RU" sz="1000" spc="-40" baseline="0"/>
                      </a:br>
                      <a:r>
                        <a:rPr lang="ru-RU" sz="1000" spc="-40" baseline="0"/>
                        <a:t>важные данные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17697917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24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8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подзаголовки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72780009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18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4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основной текст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0685745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4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2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торой уровень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текста (менее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ажная информация)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1997433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0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 dirty="0">
                          <a:solidFill>
                            <a:schemeClr val="tx1"/>
                          </a:solidFill>
                        </a:rPr>
                        <a:t>сноски, пояснения, </a:t>
                      </a:r>
                      <a:br>
                        <a:rPr lang="en-US" sz="1000" spc="-40" baseline="0" dirty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 dirty="0">
                          <a:solidFill>
                            <a:schemeClr val="tx1"/>
                          </a:solidFill>
                        </a:rPr>
                        <a:t>большие таблиц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76660845"/>
                  </a:ext>
                </a:extLst>
              </a:tr>
            </a:tbl>
          </a:graphicData>
        </a:graphic>
      </p:graphicFrame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3B3C4C6E-EB0B-0D4C-A48E-6F561F737B30}"/>
              </a:ext>
            </a:extLst>
          </p:cNvPr>
          <p:cNvGrpSpPr/>
          <p:nvPr userDrawn="1"/>
        </p:nvGrpSpPr>
        <p:grpSpPr>
          <a:xfrm>
            <a:off x="-2138458" y="3080607"/>
            <a:ext cx="1935384" cy="3777393"/>
            <a:chOff x="-2138458" y="3080607"/>
            <a:chExt cx="1935384" cy="3777393"/>
          </a:xfrm>
        </p:grpSpPr>
        <p:grpSp>
          <p:nvGrpSpPr>
            <p:cNvPr id="9" name="Группа 8">
              <a:extLst>
                <a:ext uri="{FF2B5EF4-FFF2-40B4-BE49-F238E27FC236}">
                  <a16:creationId xmlns:a16="http://schemas.microsoft.com/office/drawing/2014/main" id="{CEFD538C-FA8E-7FEB-7646-11CBD8E487D7}"/>
                </a:ext>
              </a:extLst>
            </p:cNvPr>
            <p:cNvGrpSpPr/>
            <p:nvPr userDrawn="1"/>
          </p:nvGrpSpPr>
          <p:grpSpPr>
            <a:xfrm>
              <a:off x="-2131314" y="5782119"/>
              <a:ext cx="1928240" cy="1075881"/>
              <a:chOff x="-2131314" y="5782119"/>
              <a:chExt cx="1928240" cy="1075881"/>
            </a:xfrm>
          </p:grpSpPr>
          <p:sp>
            <p:nvSpPr>
              <p:cNvPr id="90" name="Прямоугольник: скругленные углы 89">
                <a:extLst>
                  <a:ext uri="{FF2B5EF4-FFF2-40B4-BE49-F238E27FC236}">
                    <a16:creationId xmlns:a16="http://schemas.microsoft.com/office/drawing/2014/main" id="{9FBBDF2D-B6AA-7C42-E7A8-1F2C6E580F57}"/>
                  </a:ext>
                </a:extLst>
              </p:cNvPr>
              <p:cNvSpPr/>
              <p:nvPr/>
            </p:nvSpPr>
            <p:spPr>
              <a:xfrm>
                <a:off x="-2131314" y="5782119"/>
                <a:ext cx="1928240" cy="1075881"/>
              </a:xfrm>
              <a:prstGeom prst="roundRect">
                <a:avLst>
                  <a:gd name="adj" fmla="val 12985"/>
                </a:avLst>
              </a:prstGeom>
              <a:solidFill>
                <a:schemeClr val="bg1">
                  <a:alpha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92" name="TextBox 91">
                <a:extLst>
                  <a:ext uri="{FF2B5EF4-FFF2-40B4-BE49-F238E27FC236}">
                    <a16:creationId xmlns:a16="http://schemas.microsoft.com/office/drawing/2014/main" id="{F9B3039A-0474-03BA-F180-3615605F4E3F}"/>
                  </a:ext>
                </a:extLst>
              </p:cNvPr>
              <p:cNvSpPr txBox="1"/>
              <p:nvPr/>
            </p:nvSpPr>
            <p:spPr>
              <a:xfrm>
                <a:off x="-1788338" y="5868204"/>
                <a:ext cx="1155882" cy="151095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pPr algn="l">
                  <a:lnSpc>
                    <a:spcPct val="90000"/>
                  </a:lnSpc>
                </a:pPr>
                <a:r>
                  <a:rPr lang="ru-RU" sz="1000" b="1">
                    <a:solidFill>
                      <a:schemeClr val="accent1"/>
                    </a:solidFill>
                  </a:rPr>
                  <a:t>Шаблон </a:t>
                </a:r>
                <a:r>
                  <a:rPr lang="en-US" sz="1000" b="1">
                    <a:solidFill>
                      <a:schemeClr val="accent1"/>
                    </a:solidFill>
                  </a:rPr>
                  <a:t>Ozon</a:t>
                </a:r>
                <a:endParaRPr lang="ru-RU" sz="1000" b="1">
                  <a:solidFill>
                    <a:schemeClr val="accent1"/>
                  </a:solidFill>
                </a:endParaRPr>
              </a:p>
            </p:txBody>
          </p:sp>
          <p:sp>
            <p:nvSpPr>
              <p:cNvPr id="95" name="Рисунок 93">
                <a:extLst>
                  <a:ext uri="{FF2B5EF4-FFF2-40B4-BE49-F238E27FC236}">
                    <a16:creationId xmlns:a16="http://schemas.microsoft.com/office/drawing/2014/main" id="{73304B93-8BA8-B417-7E41-6F569E8C14A0}"/>
                  </a:ext>
                </a:extLst>
              </p:cNvPr>
              <p:cNvSpPr/>
              <p:nvPr/>
            </p:nvSpPr>
            <p:spPr>
              <a:xfrm>
                <a:off x="-2004963" y="5853908"/>
                <a:ext cx="161099" cy="161099"/>
              </a:xfrm>
              <a:custGeom>
                <a:avLst/>
                <a:gdLst>
                  <a:gd name="connsiteX0" fmla="*/ 85725 w 171450"/>
                  <a:gd name="connsiteY0" fmla="*/ 171450 h 171450"/>
                  <a:gd name="connsiteX1" fmla="*/ 171450 w 171450"/>
                  <a:gd name="connsiteY1" fmla="*/ 85725 h 171450"/>
                  <a:gd name="connsiteX2" fmla="*/ 85725 w 171450"/>
                  <a:gd name="connsiteY2" fmla="*/ 0 h 171450"/>
                  <a:gd name="connsiteX3" fmla="*/ 0 w 171450"/>
                  <a:gd name="connsiteY3" fmla="*/ 85725 h 171450"/>
                  <a:gd name="connsiteX4" fmla="*/ 85725 w 171450"/>
                  <a:gd name="connsiteY4" fmla="*/ 171450 h 171450"/>
                  <a:gd name="connsiteX5" fmla="*/ 130560 w 171450"/>
                  <a:gd name="connsiteY5" fmla="*/ 73410 h 171450"/>
                  <a:gd name="connsiteX6" fmla="*/ 82935 w 171450"/>
                  <a:gd name="connsiteY6" fmla="*/ 121035 h 171450"/>
                  <a:gd name="connsiteX7" fmla="*/ 69465 w 171450"/>
                  <a:gd name="connsiteY7" fmla="*/ 121035 h 171450"/>
                  <a:gd name="connsiteX8" fmla="*/ 40890 w 171450"/>
                  <a:gd name="connsiteY8" fmla="*/ 92460 h 171450"/>
                  <a:gd name="connsiteX9" fmla="*/ 40890 w 171450"/>
                  <a:gd name="connsiteY9" fmla="*/ 78990 h 171450"/>
                  <a:gd name="connsiteX10" fmla="*/ 54360 w 171450"/>
                  <a:gd name="connsiteY10" fmla="*/ 78990 h 171450"/>
                  <a:gd name="connsiteX11" fmla="*/ 76200 w 171450"/>
                  <a:gd name="connsiteY11" fmla="*/ 100830 h 171450"/>
                  <a:gd name="connsiteX12" fmla="*/ 117090 w 171450"/>
                  <a:gd name="connsiteY12" fmla="*/ 59940 h 171450"/>
                  <a:gd name="connsiteX13" fmla="*/ 130560 w 171450"/>
                  <a:gd name="connsiteY13" fmla="*/ 59940 h 171450"/>
                  <a:gd name="connsiteX14" fmla="*/ 130560 w 171450"/>
                  <a:gd name="connsiteY14" fmla="*/ 73410 h 171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71450" h="171450">
                    <a:moveTo>
                      <a:pt x="85725" y="171450"/>
                    </a:moveTo>
                    <a:cubicBezTo>
                      <a:pt x="138915" y="171450"/>
                      <a:pt x="171450" y="138915"/>
                      <a:pt x="171450" y="85725"/>
                    </a:cubicBezTo>
                    <a:cubicBezTo>
                      <a:pt x="171450" y="32535"/>
                      <a:pt x="138915" y="0"/>
                      <a:pt x="85725" y="0"/>
                    </a:cubicBezTo>
                    <a:cubicBezTo>
                      <a:pt x="32535" y="0"/>
                      <a:pt x="0" y="32535"/>
                      <a:pt x="0" y="85725"/>
                    </a:cubicBezTo>
                    <a:cubicBezTo>
                      <a:pt x="0" y="138915"/>
                      <a:pt x="32535" y="171450"/>
                      <a:pt x="85725" y="171450"/>
                    </a:cubicBezTo>
                    <a:close/>
                    <a:moveTo>
                      <a:pt x="130560" y="73410"/>
                    </a:moveTo>
                    <a:lnTo>
                      <a:pt x="82935" y="121035"/>
                    </a:lnTo>
                    <a:cubicBezTo>
                      <a:pt x="79216" y="124755"/>
                      <a:pt x="73184" y="124755"/>
                      <a:pt x="69465" y="121035"/>
                    </a:cubicBezTo>
                    <a:lnTo>
                      <a:pt x="40890" y="92460"/>
                    </a:lnTo>
                    <a:cubicBezTo>
                      <a:pt x="37170" y="88741"/>
                      <a:pt x="37170" y="82709"/>
                      <a:pt x="40890" y="78990"/>
                    </a:cubicBezTo>
                    <a:cubicBezTo>
                      <a:pt x="44610" y="75270"/>
                      <a:pt x="50640" y="75270"/>
                      <a:pt x="54360" y="78990"/>
                    </a:cubicBezTo>
                    <a:lnTo>
                      <a:pt x="76200" y="100830"/>
                    </a:lnTo>
                    <a:lnTo>
                      <a:pt x="117090" y="59940"/>
                    </a:lnTo>
                    <a:cubicBezTo>
                      <a:pt x="120809" y="56220"/>
                      <a:pt x="126841" y="56220"/>
                      <a:pt x="130560" y="59940"/>
                    </a:cubicBezTo>
                    <a:cubicBezTo>
                      <a:pt x="134280" y="63660"/>
                      <a:pt x="134280" y="69691"/>
                      <a:pt x="130560" y="734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96" name="TextBox 95">
                <a:extLst>
                  <a:ext uri="{FF2B5EF4-FFF2-40B4-BE49-F238E27FC236}">
                    <a16:creationId xmlns:a16="http://schemas.microsoft.com/office/drawing/2014/main" id="{9A64D423-6D96-E041-2DD6-6B8FE1A7051B}"/>
                  </a:ext>
                </a:extLst>
              </p:cNvPr>
              <p:cNvSpPr txBox="1"/>
              <p:nvPr/>
            </p:nvSpPr>
            <p:spPr>
              <a:xfrm>
                <a:off x="-2004962" y="6072106"/>
                <a:ext cx="1687587" cy="60024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l">
                  <a:lnSpc>
                    <a:spcPct val="110000"/>
                  </a:lnSpc>
                </a:pPr>
                <a:r>
                  <a:rPr lang="ru-RU" sz="900" spc="-30" baseline="0">
                    <a:solidFill>
                      <a:schemeClr val="tx2"/>
                    </a:solidFill>
                  </a:rPr>
                  <a:t>Если нужно больше материалов: </a:t>
                </a:r>
                <a:r>
                  <a:rPr lang="ru-RU" sz="900" b="1" spc="-30" baseline="0">
                    <a:solidFill>
                      <a:schemeClr val="tx2"/>
                    </a:solidFill>
                  </a:rPr>
                  <a:t>правое меню </a:t>
                </a:r>
                <a:r>
                  <a:rPr lang="en-US" sz="900" b="1" spc="-30" baseline="0">
                    <a:solidFill>
                      <a:schemeClr val="tx2"/>
                    </a:solidFill>
                  </a:rPr>
                  <a:t>Staff — Brand </a:t>
                </a:r>
                <a:r>
                  <a:rPr lang="ru-RU" sz="900" b="1" spc="-30" baseline="0">
                    <a:solidFill>
                      <a:schemeClr val="tx2"/>
                    </a:solidFill>
                  </a:rPr>
                  <a:t>— Всё для презентаций. </a:t>
                </a:r>
                <a:r>
                  <a:rPr lang="ru-RU" sz="900" b="0" spc="-30" baseline="0">
                    <a:solidFill>
                      <a:schemeClr val="tx2"/>
                    </a:solidFill>
                  </a:rPr>
                  <a:t>Или пиши нам на </a:t>
                </a:r>
                <a:r>
                  <a:rPr lang="en-US" sz="900" b="0" spc="-30" baseline="0">
                    <a:solidFill>
                      <a:schemeClr val="tx2"/>
                    </a:solidFill>
                  </a:rPr>
                  <a:t>presentations@ozon.ru.</a:t>
                </a:r>
                <a:r>
                  <a:rPr lang="ru-RU" sz="900" b="0" spc="-30" baseline="0">
                    <a:solidFill>
                      <a:schemeClr val="tx2"/>
                    </a:solidFill>
                  </a:rPr>
                  <a:t> </a:t>
                </a:r>
              </a:p>
            </p:txBody>
          </p:sp>
        </p:grpSp>
        <p:grpSp>
          <p:nvGrpSpPr>
            <p:cNvPr id="2" name="Группа 1">
              <a:extLst>
                <a:ext uri="{FF2B5EF4-FFF2-40B4-BE49-F238E27FC236}">
                  <a16:creationId xmlns:a16="http://schemas.microsoft.com/office/drawing/2014/main" id="{CA252D23-0362-3ABC-AED3-B98F27A20B40}"/>
                </a:ext>
              </a:extLst>
            </p:cNvPr>
            <p:cNvGrpSpPr/>
            <p:nvPr userDrawn="1"/>
          </p:nvGrpSpPr>
          <p:grpSpPr>
            <a:xfrm>
              <a:off x="-2138458" y="3080607"/>
              <a:ext cx="1928241" cy="2523683"/>
              <a:chOff x="-2138458" y="3070447"/>
              <a:chExt cx="1928241" cy="2523683"/>
            </a:xfrm>
          </p:grpSpPr>
          <p:sp>
            <p:nvSpPr>
              <p:cNvPr id="58" name="Прямоугольник: скругленные углы 57">
                <a:extLst>
                  <a:ext uri="{FF2B5EF4-FFF2-40B4-BE49-F238E27FC236}">
                    <a16:creationId xmlns:a16="http://schemas.microsoft.com/office/drawing/2014/main" id="{F42E0623-38F7-A50B-7CCA-8FA49D784B02}"/>
                  </a:ext>
                </a:extLst>
              </p:cNvPr>
              <p:cNvSpPr/>
              <p:nvPr/>
            </p:nvSpPr>
            <p:spPr>
              <a:xfrm>
                <a:off x="-2138458" y="3125312"/>
                <a:ext cx="1928241" cy="2468818"/>
              </a:xfrm>
              <a:prstGeom prst="roundRect">
                <a:avLst>
                  <a:gd name="adj" fmla="val 5926"/>
                </a:avLst>
              </a:prstGeom>
              <a:solidFill>
                <a:schemeClr val="bg1">
                  <a:alpha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59" name="Прямоугольник: скругленные верхние углы 58">
                <a:extLst>
                  <a:ext uri="{FF2B5EF4-FFF2-40B4-BE49-F238E27FC236}">
                    <a16:creationId xmlns:a16="http://schemas.microsoft.com/office/drawing/2014/main" id="{8F041766-36F9-9509-C8B4-40232A368A7F}"/>
                  </a:ext>
                </a:extLst>
              </p:cNvPr>
              <p:cNvSpPr/>
              <p:nvPr/>
            </p:nvSpPr>
            <p:spPr>
              <a:xfrm>
                <a:off x="-2136930" y="3070447"/>
                <a:ext cx="1926713" cy="2880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accent6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36000" rtlCol="0" anchor="ctr"/>
              <a:lstStyle/>
              <a:p>
                <a:pPr algn="ctr"/>
                <a:r>
                  <a:rPr lang="ru-RU" sz="1100" b="1">
                    <a:solidFill>
                      <a:schemeClr val="tx1"/>
                    </a:solidFill>
                  </a:rPr>
                  <a:t>Цвета </a:t>
                </a:r>
                <a:r>
                  <a:rPr lang="en-US" sz="1100" b="1">
                    <a:solidFill>
                      <a:schemeClr val="tx1"/>
                    </a:solidFill>
                  </a:rPr>
                  <a:t>Ozon</a:t>
                </a:r>
                <a:endParaRPr lang="ru-RU" sz="1100" b="1">
                  <a:solidFill>
                    <a:schemeClr val="tx1"/>
                  </a:solidFill>
                </a:endParaRPr>
              </a:p>
            </p:txBody>
          </p:sp>
          <p:sp>
            <p:nvSpPr>
              <p:cNvPr id="60" name="TextBox 59">
                <a:extLst>
                  <a:ext uri="{FF2B5EF4-FFF2-40B4-BE49-F238E27FC236}">
                    <a16:creationId xmlns:a16="http://schemas.microsoft.com/office/drawing/2014/main" id="{BE8DE30C-D978-9641-8FAD-C2B48D85CE79}"/>
                  </a:ext>
                </a:extLst>
              </p:cNvPr>
              <p:cNvSpPr txBox="1"/>
              <p:nvPr/>
            </p:nvSpPr>
            <p:spPr>
              <a:xfrm>
                <a:off x="-2003446" y="3412239"/>
                <a:ext cx="1638525" cy="17162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l"/>
                <a:r>
                  <a:rPr lang="ru-RU" sz="1000" dirty="0"/>
                  <a:t>Цвет текста </a:t>
                </a:r>
              </a:p>
            </p:txBody>
          </p:sp>
          <p:sp>
            <p:nvSpPr>
              <p:cNvPr id="62" name="Прямоугольник: скругленные углы 61">
                <a:extLst>
                  <a:ext uri="{FF2B5EF4-FFF2-40B4-BE49-F238E27FC236}">
                    <a16:creationId xmlns:a16="http://schemas.microsoft.com/office/drawing/2014/main" id="{048EF23C-A368-A68F-C5E0-1143EA66DF21}"/>
                  </a:ext>
                </a:extLst>
              </p:cNvPr>
              <p:cNvSpPr/>
              <p:nvPr userDrawn="1"/>
            </p:nvSpPr>
            <p:spPr>
              <a:xfrm>
                <a:off x="-2004344" y="3611632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tx1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63" name="Прямоугольник: скругленные углы 62">
                <a:extLst>
                  <a:ext uri="{FF2B5EF4-FFF2-40B4-BE49-F238E27FC236}">
                    <a16:creationId xmlns:a16="http://schemas.microsoft.com/office/drawing/2014/main" id="{A71F8CBF-6A2F-812E-6B09-B4F91F87DC56}"/>
                  </a:ext>
                </a:extLst>
              </p:cNvPr>
              <p:cNvSpPr/>
              <p:nvPr/>
            </p:nvSpPr>
            <p:spPr>
              <a:xfrm>
                <a:off x="-1738339" y="3611632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accent6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64" name="Прямоугольник: скругленные углы 63">
                <a:extLst>
                  <a:ext uri="{FF2B5EF4-FFF2-40B4-BE49-F238E27FC236}">
                    <a16:creationId xmlns:a16="http://schemas.microsoft.com/office/drawing/2014/main" id="{5D36134D-A530-1A43-8E23-7A1EA29FD974}"/>
                  </a:ext>
                </a:extLst>
              </p:cNvPr>
              <p:cNvSpPr/>
              <p:nvPr/>
            </p:nvSpPr>
            <p:spPr>
              <a:xfrm>
                <a:off x="-1739900" y="4646897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accent3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69" name="Прямоугольник: скругленные углы 68">
                <a:extLst>
                  <a:ext uri="{FF2B5EF4-FFF2-40B4-BE49-F238E27FC236}">
                    <a16:creationId xmlns:a16="http://schemas.microsoft.com/office/drawing/2014/main" id="{48DD726A-8157-51D0-7992-ED0334CAEE15}"/>
                  </a:ext>
                </a:extLst>
              </p:cNvPr>
              <p:cNvSpPr/>
              <p:nvPr/>
            </p:nvSpPr>
            <p:spPr>
              <a:xfrm>
                <a:off x="-2004963" y="4646897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accent1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70" name="TextBox 69">
                <a:extLst>
                  <a:ext uri="{FF2B5EF4-FFF2-40B4-BE49-F238E27FC236}">
                    <a16:creationId xmlns:a16="http://schemas.microsoft.com/office/drawing/2014/main" id="{8230E83E-9184-027A-2DD2-219E747112A8}"/>
                  </a:ext>
                </a:extLst>
              </p:cNvPr>
              <p:cNvSpPr txBox="1"/>
              <p:nvPr/>
            </p:nvSpPr>
            <p:spPr>
              <a:xfrm>
                <a:off x="-2003446" y="3935644"/>
                <a:ext cx="1638525" cy="17162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l"/>
                <a:r>
                  <a:rPr lang="ru-RU" sz="1000"/>
                  <a:t>Цвет больших плашек</a:t>
                </a:r>
              </a:p>
            </p:txBody>
          </p:sp>
          <p:sp>
            <p:nvSpPr>
              <p:cNvPr id="71" name="Прямоугольник: скругленные углы 70">
                <a:extLst>
                  <a:ext uri="{FF2B5EF4-FFF2-40B4-BE49-F238E27FC236}">
                    <a16:creationId xmlns:a16="http://schemas.microsoft.com/office/drawing/2014/main" id="{0C730AAB-CD5C-40B7-905D-4A580D2BC0B4}"/>
                  </a:ext>
                </a:extLst>
              </p:cNvPr>
              <p:cNvSpPr/>
              <p:nvPr/>
            </p:nvSpPr>
            <p:spPr>
              <a:xfrm>
                <a:off x="-1209774" y="4131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accent2">
                  <a:lumMod val="20000"/>
                  <a:lumOff val="80000"/>
                </a:schemeClr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72" name="Прямоугольник: скругленные углы 71">
                <a:extLst>
                  <a:ext uri="{FF2B5EF4-FFF2-40B4-BE49-F238E27FC236}">
                    <a16:creationId xmlns:a16="http://schemas.microsoft.com/office/drawing/2014/main" id="{FB72CAE4-9A5F-F061-A1FA-1E7CF355F8E5}"/>
                  </a:ext>
                </a:extLst>
              </p:cNvPr>
              <p:cNvSpPr/>
              <p:nvPr/>
            </p:nvSpPr>
            <p:spPr>
              <a:xfrm>
                <a:off x="-2004963" y="4131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accent6">
                  <a:lumMod val="20000"/>
                  <a:lumOff val="80000"/>
                </a:schemeClr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75" name="Прямоугольник: скругленные углы 74">
                <a:extLst>
                  <a:ext uri="{FF2B5EF4-FFF2-40B4-BE49-F238E27FC236}">
                    <a16:creationId xmlns:a16="http://schemas.microsoft.com/office/drawing/2014/main" id="{EB57B6F5-6B09-9952-5AEF-46221A63E724}"/>
                  </a:ext>
                </a:extLst>
              </p:cNvPr>
              <p:cNvSpPr/>
              <p:nvPr/>
            </p:nvSpPr>
            <p:spPr>
              <a:xfrm>
                <a:off x="-1475201" y="4131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accent5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9" name="TextBox 78">
                <a:extLst>
                  <a:ext uri="{FF2B5EF4-FFF2-40B4-BE49-F238E27FC236}">
                    <a16:creationId xmlns:a16="http://schemas.microsoft.com/office/drawing/2014/main" id="{75EA4B5D-C619-1C5B-4B9C-8E37163B174C}"/>
                  </a:ext>
                </a:extLst>
              </p:cNvPr>
              <p:cNvSpPr txBox="1"/>
              <p:nvPr/>
            </p:nvSpPr>
            <p:spPr>
              <a:xfrm>
                <a:off x="-2003446" y="4451492"/>
                <a:ext cx="1638525" cy="17162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l"/>
                <a:r>
                  <a:rPr lang="ru-RU" sz="1000"/>
                  <a:t>Цвета маленьких плашек</a:t>
                </a:r>
              </a:p>
            </p:txBody>
          </p:sp>
          <p:sp>
            <p:nvSpPr>
              <p:cNvPr id="83" name="Прямоугольник: скругленные углы 82">
                <a:extLst>
                  <a:ext uri="{FF2B5EF4-FFF2-40B4-BE49-F238E27FC236}">
                    <a16:creationId xmlns:a16="http://schemas.microsoft.com/office/drawing/2014/main" id="{003CEAB0-FB45-E651-28CB-C992E96682AE}"/>
                  </a:ext>
                </a:extLst>
              </p:cNvPr>
              <p:cNvSpPr/>
              <p:nvPr userDrawn="1"/>
            </p:nvSpPr>
            <p:spPr>
              <a:xfrm>
                <a:off x="-1739900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B7EDC9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84" name="Прямоугольник: скругленные углы 83">
                <a:extLst>
                  <a:ext uri="{FF2B5EF4-FFF2-40B4-BE49-F238E27FC236}">
                    <a16:creationId xmlns:a16="http://schemas.microsoft.com/office/drawing/2014/main" id="{D8A87001-7504-170C-42DA-1C8955C7E5E9}"/>
                  </a:ext>
                </a:extLst>
              </p:cNvPr>
              <p:cNvSpPr/>
              <p:nvPr/>
            </p:nvSpPr>
            <p:spPr>
              <a:xfrm>
                <a:off x="-1474837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FFA800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85" name="Прямоугольник: скругленные углы 84">
                <a:extLst>
                  <a:ext uri="{FF2B5EF4-FFF2-40B4-BE49-F238E27FC236}">
                    <a16:creationId xmlns:a16="http://schemas.microsoft.com/office/drawing/2014/main" id="{4115BFEA-91B0-7165-C99B-6D9CA6EE0ECB}"/>
                  </a:ext>
                </a:extLst>
              </p:cNvPr>
              <p:cNvSpPr/>
              <p:nvPr/>
            </p:nvSpPr>
            <p:spPr>
              <a:xfrm>
                <a:off x="-2004963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10C44C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86" name="TextBox 85">
                <a:extLst>
                  <a:ext uri="{FF2B5EF4-FFF2-40B4-BE49-F238E27FC236}">
                    <a16:creationId xmlns:a16="http://schemas.microsoft.com/office/drawing/2014/main" id="{A6B2DE75-2183-A2E6-268C-6B4288D2864C}"/>
                  </a:ext>
                </a:extLst>
              </p:cNvPr>
              <p:cNvSpPr txBox="1"/>
              <p:nvPr/>
            </p:nvSpPr>
            <p:spPr>
              <a:xfrm>
                <a:off x="-2003446" y="4973480"/>
                <a:ext cx="1638525" cy="17162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l"/>
                <a:r>
                  <a:rPr lang="ru-RU" sz="900"/>
                  <a:t>Рост / падение показателей</a:t>
                </a:r>
              </a:p>
            </p:txBody>
          </p:sp>
          <p:sp>
            <p:nvSpPr>
              <p:cNvPr id="14" name="Прямоугольник: скругленные углы 13">
                <a:extLst>
                  <a:ext uri="{FF2B5EF4-FFF2-40B4-BE49-F238E27FC236}">
                    <a16:creationId xmlns:a16="http://schemas.microsoft.com/office/drawing/2014/main" id="{AC3E90A0-A83D-7E29-F145-AA600291AE0C}"/>
                  </a:ext>
                </a:extLst>
              </p:cNvPr>
              <p:cNvSpPr/>
              <p:nvPr/>
            </p:nvSpPr>
            <p:spPr>
              <a:xfrm>
                <a:off x="-944711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F53C14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5" name="Прямоугольник: скругленные углы 14">
                <a:extLst>
                  <a:ext uri="{FF2B5EF4-FFF2-40B4-BE49-F238E27FC236}">
                    <a16:creationId xmlns:a16="http://schemas.microsoft.com/office/drawing/2014/main" id="{B99D43E0-49F1-8209-4F98-5262F28AC1A9}"/>
                  </a:ext>
                </a:extLst>
              </p:cNvPr>
              <p:cNvSpPr/>
              <p:nvPr/>
            </p:nvSpPr>
            <p:spPr>
              <a:xfrm>
                <a:off x="-679648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FCC4B8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6" name="Прямоугольник: скругленные углы 15">
                <a:extLst>
                  <a:ext uri="{FF2B5EF4-FFF2-40B4-BE49-F238E27FC236}">
                    <a16:creationId xmlns:a16="http://schemas.microsoft.com/office/drawing/2014/main" id="{BCEC3CD9-44E1-EECA-E818-76B9BFE7DD61}"/>
                  </a:ext>
                </a:extLst>
              </p:cNvPr>
              <p:cNvSpPr/>
              <p:nvPr/>
            </p:nvSpPr>
            <p:spPr>
              <a:xfrm>
                <a:off x="-1209774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FFE5B2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1" name="Прямоугольник: скругленные углы 20">
                <a:extLst>
                  <a:ext uri="{FF2B5EF4-FFF2-40B4-BE49-F238E27FC236}">
                    <a16:creationId xmlns:a16="http://schemas.microsoft.com/office/drawing/2014/main" id="{543906E8-9B34-89C2-4269-843FAD6EA354}"/>
                  </a:ext>
                </a:extLst>
              </p:cNvPr>
              <p:cNvSpPr/>
              <p:nvPr userDrawn="1"/>
            </p:nvSpPr>
            <p:spPr>
              <a:xfrm>
                <a:off x="-944711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F53C14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2" name="Прямоугольник: скругленные углы 21">
                <a:extLst>
                  <a:ext uri="{FF2B5EF4-FFF2-40B4-BE49-F238E27FC236}">
                    <a16:creationId xmlns:a16="http://schemas.microsoft.com/office/drawing/2014/main" id="{C8C80097-0ECD-AAAD-2C0F-1869371B37D0}"/>
                  </a:ext>
                </a:extLst>
              </p:cNvPr>
              <p:cNvSpPr/>
              <p:nvPr userDrawn="1"/>
            </p:nvSpPr>
            <p:spPr>
              <a:xfrm>
                <a:off x="-679648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FCC4B8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3" name="Прямоугольник: скругленные углы 22">
                <a:extLst>
                  <a:ext uri="{FF2B5EF4-FFF2-40B4-BE49-F238E27FC236}">
                    <a16:creationId xmlns:a16="http://schemas.microsoft.com/office/drawing/2014/main" id="{AB934DEE-0052-5D57-1578-12DF5ADB4828}"/>
                  </a:ext>
                </a:extLst>
              </p:cNvPr>
              <p:cNvSpPr/>
              <p:nvPr userDrawn="1"/>
            </p:nvSpPr>
            <p:spPr>
              <a:xfrm>
                <a:off x="-1209774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FFE5B2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52" name="Прямоугольник: скругленные углы 79">
                <a:extLst>
                  <a:ext uri="{FF2B5EF4-FFF2-40B4-BE49-F238E27FC236}">
                    <a16:creationId xmlns:a16="http://schemas.microsoft.com/office/drawing/2014/main" id="{4D92696F-DED9-0846-BD85-2E730744F4B6}"/>
                  </a:ext>
                </a:extLst>
              </p:cNvPr>
              <p:cNvSpPr/>
              <p:nvPr userDrawn="1"/>
            </p:nvSpPr>
            <p:spPr>
              <a:xfrm>
                <a:off x="-1735356" y="4136975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bg1"/>
              </a:solidFill>
              <a:ln w="12700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53" name="Прямоугольник: скругленные углы 63">
                <a:extLst>
                  <a:ext uri="{FF2B5EF4-FFF2-40B4-BE49-F238E27FC236}">
                    <a16:creationId xmlns:a16="http://schemas.microsoft.com/office/drawing/2014/main" id="{7C96BD48-7945-6540-9642-8C6F2D64646E}"/>
                  </a:ext>
                </a:extLst>
              </p:cNvPr>
              <p:cNvSpPr/>
              <p:nvPr userDrawn="1"/>
            </p:nvSpPr>
            <p:spPr>
              <a:xfrm>
                <a:off x="-1476289" y="4646897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accent2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</p:grpSp>
      <p:sp>
        <p:nvSpPr>
          <p:cNvPr id="45" name="Нижний колонтитул 4">
            <a:extLst>
              <a:ext uri="{FF2B5EF4-FFF2-40B4-BE49-F238E27FC236}">
                <a16:creationId xmlns:a16="http://schemas.microsoft.com/office/drawing/2014/main" id="{E640122E-D722-FB4B-A1F8-B1FDEA3ACD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458800" y="6465600"/>
            <a:ext cx="7274114" cy="144500"/>
          </a:xfrm>
        </p:spPr>
        <p:txBody>
          <a:bodyPr anchor="b"/>
          <a:lstStyle>
            <a:lvl1pPr>
              <a:defRPr sz="1000">
                <a:solidFill>
                  <a:srgbClr val="5A6C7D"/>
                </a:solidFill>
              </a:defRPr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386938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8">
          <p15:clr>
            <a:srgbClr val="F26B43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title_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9C6A208F-2A8F-8640-1889-7EF3989875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6547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33" imgH="233" progId="TCLayout.ActiveDocument.1">
                  <p:embed/>
                </p:oleObj>
              </mc:Choice>
              <mc:Fallback>
                <p:oleObj name="Слайд think-cell" r:id="rId3" imgW="233" imgH="233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9C6A208F-2A8F-8640-1889-7EF3989875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Объект 2">
            <a:extLst>
              <a:ext uri="{FF2B5EF4-FFF2-40B4-BE49-F238E27FC236}">
                <a16:creationId xmlns:a16="http://schemas.microsoft.com/office/drawing/2014/main" id="{00E81AAF-ABDB-4D08-7BE3-C7B407E68E1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763" y="1520824"/>
            <a:ext cx="10910887" cy="47418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5">
            <a:extLst>
              <a:ext uri="{FF2B5EF4-FFF2-40B4-BE49-F238E27FC236}">
                <a16:creationId xmlns:a16="http://schemas.microsoft.com/office/drawing/2014/main" id="{371F2FD1-0E8C-A36C-3CEF-FF20A77F36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57744" y="6430370"/>
            <a:ext cx="908050" cy="216000"/>
          </a:xfrm>
        </p:spPr>
        <p:txBody>
          <a:bodyPr/>
          <a:lstStyle>
            <a:lvl1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fld id="{EB5249F5-0093-48B0-B996-C4E44A87EAFB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35" name="Заголовок 1">
            <a:extLst>
              <a:ext uri="{FF2B5EF4-FFF2-40B4-BE49-F238E27FC236}">
                <a16:creationId xmlns:a16="http://schemas.microsoft.com/office/drawing/2014/main" id="{64D5D928-54C7-0515-241F-75818620F1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9764" y="411164"/>
            <a:ext cx="10910888" cy="35885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5000"/>
              </a:lnSpc>
              <a:defRPr spc="-30" baseline="0">
                <a:solidFill>
                  <a:schemeClr val="bg1"/>
                </a:solidFill>
              </a:defRPr>
            </a:lvl1pPr>
          </a:lstStyle>
          <a:p>
            <a:r>
              <a:rPr lang="ru-RU"/>
              <a:t>Сформулируй заголовок слайда в 1 строку</a:t>
            </a:r>
          </a:p>
        </p:txBody>
      </p:sp>
      <p:sp>
        <p:nvSpPr>
          <p:cNvPr id="36" name="Текст 10">
            <a:extLst>
              <a:ext uri="{FF2B5EF4-FFF2-40B4-BE49-F238E27FC236}">
                <a16:creationId xmlns:a16="http://schemas.microsoft.com/office/drawing/2014/main" id="{214F87F9-9F23-A982-C724-BD3B326E88D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9763" y="833072"/>
            <a:ext cx="10926762" cy="358858"/>
          </a:xfrm>
        </p:spPr>
        <p:txBody>
          <a:bodyPr/>
          <a:lstStyle>
            <a:lvl1pPr>
              <a:lnSpc>
                <a:spcPct val="90000"/>
              </a:lnSpc>
              <a:defRPr sz="1800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ru-RU" dirty="0"/>
              <a:t>Сформулируй подзаголовок в 1–2 строки</a:t>
            </a:r>
          </a:p>
        </p:txBody>
      </p:sp>
      <p:sp>
        <p:nvSpPr>
          <p:cNvPr id="37" name="Прямоугольник: скругленные углы 36">
            <a:extLst>
              <a:ext uri="{FF2B5EF4-FFF2-40B4-BE49-F238E27FC236}">
                <a16:creationId xmlns:a16="http://schemas.microsoft.com/office/drawing/2014/main" id="{FA396019-081A-9B04-222C-8B96235EC847}"/>
              </a:ext>
            </a:extLst>
          </p:cNvPr>
          <p:cNvSpPr/>
          <p:nvPr userDrawn="1"/>
        </p:nvSpPr>
        <p:spPr>
          <a:xfrm>
            <a:off x="-2138458" y="54865"/>
            <a:ext cx="1928241" cy="2826069"/>
          </a:xfrm>
          <a:prstGeom prst="roundRect">
            <a:avLst>
              <a:gd name="adj" fmla="val 5926"/>
            </a:avLst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8" name="Прямоугольник: скругленные верхние углы 37">
            <a:extLst>
              <a:ext uri="{FF2B5EF4-FFF2-40B4-BE49-F238E27FC236}">
                <a16:creationId xmlns:a16="http://schemas.microsoft.com/office/drawing/2014/main" id="{CC120812-6660-E8D7-71B4-58E1CA35329D}"/>
              </a:ext>
            </a:extLst>
          </p:cNvPr>
          <p:cNvSpPr/>
          <p:nvPr userDrawn="1"/>
        </p:nvSpPr>
        <p:spPr>
          <a:xfrm>
            <a:off x="-2136930" y="0"/>
            <a:ext cx="1926713" cy="2880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36000" rtlCol="0" anchor="ctr"/>
          <a:lstStyle/>
          <a:p>
            <a:pPr algn="ctr"/>
            <a:r>
              <a:rPr lang="ru-RU" sz="1100" b="1">
                <a:solidFill>
                  <a:schemeClr val="tx1"/>
                </a:solidFill>
              </a:rPr>
              <a:t>Размеры текста</a:t>
            </a:r>
          </a:p>
        </p:txBody>
      </p:sp>
      <p:graphicFrame>
        <p:nvGraphicFramePr>
          <p:cNvPr id="39" name="Таблица 46">
            <a:extLst>
              <a:ext uri="{FF2B5EF4-FFF2-40B4-BE49-F238E27FC236}">
                <a16:creationId xmlns:a16="http://schemas.microsoft.com/office/drawing/2014/main" id="{C214627B-A561-23DE-11FC-3859ACF30955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503260718"/>
              </p:ext>
            </p:extLst>
          </p:nvPr>
        </p:nvGraphicFramePr>
        <p:xfrm>
          <a:off x="-2046114" y="312643"/>
          <a:ext cx="1958731" cy="2142000"/>
        </p:xfrm>
        <a:graphic>
          <a:graphicData uri="http://schemas.openxmlformats.org/drawingml/2006/table">
            <a:tbl>
              <a:tblPr/>
              <a:tblGrid>
                <a:gridCol w="532517">
                  <a:extLst>
                    <a:ext uri="{9D8B030D-6E8A-4147-A177-3AD203B41FA5}">
                      <a16:colId xmlns:a16="http://schemas.microsoft.com/office/drawing/2014/main" val="2594385797"/>
                    </a:ext>
                  </a:extLst>
                </a:gridCol>
                <a:gridCol w="1426214">
                  <a:extLst>
                    <a:ext uri="{9D8B030D-6E8A-4147-A177-3AD203B41FA5}">
                      <a16:colId xmlns:a16="http://schemas.microsoft.com/office/drawing/2014/main" val="1017723076"/>
                    </a:ext>
                  </a:extLst>
                </a:gridCol>
              </a:tblGrid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44+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0" spc="-40" baseline="0"/>
                        <a:t>акцентные цифр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8329665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32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заголовки и самые </a:t>
                      </a:r>
                      <a:br>
                        <a:rPr lang="ru-RU" sz="1000" spc="-40" baseline="0"/>
                      </a:br>
                      <a:r>
                        <a:rPr lang="ru-RU" sz="1000" spc="-40" baseline="0"/>
                        <a:t>важные данные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17697917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24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8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подзаголовки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72780009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18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4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основной текст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0685745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4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2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торой уровень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текста (менее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ажная информация)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1997433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0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сноски, пояснения, </a:t>
                      </a:r>
                      <a:br>
                        <a:rPr lang="en-US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большие таблиц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76660845"/>
                  </a:ext>
                </a:extLst>
              </a:tr>
            </a:tbl>
          </a:graphicData>
        </a:graphic>
      </p:graphicFrame>
      <p:sp>
        <p:nvSpPr>
          <p:cNvPr id="40" name="Полилиния: фигура 39">
            <a:extLst>
              <a:ext uri="{FF2B5EF4-FFF2-40B4-BE49-F238E27FC236}">
                <a16:creationId xmlns:a16="http://schemas.microsoft.com/office/drawing/2014/main" id="{D1137D18-51FF-7720-A2D7-B37EEEBBCC0C}"/>
              </a:ext>
            </a:extLst>
          </p:cNvPr>
          <p:cNvSpPr/>
          <p:nvPr userDrawn="1"/>
        </p:nvSpPr>
        <p:spPr>
          <a:xfrm>
            <a:off x="-2004344" y="2488864"/>
            <a:ext cx="216624" cy="228657"/>
          </a:xfrm>
          <a:custGeom>
            <a:avLst/>
            <a:gdLst>
              <a:gd name="connsiteX0" fmla="*/ 72536 w 171450"/>
              <a:gd name="connsiteY0" fmla="*/ 162210 h 180974"/>
              <a:gd name="connsiteX1" fmla="*/ 98923 w 171450"/>
              <a:gd name="connsiteY1" fmla="*/ 162210 h 180974"/>
              <a:gd name="connsiteX2" fmla="*/ 103600 w 171450"/>
              <a:gd name="connsiteY2" fmla="*/ 172160 h 180974"/>
              <a:gd name="connsiteX3" fmla="*/ 85726 w 171450"/>
              <a:gd name="connsiteY3" fmla="*/ 180974 h 180974"/>
              <a:gd name="connsiteX4" fmla="*/ 67852 w 171450"/>
              <a:gd name="connsiteY4" fmla="*/ 172160 h 180974"/>
              <a:gd name="connsiteX5" fmla="*/ 72536 w 171450"/>
              <a:gd name="connsiteY5" fmla="*/ 162210 h 180974"/>
              <a:gd name="connsiteX6" fmla="*/ 152400 w 171450"/>
              <a:gd name="connsiteY6" fmla="*/ 76200 h 180974"/>
              <a:gd name="connsiteX7" fmla="*/ 161925 w 171450"/>
              <a:gd name="connsiteY7" fmla="*/ 76200 h 180974"/>
              <a:gd name="connsiteX8" fmla="*/ 171450 w 171450"/>
              <a:gd name="connsiteY8" fmla="*/ 85725 h 180974"/>
              <a:gd name="connsiteX9" fmla="*/ 161925 w 171450"/>
              <a:gd name="connsiteY9" fmla="*/ 95250 h 180974"/>
              <a:gd name="connsiteX10" fmla="*/ 152400 w 171450"/>
              <a:gd name="connsiteY10" fmla="*/ 95250 h 180974"/>
              <a:gd name="connsiteX11" fmla="*/ 142875 w 171450"/>
              <a:gd name="connsiteY11" fmla="*/ 85725 h 180974"/>
              <a:gd name="connsiteX12" fmla="*/ 152400 w 171450"/>
              <a:gd name="connsiteY12" fmla="*/ 76200 h 180974"/>
              <a:gd name="connsiteX13" fmla="*/ 9525 w 171450"/>
              <a:gd name="connsiteY13" fmla="*/ 76200 h 180974"/>
              <a:gd name="connsiteX14" fmla="*/ 19050 w 171450"/>
              <a:gd name="connsiteY14" fmla="*/ 76200 h 180974"/>
              <a:gd name="connsiteX15" fmla="*/ 28575 w 171450"/>
              <a:gd name="connsiteY15" fmla="*/ 85725 h 180974"/>
              <a:gd name="connsiteX16" fmla="*/ 19050 w 171450"/>
              <a:gd name="connsiteY16" fmla="*/ 95250 h 180974"/>
              <a:gd name="connsiteX17" fmla="*/ 9525 w 171450"/>
              <a:gd name="connsiteY17" fmla="*/ 95250 h 180974"/>
              <a:gd name="connsiteX18" fmla="*/ 0 w 171450"/>
              <a:gd name="connsiteY18" fmla="*/ 85725 h 180974"/>
              <a:gd name="connsiteX19" fmla="*/ 9525 w 171450"/>
              <a:gd name="connsiteY19" fmla="*/ 76200 h 180974"/>
              <a:gd name="connsiteX20" fmla="*/ 85725 w 171450"/>
              <a:gd name="connsiteY20" fmla="*/ 38100 h 180974"/>
              <a:gd name="connsiteX21" fmla="*/ 133350 w 171450"/>
              <a:gd name="connsiteY21" fmla="*/ 85725 h 180974"/>
              <a:gd name="connsiteX22" fmla="*/ 123174 w 171450"/>
              <a:gd name="connsiteY22" fmla="*/ 114596 h 180974"/>
              <a:gd name="connsiteX23" fmla="*/ 114300 w 171450"/>
              <a:gd name="connsiteY23" fmla="*/ 138113 h 180974"/>
              <a:gd name="connsiteX24" fmla="*/ 85725 w 171450"/>
              <a:gd name="connsiteY24" fmla="*/ 152400 h 180974"/>
              <a:gd name="connsiteX25" fmla="*/ 57150 w 171450"/>
              <a:gd name="connsiteY25" fmla="*/ 138113 h 180974"/>
              <a:gd name="connsiteX26" fmla="*/ 48275 w 171450"/>
              <a:gd name="connsiteY26" fmla="*/ 114596 h 180974"/>
              <a:gd name="connsiteX27" fmla="*/ 38100 w 171450"/>
              <a:gd name="connsiteY27" fmla="*/ 85725 h 180974"/>
              <a:gd name="connsiteX28" fmla="*/ 85725 w 171450"/>
              <a:gd name="connsiteY28" fmla="*/ 38100 h 180974"/>
              <a:gd name="connsiteX29" fmla="*/ 136141 w 171450"/>
              <a:gd name="connsiteY29" fmla="*/ 21840 h 180974"/>
              <a:gd name="connsiteX30" fmla="*/ 149611 w 171450"/>
              <a:gd name="connsiteY30" fmla="*/ 21840 h 180974"/>
              <a:gd name="connsiteX31" fmla="*/ 149611 w 171450"/>
              <a:gd name="connsiteY31" fmla="*/ 35310 h 180974"/>
              <a:gd name="connsiteX32" fmla="*/ 140086 w 171450"/>
              <a:gd name="connsiteY32" fmla="*/ 44835 h 180974"/>
              <a:gd name="connsiteX33" fmla="*/ 126616 w 171450"/>
              <a:gd name="connsiteY33" fmla="*/ 44835 h 180974"/>
              <a:gd name="connsiteX34" fmla="*/ 126616 w 171450"/>
              <a:gd name="connsiteY34" fmla="*/ 31365 h 180974"/>
              <a:gd name="connsiteX35" fmla="*/ 21840 w 171450"/>
              <a:gd name="connsiteY35" fmla="*/ 21840 h 180974"/>
              <a:gd name="connsiteX36" fmla="*/ 35310 w 171450"/>
              <a:gd name="connsiteY36" fmla="*/ 21840 h 180974"/>
              <a:gd name="connsiteX37" fmla="*/ 44835 w 171450"/>
              <a:gd name="connsiteY37" fmla="*/ 31365 h 180974"/>
              <a:gd name="connsiteX38" fmla="*/ 44835 w 171450"/>
              <a:gd name="connsiteY38" fmla="*/ 44835 h 180974"/>
              <a:gd name="connsiteX39" fmla="*/ 31365 w 171450"/>
              <a:gd name="connsiteY39" fmla="*/ 44835 h 180974"/>
              <a:gd name="connsiteX40" fmla="*/ 21840 w 171450"/>
              <a:gd name="connsiteY40" fmla="*/ 35310 h 180974"/>
              <a:gd name="connsiteX41" fmla="*/ 21840 w 171450"/>
              <a:gd name="connsiteY41" fmla="*/ 21840 h 180974"/>
              <a:gd name="connsiteX42" fmla="*/ 85725 w 171450"/>
              <a:gd name="connsiteY42" fmla="*/ 0 h 180974"/>
              <a:gd name="connsiteX43" fmla="*/ 95250 w 171450"/>
              <a:gd name="connsiteY43" fmla="*/ 9525 h 180974"/>
              <a:gd name="connsiteX44" fmla="*/ 95250 w 171450"/>
              <a:gd name="connsiteY44" fmla="*/ 19050 h 180974"/>
              <a:gd name="connsiteX45" fmla="*/ 85725 w 171450"/>
              <a:gd name="connsiteY45" fmla="*/ 28575 h 180974"/>
              <a:gd name="connsiteX46" fmla="*/ 76200 w 171450"/>
              <a:gd name="connsiteY46" fmla="*/ 19050 h 180974"/>
              <a:gd name="connsiteX47" fmla="*/ 76200 w 171450"/>
              <a:gd name="connsiteY47" fmla="*/ 9525 h 180974"/>
              <a:gd name="connsiteX48" fmla="*/ 85725 w 171450"/>
              <a:gd name="connsiteY48" fmla="*/ 0 h 18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1450" h="180974">
                <a:moveTo>
                  <a:pt x="72536" y="162210"/>
                </a:moveTo>
                <a:cubicBezTo>
                  <a:pt x="80449" y="164140"/>
                  <a:pt x="90933" y="164211"/>
                  <a:pt x="98923" y="162210"/>
                </a:cubicBezTo>
                <a:cubicBezTo>
                  <a:pt x="105617" y="160534"/>
                  <a:pt x="105617" y="166533"/>
                  <a:pt x="103600" y="172160"/>
                </a:cubicBezTo>
                <a:cubicBezTo>
                  <a:pt x="100950" y="179549"/>
                  <a:pt x="95451" y="180974"/>
                  <a:pt x="85726" y="180974"/>
                </a:cubicBezTo>
                <a:cubicBezTo>
                  <a:pt x="76000" y="180974"/>
                  <a:pt x="70501" y="179549"/>
                  <a:pt x="67852" y="172160"/>
                </a:cubicBezTo>
                <a:cubicBezTo>
                  <a:pt x="65835" y="166534"/>
                  <a:pt x="65835" y="160576"/>
                  <a:pt x="72536" y="162210"/>
                </a:cubicBezTo>
                <a:close/>
                <a:moveTo>
                  <a:pt x="152400" y="76200"/>
                </a:moveTo>
                <a:lnTo>
                  <a:pt x="161925" y="76200"/>
                </a:lnTo>
                <a:cubicBezTo>
                  <a:pt x="167186" y="76200"/>
                  <a:pt x="171450" y="80464"/>
                  <a:pt x="171450" y="85725"/>
                </a:cubicBezTo>
                <a:cubicBezTo>
                  <a:pt x="171450" y="90986"/>
                  <a:pt x="167186" y="95250"/>
                  <a:pt x="161925" y="95250"/>
                </a:cubicBezTo>
                <a:lnTo>
                  <a:pt x="152400" y="95250"/>
                </a:lnTo>
                <a:cubicBezTo>
                  <a:pt x="147139" y="95250"/>
                  <a:pt x="142875" y="90986"/>
                  <a:pt x="142875" y="85725"/>
                </a:cubicBezTo>
                <a:cubicBezTo>
                  <a:pt x="142875" y="80464"/>
                  <a:pt x="147139" y="76200"/>
                  <a:pt x="152400" y="76200"/>
                </a:cubicBezTo>
                <a:close/>
                <a:moveTo>
                  <a:pt x="9525" y="76200"/>
                </a:moveTo>
                <a:lnTo>
                  <a:pt x="19050" y="76200"/>
                </a:lnTo>
                <a:cubicBezTo>
                  <a:pt x="24310" y="76200"/>
                  <a:pt x="28575" y="80464"/>
                  <a:pt x="28575" y="85725"/>
                </a:cubicBezTo>
                <a:cubicBezTo>
                  <a:pt x="28575" y="90986"/>
                  <a:pt x="24310" y="95250"/>
                  <a:pt x="19050" y="95250"/>
                </a:cubicBezTo>
                <a:lnTo>
                  <a:pt x="9525" y="95250"/>
                </a:lnTo>
                <a:cubicBezTo>
                  <a:pt x="4265" y="95250"/>
                  <a:pt x="0" y="90986"/>
                  <a:pt x="0" y="85725"/>
                </a:cubicBezTo>
                <a:cubicBezTo>
                  <a:pt x="0" y="80464"/>
                  <a:pt x="4265" y="76200"/>
                  <a:pt x="9525" y="76200"/>
                </a:cubicBezTo>
                <a:close/>
                <a:moveTo>
                  <a:pt x="85725" y="38100"/>
                </a:moveTo>
                <a:cubicBezTo>
                  <a:pt x="112027" y="38100"/>
                  <a:pt x="133350" y="58671"/>
                  <a:pt x="133350" y="85725"/>
                </a:cubicBezTo>
                <a:cubicBezTo>
                  <a:pt x="133350" y="100663"/>
                  <a:pt x="128144" y="107793"/>
                  <a:pt x="123174" y="114596"/>
                </a:cubicBezTo>
                <a:cubicBezTo>
                  <a:pt x="118639" y="120807"/>
                  <a:pt x="114300" y="126748"/>
                  <a:pt x="114300" y="138113"/>
                </a:cubicBezTo>
                <a:cubicBezTo>
                  <a:pt x="114300" y="147638"/>
                  <a:pt x="104775" y="152400"/>
                  <a:pt x="85725" y="152400"/>
                </a:cubicBezTo>
                <a:cubicBezTo>
                  <a:pt x="66675" y="152400"/>
                  <a:pt x="57150" y="147638"/>
                  <a:pt x="57150" y="138113"/>
                </a:cubicBezTo>
                <a:cubicBezTo>
                  <a:pt x="57150" y="126748"/>
                  <a:pt x="52811" y="120807"/>
                  <a:pt x="48275" y="114596"/>
                </a:cubicBezTo>
                <a:cubicBezTo>
                  <a:pt x="43306" y="107793"/>
                  <a:pt x="38100" y="100663"/>
                  <a:pt x="38100" y="85725"/>
                </a:cubicBezTo>
                <a:cubicBezTo>
                  <a:pt x="38100" y="57150"/>
                  <a:pt x="59422" y="38100"/>
                  <a:pt x="85725" y="38100"/>
                </a:cubicBezTo>
                <a:close/>
                <a:moveTo>
                  <a:pt x="136141" y="21840"/>
                </a:moveTo>
                <a:cubicBezTo>
                  <a:pt x="139860" y="18120"/>
                  <a:pt x="145891" y="18120"/>
                  <a:pt x="149611" y="21840"/>
                </a:cubicBezTo>
                <a:cubicBezTo>
                  <a:pt x="153330" y="25560"/>
                  <a:pt x="153330" y="31590"/>
                  <a:pt x="149611" y="35310"/>
                </a:cubicBezTo>
                <a:lnTo>
                  <a:pt x="140086" y="44835"/>
                </a:lnTo>
                <a:cubicBezTo>
                  <a:pt x="136366" y="48555"/>
                  <a:pt x="130335" y="48555"/>
                  <a:pt x="126616" y="44835"/>
                </a:cubicBezTo>
                <a:cubicBezTo>
                  <a:pt x="122896" y="41115"/>
                  <a:pt x="122896" y="35085"/>
                  <a:pt x="126616" y="31365"/>
                </a:cubicBezTo>
                <a:close/>
                <a:moveTo>
                  <a:pt x="21840" y="21840"/>
                </a:moveTo>
                <a:cubicBezTo>
                  <a:pt x="25560" y="18120"/>
                  <a:pt x="31590" y="18120"/>
                  <a:pt x="35310" y="21840"/>
                </a:cubicBezTo>
                <a:lnTo>
                  <a:pt x="44835" y="31365"/>
                </a:lnTo>
                <a:cubicBezTo>
                  <a:pt x="48555" y="35085"/>
                  <a:pt x="48555" y="41115"/>
                  <a:pt x="44835" y="44835"/>
                </a:cubicBezTo>
                <a:cubicBezTo>
                  <a:pt x="41115" y="48555"/>
                  <a:pt x="35085" y="48555"/>
                  <a:pt x="31365" y="44835"/>
                </a:cubicBezTo>
                <a:lnTo>
                  <a:pt x="21840" y="35310"/>
                </a:lnTo>
                <a:cubicBezTo>
                  <a:pt x="18120" y="31590"/>
                  <a:pt x="18120" y="25560"/>
                  <a:pt x="21840" y="21840"/>
                </a:cubicBezTo>
                <a:close/>
                <a:moveTo>
                  <a:pt x="85725" y="0"/>
                </a:moveTo>
                <a:cubicBezTo>
                  <a:pt x="90986" y="0"/>
                  <a:pt x="95250" y="4265"/>
                  <a:pt x="95250" y="9525"/>
                </a:cubicBezTo>
                <a:lnTo>
                  <a:pt x="95250" y="19050"/>
                </a:lnTo>
                <a:cubicBezTo>
                  <a:pt x="95250" y="24310"/>
                  <a:pt x="90986" y="28575"/>
                  <a:pt x="85725" y="28575"/>
                </a:cubicBezTo>
                <a:cubicBezTo>
                  <a:pt x="80464" y="28575"/>
                  <a:pt x="76200" y="24310"/>
                  <a:pt x="76200" y="19050"/>
                </a:cubicBezTo>
                <a:lnTo>
                  <a:pt x="76200" y="9525"/>
                </a:lnTo>
                <a:cubicBezTo>
                  <a:pt x="76200" y="4265"/>
                  <a:pt x="80464" y="0"/>
                  <a:pt x="85725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EC930174-278D-1164-093F-8AF71562C0CA}"/>
              </a:ext>
            </a:extLst>
          </p:cNvPr>
          <p:cNvSpPr txBox="1"/>
          <p:nvPr userDrawn="1"/>
        </p:nvSpPr>
        <p:spPr>
          <a:xfrm>
            <a:off x="-1691344" y="2506490"/>
            <a:ext cx="1373969" cy="2428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</a:pPr>
            <a:r>
              <a:rPr lang="ru-RU" sz="900" b="0">
                <a:solidFill>
                  <a:schemeClr val="accent1"/>
                </a:solidFill>
              </a:rPr>
              <a:t>Используй эти размеры </a:t>
            </a:r>
            <a:br>
              <a:rPr lang="ru-RU" sz="900" b="0">
                <a:solidFill>
                  <a:schemeClr val="accent1"/>
                </a:solidFill>
              </a:rPr>
            </a:br>
            <a:r>
              <a:rPr lang="ru-RU" sz="900" b="0">
                <a:solidFill>
                  <a:schemeClr val="accent1"/>
                </a:solidFill>
              </a:rPr>
              <a:t>по всей презентации</a:t>
            </a:r>
          </a:p>
        </p:txBody>
      </p:sp>
      <p:sp>
        <p:nvSpPr>
          <p:cNvPr id="62" name="Нижний колонтитул 4">
            <a:extLst>
              <a:ext uri="{FF2B5EF4-FFF2-40B4-BE49-F238E27FC236}">
                <a16:creationId xmlns:a16="http://schemas.microsoft.com/office/drawing/2014/main" id="{0606E0FB-6379-DF40-BFFA-E43FBE816E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458800" y="6465600"/>
            <a:ext cx="7274114" cy="144500"/>
          </a:xfrm>
        </p:spPr>
        <p:txBody>
          <a:bodyPr anchor="b"/>
          <a:lstStyle>
            <a:lvl1pPr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endParaRPr lang="ru-RU" dirty="0"/>
          </a:p>
        </p:txBody>
      </p:sp>
      <p:grpSp>
        <p:nvGrpSpPr>
          <p:cNvPr id="68" name="Группа 67">
            <a:extLst>
              <a:ext uri="{FF2B5EF4-FFF2-40B4-BE49-F238E27FC236}">
                <a16:creationId xmlns:a16="http://schemas.microsoft.com/office/drawing/2014/main" id="{ACADBB40-3E4B-BA47-9B0D-41DC98B980C0}"/>
              </a:ext>
            </a:extLst>
          </p:cNvPr>
          <p:cNvGrpSpPr/>
          <p:nvPr userDrawn="1"/>
        </p:nvGrpSpPr>
        <p:grpSpPr>
          <a:xfrm>
            <a:off x="-2138458" y="3070447"/>
            <a:ext cx="1935384" cy="3787553"/>
            <a:chOff x="-2138458" y="3070447"/>
            <a:chExt cx="1935384" cy="3787553"/>
          </a:xfrm>
        </p:grpSpPr>
        <p:sp>
          <p:nvSpPr>
            <p:cNvPr id="69" name="Прямоугольник: скругленные углы 38">
              <a:extLst>
                <a:ext uri="{FF2B5EF4-FFF2-40B4-BE49-F238E27FC236}">
                  <a16:creationId xmlns:a16="http://schemas.microsoft.com/office/drawing/2014/main" id="{8BC913CB-3DD4-6A44-AFB9-84356EBADC1D}"/>
                </a:ext>
              </a:extLst>
            </p:cNvPr>
            <p:cNvSpPr/>
            <p:nvPr/>
          </p:nvSpPr>
          <p:spPr>
            <a:xfrm>
              <a:off x="-2138458" y="3125312"/>
              <a:ext cx="1928241" cy="2468818"/>
            </a:xfrm>
            <a:prstGeom prst="roundRect">
              <a:avLst>
                <a:gd name="adj" fmla="val 5926"/>
              </a:avLst>
            </a:prstGeom>
            <a:solidFill>
              <a:schemeClr val="bg1"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0" name="Прямоугольник: скругленные верхние углы 39">
              <a:extLst>
                <a:ext uri="{FF2B5EF4-FFF2-40B4-BE49-F238E27FC236}">
                  <a16:creationId xmlns:a16="http://schemas.microsoft.com/office/drawing/2014/main" id="{959C18BF-1BE5-B543-B223-77C360ED66CF}"/>
                </a:ext>
              </a:extLst>
            </p:cNvPr>
            <p:cNvSpPr/>
            <p:nvPr/>
          </p:nvSpPr>
          <p:spPr>
            <a:xfrm>
              <a:off x="-2136930" y="3070447"/>
              <a:ext cx="1926713" cy="28800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36000" rtlCol="0" anchor="ctr"/>
            <a:lstStyle/>
            <a:p>
              <a:pPr algn="ctr"/>
              <a:r>
                <a:rPr lang="ru-RU" sz="1100" b="1">
                  <a:solidFill>
                    <a:schemeClr val="tx1"/>
                  </a:solidFill>
                </a:rPr>
                <a:t>Цвета </a:t>
              </a:r>
              <a:r>
                <a:rPr lang="en-US" sz="1100" b="1">
                  <a:solidFill>
                    <a:schemeClr val="tx1"/>
                  </a:solidFill>
                </a:rPr>
                <a:t>Ozon</a:t>
              </a:r>
              <a:endParaRPr lang="ru-RU" sz="1100" b="1">
                <a:solidFill>
                  <a:schemeClr val="tx1"/>
                </a:solidFill>
              </a:endParaRPr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E441BCCA-D30C-A945-86F3-9E84282D3446}"/>
                </a:ext>
              </a:extLst>
            </p:cNvPr>
            <p:cNvSpPr txBox="1"/>
            <p:nvPr userDrawn="1"/>
          </p:nvSpPr>
          <p:spPr>
            <a:xfrm>
              <a:off x="-2003446" y="3412239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текста </a:t>
              </a:r>
            </a:p>
          </p:txBody>
        </p:sp>
        <p:sp>
          <p:nvSpPr>
            <p:cNvPr id="72" name="Прямоугольник: скругленные углы 41">
              <a:extLst>
                <a:ext uri="{FF2B5EF4-FFF2-40B4-BE49-F238E27FC236}">
                  <a16:creationId xmlns:a16="http://schemas.microsoft.com/office/drawing/2014/main" id="{A5F56424-48C0-5B42-BA81-1D94ADB9088F}"/>
                </a:ext>
              </a:extLst>
            </p:cNvPr>
            <p:cNvSpPr/>
            <p:nvPr userDrawn="1"/>
          </p:nvSpPr>
          <p:spPr>
            <a:xfrm>
              <a:off x="-2004344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3" name="Прямоугольник: скругленные углы 42">
              <a:extLst>
                <a:ext uri="{FF2B5EF4-FFF2-40B4-BE49-F238E27FC236}">
                  <a16:creationId xmlns:a16="http://schemas.microsoft.com/office/drawing/2014/main" id="{70F71935-B459-1946-9685-15173A969D4A}"/>
                </a:ext>
              </a:extLst>
            </p:cNvPr>
            <p:cNvSpPr/>
            <p:nvPr userDrawn="1"/>
          </p:nvSpPr>
          <p:spPr>
            <a:xfrm>
              <a:off x="-1738339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6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4" name="Прямоугольник: скругленные углы 43">
              <a:extLst>
                <a:ext uri="{FF2B5EF4-FFF2-40B4-BE49-F238E27FC236}">
                  <a16:creationId xmlns:a16="http://schemas.microsoft.com/office/drawing/2014/main" id="{C5493070-C997-C047-80CE-050317916ABA}"/>
                </a:ext>
              </a:extLst>
            </p:cNvPr>
            <p:cNvSpPr/>
            <p:nvPr userDrawn="1"/>
          </p:nvSpPr>
          <p:spPr>
            <a:xfrm>
              <a:off x="-1739900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3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5" name="Прямоугольник: скругленные углы 44">
              <a:extLst>
                <a:ext uri="{FF2B5EF4-FFF2-40B4-BE49-F238E27FC236}">
                  <a16:creationId xmlns:a16="http://schemas.microsoft.com/office/drawing/2014/main" id="{C43704EF-B1FF-3D4A-813F-5FBBE4E46F92}"/>
                </a:ext>
              </a:extLst>
            </p:cNvPr>
            <p:cNvSpPr/>
            <p:nvPr userDrawn="1"/>
          </p:nvSpPr>
          <p:spPr>
            <a:xfrm>
              <a:off x="-2004963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0E593829-69B5-2D4F-A75A-7EE68F1B6D9C}"/>
                </a:ext>
              </a:extLst>
            </p:cNvPr>
            <p:cNvSpPr txBox="1"/>
            <p:nvPr userDrawn="1"/>
          </p:nvSpPr>
          <p:spPr>
            <a:xfrm>
              <a:off x="-2003446" y="3935644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больших плашек</a:t>
              </a:r>
            </a:p>
          </p:txBody>
        </p:sp>
        <p:sp>
          <p:nvSpPr>
            <p:cNvPr id="77" name="Прямоугольник: скругленные углы 47">
              <a:extLst>
                <a:ext uri="{FF2B5EF4-FFF2-40B4-BE49-F238E27FC236}">
                  <a16:creationId xmlns:a16="http://schemas.microsoft.com/office/drawing/2014/main" id="{5A13E7D2-9C0E-0146-9C13-DFE574B08A4F}"/>
                </a:ext>
              </a:extLst>
            </p:cNvPr>
            <p:cNvSpPr/>
            <p:nvPr userDrawn="1"/>
          </p:nvSpPr>
          <p:spPr>
            <a:xfrm>
              <a:off x="-2004963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tx2">
                <a:lumMod val="90000"/>
                <a:lumOff val="10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8" name="Прямоугольник: скругленные углы 48">
              <a:extLst>
                <a:ext uri="{FF2B5EF4-FFF2-40B4-BE49-F238E27FC236}">
                  <a16:creationId xmlns:a16="http://schemas.microsoft.com/office/drawing/2014/main" id="{2605BB73-98F0-4E4F-BA15-B73E1C7A4F15}"/>
                </a:ext>
              </a:extLst>
            </p:cNvPr>
            <p:cNvSpPr/>
            <p:nvPr userDrawn="1"/>
          </p:nvSpPr>
          <p:spPr>
            <a:xfrm>
              <a:off x="-1739900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E6D455FB-98B4-1943-9E57-DC98726499D0}"/>
                </a:ext>
              </a:extLst>
            </p:cNvPr>
            <p:cNvSpPr txBox="1"/>
            <p:nvPr userDrawn="1"/>
          </p:nvSpPr>
          <p:spPr>
            <a:xfrm>
              <a:off x="-2003446" y="4451492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а маленьких плашек</a:t>
              </a:r>
            </a:p>
          </p:txBody>
        </p:sp>
        <p:sp>
          <p:nvSpPr>
            <p:cNvPr id="80" name="Прямоугольник: скругленные углы 51">
              <a:extLst>
                <a:ext uri="{FF2B5EF4-FFF2-40B4-BE49-F238E27FC236}">
                  <a16:creationId xmlns:a16="http://schemas.microsoft.com/office/drawing/2014/main" id="{E8B82740-32DB-6B42-AAC7-B0E2AAFF5F3D}"/>
                </a:ext>
              </a:extLst>
            </p:cNvPr>
            <p:cNvSpPr/>
            <p:nvPr userDrawn="1"/>
          </p:nvSpPr>
          <p:spPr>
            <a:xfrm>
              <a:off x="-1475201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tx2"/>
            </a:solidFill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1" name="Прямоугольник: скругленные углы 52">
              <a:extLst>
                <a:ext uri="{FF2B5EF4-FFF2-40B4-BE49-F238E27FC236}">
                  <a16:creationId xmlns:a16="http://schemas.microsoft.com/office/drawing/2014/main" id="{EA00E76B-5416-404F-8C59-4CC70D0DC2F6}"/>
                </a:ext>
              </a:extLst>
            </p:cNvPr>
            <p:cNvSpPr/>
            <p:nvPr userDrawn="1"/>
          </p:nvSpPr>
          <p:spPr>
            <a:xfrm>
              <a:off x="-1739900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B7EDC9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2" name="Прямоугольник: скругленные углы 53">
              <a:extLst>
                <a:ext uri="{FF2B5EF4-FFF2-40B4-BE49-F238E27FC236}">
                  <a16:creationId xmlns:a16="http://schemas.microsoft.com/office/drawing/2014/main" id="{0E253E06-7EF5-134D-9807-EBFB775B3E5D}"/>
                </a:ext>
              </a:extLst>
            </p:cNvPr>
            <p:cNvSpPr/>
            <p:nvPr userDrawn="1"/>
          </p:nvSpPr>
          <p:spPr>
            <a:xfrm>
              <a:off x="-1474837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FA800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3" name="Прямоугольник: скругленные углы 54">
              <a:extLst>
                <a:ext uri="{FF2B5EF4-FFF2-40B4-BE49-F238E27FC236}">
                  <a16:creationId xmlns:a16="http://schemas.microsoft.com/office/drawing/2014/main" id="{36B61546-BF20-4F4D-8E37-3811D6FDF671}"/>
                </a:ext>
              </a:extLst>
            </p:cNvPr>
            <p:cNvSpPr/>
            <p:nvPr userDrawn="1"/>
          </p:nvSpPr>
          <p:spPr>
            <a:xfrm>
              <a:off x="-2004963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10C44C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84D064FF-E925-AE4A-BEAA-1761FDD715A2}"/>
                </a:ext>
              </a:extLst>
            </p:cNvPr>
            <p:cNvSpPr txBox="1"/>
            <p:nvPr userDrawn="1"/>
          </p:nvSpPr>
          <p:spPr>
            <a:xfrm>
              <a:off x="-2003446" y="4973480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900"/>
                <a:t>Рост / падение показателей</a:t>
              </a:r>
            </a:p>
          </p:txBody>
        </p:sp>
        <p:sp>
          <p:nvSpPr>
            <p:cNvPr id="85" name="Прямоугольник: скругленные углы 56">
              <a:extLst>
                <a:ext uri="{FF2B5EF4-FFF2-40B4-BE49-F238E27FC236}">
                  <a16:creationId xmlns:a16="http://schemas.microsoft.com/office/drawing/2014/main" id="{E0A73B6F-0CBC-6842-A110-CBFCE8627015}"/>
                </a:ext>
              </a:extLst>
            </p:cNvPr>
            <p:cNvSpPr/>
            <p:nvPr userDrawn="1"/>
          </p:nvSpPr>
          <p:spPr>
            <a:xfrm>
              <a:off x="-1209774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1">
                <a:lumMod val="20000"/>
                <a:lumOff val="80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6" name="Прямоугольник: скругленные углы 57">
              <a:extLst>
                <a:ext uri="{FF2B5EF4-FFF2-40B4-BE49-F238E27FC236}">
                  <a16:creationId xmlns:a16="http://schemas.microsoft.com/office/drawing/2014/main" id="{8D238242-34B2-B64B-81AD-1EBEBF99A4BA}"/>
                </a:ext>
              </a:extLst>
            </p:cNvPr>
            <p:cNvSpPr/>
            <p:nvPr/>
          </p:nvSpPr>
          <p:spPr>
            <a:xfrm>
              <a:off x="-2131314" y="5782119"/>
              <a:ext cx="1928240" cy="1075881"/>
            </a:xfrm>
            <a:prstGeom prst="roundRect">
              <a:avLst>
                <a:gd name="adj" fmla="val 12985"/>
              </a:avLst>
            </a:prstGeom>
            <a:solidFill>
              <a:schemeClr val="bg1"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CF74BAEA-2AEF-7C41-94C9-169D29CA399D}"/>
                </a:ext>
              </a:extLst>
            </p:cNvPr>
            <p:cNvSpPr txBox="1"/>
            <p:nvPr/>
          </p:nvSpPr>
          <p:spPr>
            <a:xfrm>
              <a:off x="-1788338" y="5868204"/>
              <a:ext cx="1155882" cy="15109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l">
                <a:lnSpc>
                  <a:spcPct val="90000"/>
                </a:lnSpc>
              </a:pPr>
              <a:r>
                <a:rPr lang="ru-RU" sz="1000" b="1">
                  <a:solidFill>
                    <a:schemeClr val="accent1"/>
                  </a:solidFill>
                </a:rPr>
                <a:t>Шаблон </a:t>
              </a:r>
              <a:r>
                <a:rPr lang="en-US" sz="1000" b="1">
                  <a:solidFill>
                    <a:schemeClr val="accent1"/>
                  </a:solidFill>
                </a:rPr>
                <a:t>Ozon</a:t>
              </a:r>
              <a:endParaRPr lang="ru-RU" sz="1000" b="1">
                <a:solidFill>
                  <a:schemeClr val="accent1"/>
                </a:solidFill>
              </a:endParaRPr>
            </a:p>
          </p:txBody>
        </p:sp>
        <p:sp>
          <p:nvSpPr>
            <p:cNvPr id="88" name="Рисунок 93">
              <a:extLst>
                <a:ext uri="{FF2B5EF4-FFF2-40B4-BE49-F238E27FC236}">
                  <a16:creationId xmlns:a16="http://schemas.microsoft.com/office/drawing/2014/main" id="{C290659D-DA99-334D-BD57-993A461E8927}"/>
                </a:ext>
              </a:extLst>
            </p:cNvPr>
            <p:cNvSpPr/>
            <p:nvPr/>
          </p:nvSpPr>
          <p:spPr>
            <a:xfrm>
              <a:off x="-2004963" y="5853908"/>
              <a:ext cx="161099" cy="161099"/>
            </a:xfrm>
            <a:custGeom>
              <a:avLst/>
              <a:gdLst>
                <a:gd name="connsiteX0" fmla="*/ 85725 w 171450"/>
                <a:gd name="connsiteY0" fmla="*/ 171450 h 171450"/>
                <a:gd name="connsiteX1" fmla="*/ 171450 w 171450"/>
                <a:gd name="connsiteY1" fmla="*/ 85725 h 171450"/>
                <a:gd name="connsiteX2" fmla="*/ 85725 w 171450"/>
                <a:gd name="connsiteY2" fmla="*/ 0 h 171450"/>
                <a:gd name="connsiteX3" fmla="*/ 0 w 171450"/>
                <a:gd name="connsiteY3" fmla="*/ 85725 h 171450"/>
                <a:gd name="connsiteX4" fmla="*/ 85725 w 171450"/>
                <a:gd name="connsiteY4" fmla="*/ 171450 h 171450"/>
                <a:gd name="connsiteX5" fmla="*/ 130560 w 171450"/>
                <a:gd name="connsiteY5" fmla="*/ 73410 h 171450"/>
                <a:gd name="connsiteX6" fmla="*/ 82935 w 171450"/>
                <a:gd name="connsiteY6" fmla="*/ 121035 h 171450"/>
                <a:gd name="connsiteX7" fmla="*/ 69465 w 171450"/>
                <a:gd name="connsiteY7" fmla="*/ 121035 h 171450"/>
                <a:gd name="connsiteX8" fmla="*/ 40890 w 171450"/>
                <a:gd name="connsiteY8" fmla="*/ 92460 h 171450"/>
                <a:gd name="connsiteX9" fmla="*/ 40890 w 171450"/>
                <a:gd name="connsiteY9" fmla="*/ 78990 h 171450"/>
                <a:gd name="connsiteX10" fmla="*/ 54360 w 171450"/>
                <a:gd name="connsiteY10" fmla="*/ 78990 h 171450"/>
                <a:gd name="connsiteX11" fmla="*/ 76200 w 171450"/>
                <a:gd name="connsiteY11" fmla="*/ 100830 h 171450"/>
                <a:gd name="connsiteX12" fmla="*/ 117090 w 171450"/>
                <a:gd name="connsiteY12" fmla="*/ 59940 h 171450"/>
                <a:gd name="connsiteX13" fmla="*/ 130560 w 171450"/>
                <a:gd name="connsiteY13" fmla="*/ 59940 h 171450"/>
                <a:gd name="connsiteX14" fmla="*/ 130560 w 171450"/>
                <a:gd name="connsiteY14" fmla="*/ 7341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71450" h="171450">
                  <a:moveTo>
                    <a:pt x="85725" y="171450"/>
                  </a:moveTo>
                  <a:cubicBezTo>
                    <a:pt x="138915" y="171450"/>
                    <a:pt x="171450" y="138915"/>
                    <a:pt x="171450" y="85725"/>
                  </a:cubicBezTo>
                  <a:cubicBezTo>
                    <a:pt x="171450" y="32535"/>
                    <a:pt x="138915" y="0"/>
                    <a:pt x="85725" y="0"/>
                  </a:cubicBezTo>
                  <a:cubicBezTo>
                    <a:pt x="32535" y="0"/>
                    <a:pt x="0" y="32535"/>
                    <a:pt x="0" y="85725"/>
                  </a:cubicBezTo>
                  <a:cubicBezTo>
                    <a:pt x="0" y="138915"/>
                    <a:pt x="32535" y="171450"/>
                    <a:pt x="85725" y="171450"/>
                  </a:cubicBezTo>
                  <a:close/>
                  <a:moveTo>
                    <a:pt x="130560" y="73410"/>
                  </a:moveTo>
                  <a:lnTo>
                    <a:pt x="82935" y="121035"/>
                  </a:lnTo>
                  <a:cubicBezTo>
                    <a:pt x="79216" y="124755"/>
                    <a:pt x="73184" y="124755"/>
                    <a:pt x="69465" y="121035"/>
                  </a:cubicBezTo>
                  <a:lnTo>
                    <a:pt x="40890" y="92460"/>
                  </a:lnTo>
                  <a:cubicBezTo>
                    <a:pt x="37170" y="88741"/>
                    <a:pt x="37170" y="82709"/>
                    <a:pt x="40890" y="78990"/>
                  </a:cubicBezTo>
                  <a:cubicBezTo>
                    <a:pt x="44610" y="75270"/>
                    <a:pt x="50640" y="75270"/>
                    <a:pt x="54360" y="78990"/>
                  </a:cubicBezTo>
                  <a:lnTo>
                    <a:pt x="76200" y="100830"/>
                  </a:lnTo>
                  <a:lnTo>
                    <a:pt x="117090" y="59940"/>
                  </a:lnTo>
                  <a:cubicBezTo>
                    <a:pt x="120809" y="56220"/>
                    <a:pt x="126841" y="56220"/>
                    <a:pt x="130560" y="59940"/>
                  </a:cubicBezTo>
                  <a:cubicBezTo>
                    <a:pt x="134280" y="63660"/>
                    <a:pt x="134280" y="69691"/>
                    <a:pt x="130560" y="7341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B0C66573-3B37-4845-90F6-8CD386C60B6D}"/>
                </a:ext>
              </a:extLst>
            </p:cNvPr>
            <p:cNvSpPr txBox="1"/>
            <p:nvPr/>
          </p:nvSpPr>
          <p:spPr>
            <a:xfrm>
              <a:off x="-2004962" y="6072106"/>
              <a:ext cx="1687587" cy="60024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>
                <a:lnSpc>
                  <a:spcPct val="110000"/>
                </a:lnSpc>
              </a:pPr>
              <a:r>
                <a:rPr lang="ru-RU" sz="900" spc="-30" baseline="0">
                  <a:solidFill>
                    <a:schemeClr val="tx2"/>
                  </a:solidFill>
                </a:rPr>
                <a:t>Если нужно больше материалов: </a:t>
              </a:r>
              <a:r>
                <a:rPr lang="ru-RU" sz="900" b="1" spc="-30" baseline="0">
                  <a:solidFill>
                    <a:schemeClr val="tx2"/>
                  </a:solidFill>
                </a:rPr>
                <a:t>правое меню </a:t>
              </a:r>
              <a:r>
                <a:rPr lang="en-US" sz="900" b="1" spc="-30" baseline="0">
                  <a:solidFill>
                    <a:schemeClr val="tx2"/>
                  </a:solidFill>
                </a:rPr>
                <a:t>Staff — Brand </a:t>
              </a:r>
              <a:r>
                <a:rPr lang="ru-RU" sz="900" b="1" spc="-30" baseline="0">
                  <a:solidFill>
                    <a:schemeClr val="tx2"/>
                  </a:solidFill>
                </a:rPr>
                <a:t>— Всё для презентаций. </a:t>
              </a:r>
              <a:r>
                <a:rPr lang="ru-RU" sz="900" b="0" spc="-30" baseline="0">
                  <a:solidFill>
                    <a:schemeClr val="tx2"/>
                  </a:solidFill>
                </a:rPr>
                <a:t>Или пиши нам на </a:t>
              </a:r>
              <a:r>
                <a:rPr lang="en-US" sz="900" b="0" spc="-30" baseline="0">
                  <a:solidFill>
                    <a:schemeClr val="tx2"/>
                  </a:solidFill>
                </a:rPr>
                <a:t>presentations@ozon.ru.</a:t>
              </a:r>
              <a:r>
                <a:rPr lang="ru-RU" sz="900" b="0" spc="-30" baseline="0">
                  <a:solidFill>
                    <a:schemeClr val="tx2"/>
                  </a:solidFill>
                </a:rPr>
                <a:t> </a:t>
              </a:r>
            </a:p>
          </p:txBody>
        </p:sp>
        <p:sp>
          <p:nvSpPr>
            <p:cNvPr id="90" name="Прямоугольник: скругленные углы 63">
              <a:extLst>
                <a:ext uri="{FF2B5EF4-FFF2-40B4-BE49-F238E27FC236}">
                  <a16:creationId xmlns:a16="http://schemas.microsoft.com/office/drawing/2014/main" id="{06B304CA-7385-5E48-BC6F-F8A2B2EECC7F}"/>
                </a:ext>
              </a:extLst>
            </p:cNvPr>
            <p:cNvSpPr/>
            <p:nvPr userDrawn="1"/>
          </p:nvSpPr>
          <p:spPr>
            <a:xfrm>
              <a:off x="-944711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53C14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1" name="Прямоугольник: скругленные углы 64">
              <a:extLst>
                <a:ext uri="{FF2B5EF4-FFF2-40B4-BE49-F238E27FC236}">
                  <a16:creationId xmlns:a16="http://schemas.microsoft.com/office/drawing/2014/main" id="{BE79CDF9-7231-A742-89E9-AAEBBEFE7456}"/>
                </a:ext>
              </a:extLst>
            </p:cNvPr>
            <p:cNvSpPr/>
            <p:nvPr userDrawn="1"/>
          </p:nvSpPr>
          <p:spPr>
            <a:xfrm>
              <a:off x="-679648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CC4B8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2" name="Прямоугольник: скругленные углы 65">
              <a:extLst>
                <a:ext uri="{FF2B5EF4-FFF2-40B4-BE49-F238E27FC236}">
                  <a16:creationId xmlns:a16="http://schemas.microsoft.com/office/drawing/2014/main" id="{148714E1-E061-5F45-84D2-86B3E090DF5E}"/>
                </a:ext>
              </a:extLst>
            </p:cNvPr>
            <p:cNvSpPr/>
            <p:nvPr userDrawn="1"/>
          </p:nvSpPr>
          <p:spPr>
            <a:xfrm>
              <a:off x="-1209774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FE5B2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3" name="Прямоугольник: скругленные углы 13">
              <a:extLst>
                <a:ext uri="{FF2B5EF4-FFF2-40B4-BE49-F238E27FC236}">
                  <a16:creationId xmlns:a16="http://schemas.microsoft.com/office/drawing/2014/main" id="{9FD99921-05BF-0B43-AD43-D32FE1EFC486}"/>
                </a:ext>
              </a:extLst>
            </p:cNvPr>
            <p:cNvSpPr/>
            <p:nvPr userDrawn="1"/>
          </p:nvSpPr>
          <p:spPr>
            <a:xfrm>
              <a:off x="-2004344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4" name="Прямоугольник: скругленные углы 15">
              <a:extLst>
                <a:ext uri="{FF2B5EF4-FFF2-40B4-BE49-F238E27FC236}">
                  <a16:creationId xmlns:a16="http://schemas.microsoft.com/office/drawing/2014/main" id="{C9FD0A14-14F7-2848-A940-C7DB4D7395C4}"/>
                </a:ext>
              </a:extLst>
            </p:cNvPr>
            <p:cNvSpPr/>
            <p:nvPr userDrawn="1"/>
          </p:nvSpPr>
          <p:spPr>
            <a:xfrm>
              <a:off x="-1738339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6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5" name="Прямоугольник: скругленные углы 48">
              <a:extLst>
                <a:ext uri="{FF2B5EF4-FFF2-40B4-BE49-F238E27FC236}">
                  <a16:creationId xmlns:a16="http://schemas.microsoft.com/office/drawing/2014/main" id="{10D382DA-8A1C-FD4B-9E8E-7507A62EA83E}"/>
                </a:ext>
              </a:extLst>
            </p:cNvPr>
            <p:cNvSpPr/>
            <p:nvPr userDrawn="1"/>
          </p:nvSpPr>
          <p:spPr>
            <a:xfrm>
              <a:off x="-1475201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tx2"/>
            </a:solidFill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6" name="Прямоугольник: скругленные углы 56">
              <a:extLst>
                <a:ext uri="{FF2B5EF4-FFF2-40B4-BE49-F238E27FC236}">
                  <a16:creationId xmlns:a16="http://schemas.microsoft.com/office/drawing/2014/main" id="{061FB20C-E3FF-6947-9EBD-3D54E77ADDB0}"/>
                </a:ext>
              </a:extLst>
            </p:cNvPr>
            <p:cNvSpPr/>
            <p:nvPr userDrawn="1"/>
          </p:nvSpPr>
          <p:spPr>
            <a:xfrm>
              <a:off x="-946163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609ED99E-52AF-4EF8-B4B8-BC13E3490FE8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641985" y="6415289"/>
            <a:ext cx="1044575" cy="231716"/>
            <a:chOff x="8489504" y="910877"/>
            <a:chExt cx="2734509" cy="606592"/>
          </a:xfrm>
          <a:solidFill>
            <a:schemeClr val="bg1"/>
          </a:solidFill>
        </p:grpSpPr>
        <p:sp>
          <p:nvSpPr>
            <p:cNvPr id="3" name="Полилиния 2">
              <a:extLst>
                <a:ext uri="{FF2B5EF4-FFF2-40B4-BE49-F238E27FC236}">
                  <a16:creationId xmlns:a16="http://schemas.microsoft.com/office/drawing/2014/main" id="{0F9E2296-4D36-2B24-AFB3-DEB0C6DBAEE9}"/>
                </a:ext>
              </a:extLst>
            </p:cNvPr>
            <p:cNvSpPr/>
            <p:nvPr/>
          </p:nvSpPr>
          <p:spPr>
            <a:xfrm>
              <a:off x="10064626" y="910877"/>
              <a:ext cx="1159387" cy="606592"/>
            </a:xfrm>
            <a:custGeom>
              <a:avLst/>
              <a:gdLst>
                <a:gd name="connsiteX0" fmla="*/ 0 w 1159387"/>
                <a:gd name="connsiteY0" fmla="*/ 178242 h 606592"/>
                <a:gd name="connsiteX1" fmla="*/ 0 w 1159387"/>
                <a:gd name="connsiteY1" fmla="*/ 237024 h 606592"/>
                <a:gd name="connsiteX2" fmla="*/ 9135 w 1159387"/>
                <a:gd name="connsiteY2" fmla="*/ 246098 h 606592"/>
                <a:gd name="connsiteX3" fmla="*/ 30214 w 1159387"/>
                <a:gd name="connsiteY3" fmla="*/ 250009 h 606592"/>
                <a:gd name="connsiteX4" fmla="*/ 32261 w 1159387"/>
                <a:gd name="connsiteY4" fmla="*/ 250607 h 606592"/>
                <a:gd name="connsiteX5" fmla="*/ 85030 w 1159387"/>
                <a:gd name="connsiteY5" fmla="*/ 319338 h 606592"/>
                <a:gd name="connsiteX6" fmla="*/ 85030 w 1159387"/>
                <a:gd name="connsiteY6" fmla="*/ 483817 h 606592"/>
                <a:gd name="connsiteX7" fmla="*/ 120863 w 1159387"/>
                <a:gd name="connsiteY7" fmla="*/ 570989 h 606592"/>
                <a:gd name="connsiteX8" fmla="*/ 205874 w 1159387"/>
                <a:gd name="connsiteY8" fmla="*/ 606364 h 606592"/>
                <a:gd name="connsiteX9" fmla="*/ 207284 w 1159387"/>
                <a:gd name="connsiteY9" fmla="*/ 606364 h 606592"/>
                <a:gd name="connsiteX10" fmla="*/ 235964 w 1159387"/>
                <a:gd name="connsiteY10" fmla="*/ 606364 h 606592"/>
                <a:gd name="connsiteX11" fmla="*/ 247356 w 1159387"/>
                <a:gd name="connsiteY11" fmla="*/ 593268 h 606592"/>
                <a:gd name="connsiteX12" fmla="*/ 247337 w 1159387"/>
                <a:gd name="connsiteY12" fmla="*/ 563750 h 606592"/>
                <a:gd name="connsiteX13" fmla="*/ 247337 w 1159387"/>
                <a:gd name="connsiteY13" fmla="*/ 541928 h 606592"/>
                <a:gd name="connsiteX14" fmla="*/ 236802 w 1159387"/>
                <a:gd name="connsiteY14" fmla="*/ 530565 h 606592"/>
                <a:gd name="connsiteX15" fmla="*/ 197454 w 1159387"/>
                <a:gd name="connsiteY15" fmla="*/ 530527 h 606592"/>
                <a:gd name="connsiteX16" fmla="*/ 159506 w 1159387"/>
                <a:gd name="connsiteY16" fmla="*/ 492285 h 606592"/>
                <a:gd name="connsiteX17" fmla="*/ 159506 w 1159387"/>
                <a:gd name="connsiteY17" fmla="*/ 403084 h 606592"/>
                <a:gd name="connsiteX18" fmla="*/ 159506 w 1159387"/>
                <a:gd name="connsiteY18" fmla="*/ 316772 h 606592"/>
                <a:gd name="connsiteX19" fmla="*/ 100365 w 1159387"/>
                <a:gd name="connsiteY19" fmla="*/ 207274 h 606592"/>
                <a:gd name="connsiteX20" fmla="*/ 99080 w 1159387"/>
                <a:gd name="connsiteY20" fmla="*/ 206423 h 606592"/>
                <a:gd name="connsiteX21" fmla="*/ 100356 w 1159387"/>
                <a:gd name="connsiteY21" fmla="*/ 205547 h 606592"/>
                <a:gd name="connsiteX22" fmla="*/ 159506 w 1159387"/>
                <a:gd name="connsiteY22" fmla="*/ 90665 h 606592"/>
                <a:gd name="connsiteX23" fmla="*/ 159506 w 1159387"/>
                <a:gd name="connsiteY23" fmla="*/ 10992 h 606592"/>
                <a:gd name="connsiteX24" fmla="*/ 148962 w 1159387"/>
                <a:gd name="connsiteY24" fmla="*/ 0 h 606592"/>
                <a:gd name="connsiteX25" fmla="*/ 95565 w 1159387"/>
                <a:gd name="connsiteY25" fmla="*/ 0 h 606592"/>
                <a:gd name="connsiteX26" fmla="*/ 85030 w 1159387"/>
                <a:gd name="connsiteY26" fmla="*/ 10992 h 606592"/>
                <a:gd name="connsiteX27" fmla="*/ 85030 w 1159387"/>
                <a:gd name="connsiteY27" fmla="*/ 90665 h 606592"/>
                <a:gd name="connsiteX28" fmla="*/ 32366 w 1159387"/>
                <a:gd name="connsiteY28" fmla="*/ 162761 h 606592"/>
                <a:gd name="connsiteX29" fmla="*/ 30214 w 1159387"/>
                <a:gd name="connsiteY29" fmla="*/ 163402 h 606592"/>
                <a:gd name="connsiteX30" fmla="*/ 9135 w 1159387"/>
                <a:gd name="connsiteY30" fmla="*/ 167302 h 606592"/>
                <a:gd name="connsiteX31" fmla="*/ 0 w 1159387"/>
                <a:gd name="connsiteY31" fmla="*/ 178242 h 606592"/>
                <a:gd name="connsiteX32" fmla="*/ 933768 w 1159387"/>
                <a:gd name="connsiteY32" fmla="*/ 313343 h 606592"/>
                <a:gd name="connsiteX33" fmla="*/ 933768 w 1159387"/>
                <a:gd name="connsiteY33" fmla="*/ 468558 h 606592"/>
                <a:gd name="connsiteX34" fmla="*/ 930749 w 1159387"/>
                <a:gd name="connsiteY34" fmla="*/ 475902 h 606592"/>
                <a:gd name="connsiteX35" fmla="*/ 923472 w 1159387"/>
                <a:gd name="connsiteY35" fmla="*/ 478940 h 606592"/>
                <a:gd name="connsiteX36" fmla="*/ 869627 w 1159387"/>
                <a:gd name="connsiteY36" fmla="*/ 478902 h 606592"/>
                <a:gd name="connsiteX37" fmla="*/ 859349 w 1159387"/>
                <a:gd name="connsiteY37" fmla="*/ 468530 h 606592"/>
                <a:gd name="connsiteX38" fmla="*/ 859349 w 1159387"/>
                <a:gd name="connsiteY38" fmla="*/ 10375 h 606592"/>
                <a:gd name="connsiteX39" fmla="*/ 869636 w 1159387"/>
                <a:gd name="connsiteY39" fmla="*/ 0 h 606592"/>
                <a:gd name="connsiteX40" fmla="*/ 923472 w 1159387"/>
                <a:gd name="connsiteY40" fmla="*/ 0 h 606592"/>
                <a:gd name="connsiteX41" fmla="*/ 933768 w 1159387"/>
                <a:gd name="connsiteY41" fmla="*/ 10375 h 606592"/>
                <a:gd name="connsiteX42" fmla="*/ 933768 w 1159387"/>
                <a:gd name="connsiteY42" fmla="*/ 193355 h 606592"/>
                <a:gd name="connsiteX43" fmla="*/ 1159388 w 1159387"/>
                <a:gd name="connsiteY43" fmla="*/ 312995 h 606592"/>
                <a:gd name="connsiteX44" fmla="*/ 1159388 w 1159387"/>
                <a:gd name="connsiteY44" fmla="*/ 468520 h 606592"/>
                <a:gd name="connsiteX45" fmla="*/ 1156378 w 1159387"/>
                <a:gd name="connsiteY45" fmla="*/ 475854 h 606592"/>
                <a:gd name="connsiteX46" fmla="*/ 1149101 w 1159387"/>
                <a:gd name="connsiteY46" fmla="*/ 478893 h 606592"/>
                <a:gd name="connsiteX47" fmla="*/ 1095199 w 1159387"/>
                <a:gd name="connsiteY47" fmla="*/ 478893 h 606592"/>
                <a:gd name="connsiteX48" fmla="*/ 1087922 w 1159387"/>
                <a:gd name="connsiteY48" fmla="*/ 475854 h 606592"/>
                <a:gd name="connsiteX49" fmla="*/ 1084912 w 1159387"/>
                <a:gd name="connsiteY49" fmla="*/ 468520 h 606592"/>
                <a:gd name="connsiteX50" fmla="*/ 1084912 w 1159387"/>
                <a:gd name="connsiteY50" fmla="*/ 312995 h 606592"/>
                <a:gd name="connsiteX51" fmla="*/ 966868 w 1159387"/>
                <a:gd name="connsiteY51" fmla="*/ 246504 h 606592"/>
                <a:gd name="connsiteX52" fmla="*/ 933768 w 1159387"/>
                <a:gd name="connsiteY52" fmla="*/ 313343 h 606592"/>
                <a:gd name="connsiteX53" fmla="*/ 596563 w 1159387"/>
                <a:gd name="connsiteY53" fmla="*/ 207040 h 606592"/>
                <a:gd name="connsiteX54" fmla="*/ 549471 w 1159387"/>
                <a:gd name="connsiteY54" fmla="*/ 323084 h 606592"/>
                <a:gd name="connsiteX55" fmla="*/ 596563 w 1159387"/>
                <a:gd name="connsiteY55" fmla="*/ 439145 h 606592"/>
                <a:gd name="connsiteX56" fmla="*/ 797522 w 1159387"/>
                <a:gd name="connsiteY56" fmla="*/ 460995 h 606592"/>
                <a:gd name="connsiteX57" fmla="*/ 799923 w 1159387"/>
                <a:gd name="connsiteY57" fmla="*/ 459357 h 606592"/>
                <a:gd name="connsiteX58" fmla="*/ 805247 w 1159387"/>
                <a:gd name="connsiteY58" fmla="*/ 455385 h 606592"/>
                <a:gd name="connsiteX59" fmla="*/ 806018 w 1159387"/>
                <a:gd name="connsiteY59" fmla="*/ 438745 h 606592"/>
                <a:gd name="connsiteX60" fmla="*/ 790226 w 1159387"/>
                <a:gd name="connsiteY60" fmla="*/ 417067 h 606592"/>
                <a:gd name="connsiteX61" fmla="*/ 776110 w 1159387"/>
                <a:gd name="connsiteY61" fmla="*/ 397747 h 606592"/>
                <a:gd name="connsiteX62" fmla="*/ 760975 w 1159387"/>
                <a:gd name="connsiteY62" fmla="*/ 394585 h 606592"/>
                <a:gd name="connsiteX63" fmla="*/ 757003 w 1159387"/>
                <a:gd name="connsiteY63" fmla="*/ 397067 h 606592"/>
                <a:gd name="connsiteX64" fmla="*/ 619737 w 1159387"/>
                <a:gd name="connsiteY64" fmla="*/ 323084 h 606592"/>
                <a:gd name="connsiteX65" fmla="*/ 756945 w 1159387"/>
                <a:gd name="connsiteY65" fmla="*/ 249203 h 606592"/>
                <a:gd name="connsiteX66" fmla="*/ 760975 w 1159387"/>
                <a:gd name="connsiteY66" fmla="*/ 251591 h 606592"/>
                <a:gd name="connsiteX67" fmla="*/ 776148 w 1159387"/>
                <a:gd name="connsiteY67" fmla="*/ 248416 h 606592"/>
                <a:gd name="connsiteX68" fmla="*/ 790207 w 1159387"/>
                <a:gd name="connsiteY68" fmla="*/ 229138 h 606592"/>
                <a:gd name="connsiteX69" fmla="*/ 804618 w 1159387"/>
                <a:gd name="connsiteY69" fmla="*/ 209395 h 606592"/>
                <a:gd name="connsiteX70" fmla="*/ 799903 w 1159387"/>
                <a:gd name="connsiteY70" fmla="*/ 186809 h 606592"/>
                <a:gd name="connsiteX71" fmla="*/ 797522 w 1159387"/>
                <a:gd name="connsiteY71" fmla="*/ 185195 h 606592"/>
                <a:gd name="connsiteX72" fmla="*/ 596563 w 1159387"/>
                <a:gd name="connsiteY72" fmla="*/ 207040 h 606592"/>
                <a:gd name="connsiteX73" fmla="*/ 293714 w 1159387"/>
                <a:gd name="connsiteY73" fmla="*/ 350313 h 606592"/>
                <a:gd name="connsiteX74" fmla="*/ 469385 w 1159387"/>
                <a:gd name="connsiteY74" fmla="*/ 350313 h 606592"/>
                <a:gd name="connsiteX75" fmla="*/ 507323 w 1159387"/>
                <a:gd name="connsiteY75" fmla="*/ 312290 h 606592"/>
                <a:gd name="connsiteX76" fmla="*/ 472890 w 1159387"/>
                <a:gd name="connsiteY76" fmla="*/ 208836 h 606592"/>
                <a:gd name="connsiteX77" fmla="*/ 368190 w 1159387"/>
                <a:gd name="connsiteY77" fmla="*/ 159530 h 606592"/>
                <a:gd name="connsiteX78" fmla="*/ 219228 w 1159387"/>
                <a:gd name="connsiteY78" fmla="*/ 323103 h 606592"/>
                <a:gd name="connsiteX79" fmla="*/ 375915 w 1159387"/>
                <a:gd name="connsiteY79" fmla="*/ 486674 h 606592"/>
                <a:gd name="connsiteX80" fmla="*/ 502398 w 1159387"/>
                <a:gd name="connsiteY80" fmla="*/ 450623 h 606592"/>
                <a:gd name="connsiteX81" fmla="*/ 505913 w 1159387"/>
                <a:gd name="connsiteY81" fmla="*/ 435907 h 606592"/>
                <a:gd name="connsiteX82" fmla="*/ 504818 w 1159387"/>
                <a:gd name="connsiteY82" fmla="*/ 434088 h 606592"/>
                <a:gd name="connsiteX83" fmla="*/ 478519 w 1159387"/>
                <a:gd name="connsiteY83" fmla="*/ 391689 h 606592"/>
                <a:gd name="connsiteX84" fmla="*/ 464460 w 1159387"/>
                <a:gd name="connsiteY84" fmla="*/ 388476 h 606592"/>
                <a:gd name="connsiteX85" fmla="*/ 377335 w 1159387"/>
                <a:gd name="connsiteY85" fmla="*/ 414990 h 606592"/>
                <a:gd name="connsiteX86" fmla="*/ 293714 w 1159387"/>
                <a:gd name="connsiteY86" fmla="*/ 350313 h 606592"/>
                <a:gd name="connsiteX87" fmla="*/ 430732 w 1159387"/>
                <a:gd name="connsiteY87" fmla="*/ 287912 h 606592"/>
                <a:gd name="connsiteX88" fmla="*/ 368190 w 1159387"/>
                <a:gd name="connsiteY88" fmla="*/ 232071 h 606592"/>
                <a:gd name="connsiteX89" fmla="*/ 296524 w 1159387"/>
                <a:gd name="connsiteY89" fmla="*/ 287912 h 606592"/>
                <a:gd name="connsiteX90" fmla="*/ 430732 w 1159387"/>
                <a:gd name="connsiteY90" fmla="*/ 287912 h 606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</a:cxnLst>
              <a:rect l="l" t="t" r="r" b="b"/>
              <a:pathLst>
                <a:path w="1159387" h="606592">
                  <a:moveTo>
                    <a:pt x="0" y="178242"/>
                  </a:moveTo>
                  <a:lnTo>
                    <a:pt x="0" y="237024"/>
                  </a:lnTo>
                  <a:cubicBezTo>
                    <a:pt x="695" y="241577"/>
                    <a:pt x="4220" y="245266"/>
                    <a:pt x="9135" y="246098"/>
                  </a:cubicBezTo>
                  <a:cubicBezTo>
                    <a:pt x="16869" y="247387"/>
                    <a:pt x="27404" y="249197"/>
                    <a:pt x="30214" y="250009"/>
                  </a:cubicBezTo>
                  <a:cubicBezTo>
                    <a:pt x="30833" y="250193"/>
                    <a:pt x="31518" y="250390"/>
                    <a:pt x="32261" y="250607"/>
                  </a:cubicBezTo>
                  <a:cubicBezTo>
                    <a:pt x="46749" y="254784"/>
                    <a:pt x="83697" y="265433"/>
                    <a:pt x="85030" y="319338"/>
                  </a:cubicBezTo>
                  <a:lnTo>
                    <a:pt x="85030" y="483817"/>
                  </a:lnTo>
                  <a:cubicBezTo>
                    <a:pt x="85030" y="516573"/>
                    <a:pt x="97670" y="547958"/>
                    <a:pt x="120863" y="570989"/>
                  </a:cubicBezTo>
                  <a:cubicBezTo>
                    <a:pt x="143342" y="593696"/>
                    <a:pt x="174261" y="606402"/>
                    <a:pt x="205874" y="606364"/>
                  </a:cubicBezTo>
                  <a:lnTo>
                    <a:pt x="207284" y="606364"/>
                  </a:lnTo>
                  <a:cubicBezTo>
                    <a:pt x="207284" y="606364"/>
                    <a:pt x="207284" y="606879"/>
                    <a:pt x="235964" y="606364"/>
                  </a:cubicBezTo>
                  <a:cubicBezTo>
                    <a:pt x="243232" y="606231"/>
                    <a:pt x="247461" y="601383"/>
                    <a:pt x="247356" y="593268"/>
                  </a:cubicBezTo>
                  <a:cubicBezTo>
                    <a:pt x="247222" y="582028"/>
                    <a:pt x="247527" y="573246"/>
                    <a:pt x="247337" y="563750"/>
                  </a:cubicBezTo>
                  <a:cubicBezTo>
                    <a:pt x="247184" y="555816"/>
                    <a:pt x="247337" y="548520"/>
                    <a:pt x="247337" y="541928"/>
                  </a:cubicBezTo>
                  <a:cubicBezTo>
                    <a:pt x="247337" y="535804"/>
                    <a:pt x="242422" y="530794"/>
                    <a:pt x="236802" y="530565"/>
                  </a:cubicBezTo>
                  <a:cubicBezTo>
                    <a:pt x="226258" y="530527"/>
                    <a:pt x="211504" y="530527"/>
                    <a:pt x="197454" y="530527"/>
                  </a:cubicBezTo>
                  <a:cubicBezTo>
                    <a:pt x="177071" y="530527"/>
                    <a:pt x="159506" y="513401"/>
                    <a:pt x="159506" y="492285"/>
                  </a:cubicBezTo>
                  <a:lnTo>
                    <a:pt x="159506" y="403084"/>
                  </a:lnTo>
                  <a:cubicBezTo>
                    <a:pt x="160202" y="402874"/>
                    <a:pt x="159506" y="317750"/>
                    <a:pt x="159506" y="316772"/>
                  </a:cubicBezTo>
                  <a:cubicBezTo>
                    <a:pt x="157544" y="243958"/>
                    <a:pt x="109233" y="212964"/>
                    <a:pt x="100365" y="207274"/>
                  </a:cubicBezTo>
                  <a:cubicBezTo>
                    <a:pt x="99708" y="206855"/>
                    <a:pt x="99270" y="206569"/>
                    <a:pt x="99080" y="206423"/>
                  </a:cubicBezTo>
                  <a:cubicBezTo>
                    <a:pt x="99270" y="206264"/>
                    <a:pt x="99708" y="205979"/>
                    <a:pt x="100356" y="205547"/>
                  </a:cubicBezTo>
                  <a:cubicBezTo>
                    <a:pt x="109395" y="199604"/>
                    <a:pt x="159506" y="166622"/>
                    <a:pt x="159506" y="90665"/>
                  </a:cubicBezTo>
                  <a:lnTo>
                    <a:pt x="159506" y="10992"/>
                  </a:lnTo>
                  <a:cubicBezTo>
                    <a:pt x="159506" y="4922"/>
                    <a:pt x="155287" y="0"/>
                    <a:pt x="148962" y="0"/>
                  </a:cubicBezTo>
                  <a:lnTo>
                    <a:pt x="95565" y="0"/>
                  </a:lnTo>
                  <a:cubicBezTo>
                    <a:pt x="89945" y="0"/>
                    <a:pt x="85030" y="4922"/>
                    <a:pt x="85030" y="10992"/>
                  </a:cubicBezTo>
                  <a:lnTo>
                    <a:pt x="85030" y="90665"/>
                  </a:lnTo>
                  <a:cubicBezTo>
                    <a:pt x="85030" y="147350"/>
                    <a:pt x="47054" y="158469"/>
                    <a:pt x="32366" y="162761"/>
                  </a:cubicBezTo>
                  <a:cubicBezTo>
                    <a:pt x="31576" y="162997"/>
                    <a:pt x="30861" y="163206"/>
                    <a:pt x="30214" y="163402"/>
                  </a:cubicBezTo>
                  <a:cubicBezTo>
                    <a:pt x="27404" y="164209"/>
                    <a:pt x="16869" y="166026"/>
                    <a:pt x="9135" y="167302"/>
                  </a:cubicBezTo>
                  <a:cubicBezTo>
                    <a:pt x="3515" y="168248"/>
                    <a:pt x="0" y="172858"/>
                    <a:pt x="0" y="178242"/>
                  </a:cubicBezTo>
                  <a:close/>
                  <a:moveTo>
                    <a:pt x="933768" y="313343"/>
                  </a:moveTo>
                  <a:lnTo>
                    <a:pt x="933768" y="468558"/>
                  </a:lnTo>
                  <a:cubicBezTo>
                    <a:pt x="933768" y="471320"/>
                    <a:pt x="932682" y="473949"/>
                    <a:pt x="930749" y="475902"/>
                  </a:cubicBezTo>
                  <a:cubicBezTo>
                    <a:pt x="928825" y="477845"/>
                    <a:pt x="926206" y="478940"/>
                    <a:pt x="923472" y="478940"/>
                  </a:cubicBezTo>
                  <a:cubicBezTo>
                    <a:pt x="909270" y="478921"/>
                    <a:pt x="883819" y="478912"/>
                    <a:pt x="869627" y="478902"/>
                  </a:cubicBezTo>
                  <a:cubicBezTo>
                    <a:pt x="863950" y="478893"/>
                    <a:pt x="859349" y="474254"/>
                    <a:pt x="859349" y="468530"/>
                  </a:cubicBezTo>
                  <a:cubicBezTo>
                    <a:pt x="859349" y="405427"/>
                    <a:pt x="859349" y="73513"/>
                    <a:pt x="859349" y="10375"/>
                  </a:cubicBezTo>
                  <a:cubicBezTo>
                    <a:pt x="859349" y="4648"/>
                    <a:pt x="863959" y="0"/>
                    <a:pt x="869636" y="0"/>
                  </a:cubicBezTo>
                  <a:cubicBezTo>
                    <a:pt x="883838" y="0"/>
                    <a:pt x="909279" y="0"/>
                    <a:pt x="923472" y="0"/>
                  </a:cubicBezTo>
                  <a:cubicBezTo>
                    <a:pt x="929158" y="0"/>
                    <a:pt x="933768" y="4648"/>
                    <a:pt x="933768" y="10375"/>
                  </a:cubicBezTo>
                  <a:cubicBezTo>
                    <a:pt x="933768" y="50513"/>
                    <a:pt x="933768" y="193355"/>
                    <a:pt x="933768" y="193355"/>
                  </a:cubicBezTo>
                  <a:cubicBezTo>
                    <a:pt x="1013169" y="118433"/>
                    <a:pt x="1159388" y="172318"/>
                    <a:pt x="1159388" y="312995"/>
                  </a:cubicBezTo>
                  <a:lnTo>
                    <a:pt x="1159388" y="468520"/>
                  </a:lnTo>
                  <a:cubicBezTo>
                    <a:pt x="1159388" y="471273"/>
                    <a:pt x="1158302" y="473911"/>
                    <a:pt x="1156378" y="475854"/>
                  </a:cubicBezTo>
                  <a:cubicBezTo>
                    <a:pt x="1154445" y="477797"/>
                    <a:pt x="1151835" y="478893"/>
                    <a:pt x="1149101" y="478893"/>
                  </a:cubicBezTo>
                  <a:cubicBezTo>
                    <a:pt x="1134899" y="478893"/>
                    <a:pt x="1109401" y="478893"/>
                    <a:pt x="1095199" y="478893"/>
                  </a:cubicBezTo>
                  <a:cubicBezTo>
                    <a:pt x="1092465" y="478893"/>
                    <a:pt x="1089855" y="477797"/>
                    <a:pt x="1087922" y="475854"/>
                  </a:cubicBezTo>
                  <a:cubicBezTo>
                    <a:pt x="1085998" y="473911"/>
                    <a:pt x="1084912" y="471273"/>
                    <a:pt x="1084912" y="468520"/>
                  </a:cubicBezTo>
                  <a:cubicBezTo>
                    <a:pt x="1084912" y="432211"/>
                    <a:pt x="1084912" y="312995"/>
                    <a:pt x="1084912" y="312995"/>
                  </a:cubicBezTo>
                  <a:cubicBezTo>
                    <a:pt x="1084912" y="239513"/>
                    <a:pt x="1011121" y="217047"/>
                    <a:pt x="966868" y="246504"/>
                  </a:cubicBezTo>
                  <a:cubicBezTo>
                    <a:pt x="947885" y="259141"/>
                    <a:pt x="933768" y="281804"/>
                    <a:pt x="933768" y="313343"/>
                  </a:cubicBezTo>
                  <a:close/>
                  <a:moveTo>
                    <a:pt x="596563" y="207040"/>
                  </a:moveTo>
                  <a:cubicBezTo>
                    <a:pt x="564235" y="238922"/>
                    <a:pt x="549471" y="280953"/>
                    <a:pt x="549471" y="323084"/>
                  </a:cubicBezTo>
                  <a:cubicBezTo>
                    <a:pt x="549471" y="365223"/>
                    <a:pt x="564235" y="407246"/>
                    <a:pt x="596563" y="439145"/>
                  </a:cubicBezTo>
                  <a:cubicBezTo>
                    <a:pt x="650665" y="494085"/>
                    <a:pt x="734285" y="501400"/>
                    <a:pt x="797522" y="460995"/>
                  </a:cubicBezTo>
                  <a:cubicBezTo>
                    <a:pt x="798208" y="460481"/>
                    <a:pt x="799037" y="459938"/>
                    <a:pt x="799923" y="459357"/>
                  </a:cubicBezTo>
                  <a:cubicBezTo>
                    <a:pt x="801761" y="458147"/>
                    <a:pt x="803828" y="456795"/>
                    <a:pt x="805247" y="455385"/>
                  </a:cubicBezTo>
                  <a:cubicBezTo>
                    <a:pt x="808762" y="451909"/>
                    <a:pt x="810762" y="445470"/>
                    <a:pt x="806018" y="438745"/>
                  </a:cubicBezTo>
                  <a:cubicBezTo>
                    <a:pt x="801761" y="432697"/>
                    <a:pt x="796170" y="425153"/>
                    <a:pt x="790226" y="417067"/>
                  </a:cubicBezTo>
                  <a:cubicBezTo>
                    <a:pt x="785121" y="410132"/>
                    <a:pt x="780339" y="403665"/>
                    <a:pt x="776110" y="397747"/>
                  </a:cubicBezTo>
                  <a:cubicBezTo>
                    <a:pt x="772671" y="392947"/>
                    <a:pt x="765890" y="391664"/>
                    <a:pt x="760975" y="394585"/>
                  </a:cubicBezTo>
                  <a:cubicBezTo>
                    <a:pt x="759565" y="395461"/>
                    <a:pt x="758393" y="396172"/>
                    <a:pt x="757003" y="397067"/>
                  </a:cubicBezTo>
                  <a:cubicBezTo>
                    <a:pt x="686032" y="442936"/>
                    <a:pt x="619737" y="382374"/>
                    <a:pt x="619737" y="323084"/>
                  </a:cubicBezTo>
                  <a:cubicBezTo>
                    <a:pt x="619737" y="263795"/>
                    <a:pt x="687384" y="203573"/>
                    <a:pt x="756945" y="249203"/>
                  </a:cubicBezTo>
                  <a:cubicBezTo>
                    <a:pt x="758308" y="250105"/>
                    <a:pt x="759565" y="250708"/>
                    <a:pt x="760975" y="251591"/>
                  </a:cubicBezTo>
                  <a:cubicBezTo>
                    <a:pt x="765890" y="254512"/>
                    <a:pt x="772805" y="253115"/>
                    <a:pt x="776148" y="248416"/>
                  </a:cubicBezTo>
                  <a:cubicBezTo>
                    <a:pt x="780377" y="242497"/>
                    <a:pt x="785102" y="236065"/>
                    <a:pt x="790207" y="229138"/>
                  </a:cubicBezTo>
                  <a:cubicBezTo>
                    <a:pt x="795560" y="221854"/>
                    <a:pt x="800580" y="215072"/>
                    <a:pt x="804618" y="209395"/>
                  </a:cubicBezTo>
                  <a:cubicBezTo>
                    <a:pt x="811362" y="199928"/>
                    <a:pt x="809571" y="193191"/>
                    <a:pt x="799903" y="186809"/>
                  </a:cubicBezTo>
                  <a:cubicBezTo>
                    <a:pt x="799027" y="186231"/>
                    <a:pt x="798199" y="185691"/>
                    <a:pt x="797522" y="185195"/>
                  </a:cubicBezTo>
                  <a:cubicBezTo>
                    <a:pt x="734285" y="144778"/>
                    <a:pt x="650665" y="152087"/>
                    <a:pt x="596563" y="207040"/>
                  </a:cubicBezTo>
                  <a:close/>
                  <a:moveTo>
                    <a:pt x="293714" y="350313"/>
                  </a:moveTo>
                  <a:lnTo>
                    <a:pt x="469385" y="350313"/>
                  </a:lnTo>
                  <a:cubicBezTo>
                    <a:pt x="490463" y="350313"/>
                    <a:pt x="507323" y="333283"/>
                    <a:pt x="507323" y="312290"/>
                  </a:cubicBezTo>
                  <a:cubicBezTo>
                    <a:pt x="507323" y="265561"/>
                    <a:pt x="499588" y="240644"/>
                    <a:pt x="472890" y="208836"/>
                  </a:cubicBezTo>
                  <a:cubicBezTo>
                    <a:pt x="445486" y="176865"/>
                    <a:pt x="401919" y="159530"/>
                    <a:pt x="368190" y="159530"/>
                  </a:cubicBezTo>
                  <a:cubicBezTo>
                    <a:pt x="283875" y="159530"/>
                    <a:pt x="219228" y="231722"/>
                    <a:pt x="219228" y="323103"/>
                  </a:cubicBezTo>
                  <a:cubicBezTo>
                    <a:pt x="219228" y="435697"/>
                    <a:pt x="306354" y="486674"/>
                    <a:pt x="375915" y="486674"/>
                  </a:cubicBezTo>
                  <a:cubicBezTo>
                    <a:pt x="425807" y="486674"/>
                    <a:pt x="464460" y="474616"/>
                    <a:pt x="502398" y="450623"/>
                  </a:cubicBezTo>
                  <a:cubicBezTo>
                    <a:pt x="506618" y="447470"/>
                    <a:pt x="508723" y="441003"/>
                    <a:pt x="505913" y="435907"/>
                  </a:cubicBezTo>
                  <a:lnTo>
                    <a:pt x="504818" y="434088"/>
                  </a:lnTo>
                  <a:cubicBezTo>
                    <a:pt x="497150" y="421362"/>
                    <a:pt x="486558" y="403789"/>
                    <a:pt x="478519" y="391689"/>
                  </a:cubicBezTo>
                  <a:cubicBezTo>
                    <a:pt x="475709" y="386901"/>
                    <a:pt x="469385" y="385492"/>
                    <a:pt x="464460" y="388476"/>
                  </a:cubicBezTo>
                  <a:cubicBezTo>
                    <a:pt x="440571" y="402722"/>
                    <a:pt x="415273" y="415266"/>
                    <a:pt x="377335" y="414990"/>
                  </a:cubicBezTo>
                  <a:cubicBezTo>
                    <a:pt x="342197" y="414742"/>
                    <a:pt x="304954" y="392280"/>
                    <a:pt x="293714" y="350313"/>
                  </a:cubicBezTo>
                  <a:close/>
                  <a:moveTo>
                    <a:pt x="430732" y="287912"/>
                  </a:moveTo>
                  <a:cubicBezTo>
                    <a:pt x="424407" y="240694"/>
                    <a:pt x="392079" y="232071"/>
                    <a:pt x="368190" y="232071"/>
                  </a:cubicBezTo>
                  <a:cubicBezTo>
                    <a:pt x="335872" y="232071"/>
                    <a:pt x="308478" y="256182"/>
                    <a:pt x="296524" y="287912"/>
                  </a:cubicBezTo>
                  <a:lnTo>
                    <a:pt x="430732" y="287912"/>
                  </a:lnTo>
                  <a:close/>
                </a:path>
              </a:pathLst>
            </a:custGeom>
            <a:grpFill/>
            <a:ln w="76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5" name="Полилиния 4">
              <a:extLst>
                <a:ext uri="{FF2B5EF4-FFF2-40B4-BE49-F238E27FC236}">
                  <a16:creationId xmlns:a16="http://schemas.microsoft.com/office/drawing/2014/main" id="{FDBF0ACD-C4F6-CDE4-3EFC-88654A3234A5}"/>
                </a:ext>
              </a:extLst>
            </p:cNvPr>
            <p:cNvSpPr/>
            <p:nvPr/>
          </p:nvSpPr>
          <p:spPr>
            <a:xfrm>
              <a:off x="8489504" y="1070894"/>
              <a:ext cx="1492273" cy="326563"/>
            </a:xfrm>
            <a:custGeom>
              <a:avLst/>
              <a:gdLst>
                <a:gd name="connsiteX0" fmla="*/ 180273 w 1492273"/>
                <a:gd name="connsiteY0" fmla="*/ 900 h 326563"/>
                <a:gd name="connsiteX1" fmla="*/ 83526 w 1492273"/>
                <a:gd name="connsiteY1" fmla="*/ 20775 h 326563"/>
                <a:gd name="connsiteX2" fmla="*/ 15954 w 1492273"/>
                <a:gd name="connsiteY2" fmla="*/ 92853 h 326563"/>
                <a:gd name="connsiteX3" fmla="*/ 2323 w 1492273"/>
                <a:gd name="connsiteY3" fmla="*/ 190737 h 326563"/>
                <a:gd name="connsiteX4" fmla="*/ 47618 w 1492273"/>
                <a:gd name="connsiteY4" fmla="*/ 278557 h 326563"/>
                <a:gd name="connsiteX5" fmla="*/ 135243 w 1492273"/>
                <a:gd name="connsiteY5" fmla="*/ 324153 h 326563"/>
                <a:gd name="connsiteX6" fmla="*/ 233098 w 1492273"/>
                <a:gd name="connsiteY6" fmla="*/ 310818 h 326563"/>
                <a:gd name="connsiteX7" fmla="*/ 305341 w 1492273"/>
                <a:gd name="connsiteY7" fmla="*/ 243429 h 326563"/>
                <a:gd name="connsiteX8" fmla="*/ 325507 w 1492273"/>
                <a:gd name="connsiteY8" fmla="*/ 146675 h 326563"/>
                <a:gd name="connsiteX9" fmla="*/ 278778 w 1492273"/>
                <a:gd name="connsiteY9" fmla="*/ 47965 h 326563"/>
                <a:gd name="connsiteX10" fmla="*/ 180273 w 1492273"/>
                <a:gd name="connsiteY10" fmla="*/ 900 h 326563"/>
                <a:gd name="connsiteX11" fmla="*/ 174984 w 1492273"/>
                <a:gd name="connsiteY11" fmla="*/ 249697 h 326563"/>
                <a:gd name="connsiteX12" fmla="*/ 122555 w 1492273"/>
                <a:gd name="connsiteY12" fmla="*/ 240277 h 326563"/>
                <a:gd name="connsiteX13" fmla="*/ 85427 w 1492273"/>
                <a:gd name="connsiteY13" fmla="*/ 202047 h 326563"/>
                <a:gd name="connsiteX14" fmla="*/ 77507 w 1492273"/>
                <a:gd name="connsiteY14" fmla="*/ 149329 h 326563"/>
                <a:gd name="connsiteX15" fmla="*/ 101766 w 1492273"/>
                <a:gd name="connsiteY15" fmla="*/ 101883 h 326563"/>
                <a:gd name="connsiteX16" fmla="*/ 149113 w 1492273"/>
                <a:gd name="connsiteY16" fmla="*/ 77461 h 326563"/>
                <a:gd name="connsiteX17" fmla="*/ 201825 w 1492273"/>
                <a:gd name="connsiteY17" fmla="*/ 85220 h 326563"/>
                <a:gd name="connsiteX18" fmla="*/ 240132 w 1492273"/>
                <a:gd name="connsiteY18" fmla="*/ 122247 h 326563"/>
                <a:gd name="connsiteX19" fmla="*/ 249714 w 1492273"/>
                <a:gd name="connsiteY19" fmla="*/ 174684 h 326563"/>
                <a:gd name="connsiteX20" fmla="*/ 225058 w 1492273"/>
                <a:gd name="connsiteY20" fmla="*/ 224868 h 326563"/>
                <a:gd name="connsiteX21" fmla="*/ 174984 w 1492273"/>
                <a:gd name="connsiteY21" fmla="*/ 249697 h 326563"/>
                <a:gd name="connsiteX22" fmla="*/ 412780 w 1492273"/>
                <a:gd name="connsiteY22" fmla="*/ 7358 h 326563"/>
                <a:gd name="connsiteX23" fmla="*/ 396435 w 1492273"/>
                <a:gd name="connsiteY23" fmla="*/ 11091 h 326563"/>
                <a:gd name="connsiteX24" fmla="*/ 383276 w 1492273"/>
                <a:gd name="connsiteY24" fmla="*/ 21498 h 326563"/>
                <a:gd name="connsiteX25" fmla="*/ 375859 w 1492273"/>
                <a:gd name="connsiteY25" fmla="*/ 36548 h 326563"/>
                <a:gd name="connsiteX26" fmla="*/ 375620 w 1492273"/>
                <a:gd name="connsiteY26" fmla="*/ 53325 h 326563"/>
                <a:gd name="connsiteX27" fmla="*/ 414209 w 1492273"/>
                <a:gd name="connsiteY27" fmla="*/ 83537 h 326563"/>
                <a:gd name="connsiteX28" fmla="*/ 520143 w 1492273"/>
                <a:gd name="connsiteY28" fmla="*/ 83537 h 326563"/>
                <a:gd name="connsiteX29" fmla="*/ 355289 w 1492273"/>
                <a:gd name="connsiteY29" fmla="*/ 301846 h 326563"/>
                <a:gd name="connsiteX30" fmla="*/ 353136 w 1492273"/>
                <a:gd name="connsiteY30" fmla="*/ 307389 h 326563"/>
                <a:gd name="connsiteX31" fmla="*/ 354212 w 1492273"/>
                <a:gd name="connsiteY31" fmla="*/ 313237 h 326563"/>
                <a:gd name="connsiteX32" fmla="*/ 358204 w 1492273"/>
                <a:gd name="connsiteY32" fmla="*/ 317647 h 326563"/>
                <a:gd name="connsiteX33" fmla="*/ 363921 w 1492273"/>
                <a:gd name="connsiteY33" fmla="*/ 319295 h 326563"/>
                <a:gd name="connsiteX34" fmla="*/ 622504 w 1492273"/>
                <a:gd name="connsiteY34" fmla="*/ 319295 h 326563"/>
                <a:gd name="connsiteX35" fmla="*/ 661099 w 1492273"/>
                <a:gd name="connsiteY35" fmla="*/ 289082 h 326563"/>
                <a:gd name="connsiteX36" fmla="*/ 660861 w 1492273"/>
                <a:gd name="connsiteY36" fmla="*/ 272299 h 326563"/>
                <a:gd name="connsiteX37" fmla="*/ 653451 w 1492273"/>
                <a:gd name="connsiteY37" fmla="*/ 257250 h 326563"/>
                <a:gd name="connsiteX38" fmla="*/ 640297 w 1492273"/>
                <a:gd name="connsiteY38" fmla="*/ 246849 h 326563"/>
                <a:gd name="connsiteX39" fmla="*/ 623952 w 1492273"/>
                <a:gd name="connsiteY39" fmla="*/ 243105 h 326563"/>
                <a:gd name="connsiteX40" fmla="*/ 494883 w 1492273"/>
                <a:gd name="connsiteY40" fmla="*/ 243105 h 326563"/>
                <a:gd name="connsiteX41" fmla="*/ 659613 w 1492273"/>
                <a:gd name="connsiteY41" fmla="*/ 24972 h 326563"/>
                <a:gd name="connsiteX42" fmla="*/ 661785 w 1492273"/>
                <a:gd name="connsiteY42" fmla="*/ 19371 h 326563"/>
                <a:gd name="connsiteX43" fmla="*/ 660690 w 1492273"/>
                <a:gd name="connsiteY43" fmla="*/ 13473 h 326563"/>
                <a:gd name="connsiteX44" fmla="*/ 656661 w 1492273"/>
                <a:gd name="connsiteY44" fmla="*/ 9021 h 326563"/>
                <a:gd name="connsiteX45" fmla="*/ 650888 w 1492273"/>
                <a:gd name="connsiteY45" fmla="*/ 7358 h 326563"/>
                <a:gd name="connsiteX46" fmla="*/ 412780 w 1492273"/>
                <a:gd name="connsiteY46" fmla="*/ 7358 h 326563"/>
                <a:gd name="connsiteX47" fmla="*/ 1446105 w 1492273"/>
                <a:gd name="connsiteY47" fmla="*/ 8240 h 326563"/>
                <a:gd name="connsiteX48" fmla="*/ 1424484 w 1492273"/>
                <a:gd name="connsiteY48" fmla="*/ 22127 h 326563"/>
                <a:gd name="connsiteX49" fmla="*/ 1416378 w 1492273"/>
                <a:gd name="connsiteY49" fmla="*/ 46473 h 326563"/>
                <a:gd name="connsiteX50" fmla="*/ 1416378 w 1492273"/>
                <a:gd name="connsiteY50" fmla="*/ 173313 h 326563"/>
                <a:gd name="connsiteX51" fmla="*/ 1210980 w 1492273"/>
                <a:gd name="connsiteY51" fmla="*/ 9758 h 326563"/>
                <a:gd name="connsiteX52" fmla="*/ 1205389 w 1492273"/>
                <a:gd name="connsiteY52" fmla="*/ 7453 h 326563"/>
                <a:gd name="connsiteX53" fmla="*/ 1199426 w 1492273"/>
                <a:gd name="connsiteY53" fmla="*/ 8482 h 326563"/>
                <a:gd name="connsiteX54" fmla="*/ 1194921 w 1492273"/>
                <a:gd name="connsiteY54" fmla="*/ 12520 h 326563"/>
                <a:gd name="connsiteX55" fmla="*/ 1193263 w 1492273"/>
                <a:gd name="connsiteY55" fmla="*/ 18343 h 326563"/>
                <a:gd name="connsiteX56" fmla="*/ 1193263 w 1492273"/>
                <a:gd name="connsiteY56" fmla="*/ 280243 h 326563"/>
                <a:gd name="connsiteX57" fmla="*/ 1201388 w 1492273"/>
                <a:gd name="connsiteY57" fmla="*/ 304589 h 326563"/>
                <a:gd name="connsiteX58" fmla="*/ 1222962 w 1492273"/>
                <a:gd name="connsiteY58" fmla="*/ 318486 h 326563"/>
                <a:gd name="connsiteX59" fmla="*/ 1239803 w 1492273"/>
                <a:gd name="connsiteY59" fmla="*/ 318362 h 326563"/>
                <a:gd name="connsiteX60" fmla="*/ 1254966 w 1492273"/>
                <a:gd name="connsiteY60" fmla="*/ 310961 h 326563"/>
                <a:gd name="connsiteX61" fmla="*/ 1265444 w 1492273"/>
                <a:gd name="connsiteY61" fmla="*/ 297721 h 326563"/>
                <a:gd name="connsiteX62" fmla="*/ 1269159 w 1492273"/>
                <a:gd name="connsiteY62" fmla="*/ 281272 h 326563"/>
                <a:gd name="connsiteX63" fmla="*/ 1269159 w 1492273"/>
                <a:gd name="connsiteY63" fmla="*/ 153323 h 326563"/>
                <a:gd name="connsiteX64" fmla="*/ 1474538 w 1492273"/>
                <a:gd name="connsiteY64" fmla="*/ 316885 h 326563"/>
                <a:gd name="connsiteX65" fmla="*/ 1480148 w 1492273"/>
                <a:gd name="connsiteY65" fmla="*/ 319190 h 326563"/>
                <a:gd name="connsiteX66" fmla="*/ 1486120 w 1492273"/>
                <a:gd name="connsiteY66" fmla="*/ 318162 h 326563"/>
                <a:gd name="connsiteX67" fmla="*/ 1490625 w 1492273"/>
                <a:gd name="connsiteY67" fmla="*/ 314123 h 326563"/>
                <a:gd name="connsiteX68" fmla="*/ 1492273 w 1492273"/>
                <a:gd name="connsiteY68" fmla="*/ 308303 h 326563"/>
                <a:gd name="connsiteX69" fmla="*/ 1492273 w 1492273"/>
                <a:gd name="connsiteY69" fmla="*/ 45444 h 326563"/>
                <a:gd name="connsiteX70" fmla="*/ 1488559 w 1492273"/>
                <a:gd name="connsiteY70" fmla="*/ 28985 h 326563"/>
                <a:gd name="connsiteX71" fmla="*/ 1478081 w 1492273"/>
                <a:gd name="connsiteY71" fmla="*/ 15759 h 326563"/>
                <a:gd name="connsiteX72" fmla="*/ 1462908 w 1492273"/>
                <a:gd name="connsiteY72" fmla="*/ 8354 h 326563"/>
                <a:gd name="connsiteX73" fmla="*/ 1446105 w 1492273"/>
                <a:gd name="connsiteY73" fmla="*/ 8240 h 326563"/>
                <a:gd name="connsiteX74" fmla="*/ 911265 w 1492273"/>
                <a:gd name="connsiteY74" fmla="*/ 76254 h 326563"/>
                <a:gd name="connsiteX75" fmla="*/ 1063066 w 1492273"/>
                <a:gd name="connsiteY75" fmla="*/ 163286 h 326563"/>
                <a:gd name="connsiteX76" fmla="*/ 911265 w 1492273"/>
                <a:gd name="connsiteY76" fmla="*/ 250325 h 326563"/>
                <a:gd name="connsiteX77" fmla="*/ 759483 w 1492273"/>
                <a:gd name="connsiteY77" fmla="*/ 163286 h 326563"/>
                <a:gd name="connsiteX78" fmla="*/ 911265 w 1492273"/>
                <a:gd name="connsiteY78" fmla="*/ 76254 h 326563"/>
                <a:gd name="connsiteX79" fmla="*/ 911265 w 1492273"/>
                <a:gd name="connsiteY79" fmla="*/ 67 h 326563"/>
                <a:gd name="connsiteX80" fmla="*/ 683578 w 1492273"/>
                <a:gd name="connsiteY80" fmla="*/ 163286 h 326563"/>
                <a:gd name="connsiteX81" fmla="*/ 911265 w 1492273"/>
                <a:gd name="connsiteY81" fmla="*/ 326506 h 326563"/>
                <a:gd name="connsiteX82" fmla="*/ 1138961 w 1492273"/>
                <a:gd name="connsiteY82" fmla="*/ 163286 h 326563"/>
                <a:gd name="connsiteX83" fmla="*/ 911265 w 1492273"/>
                <a:gd name="connsiteY83" fmla="*/ 67 h 3265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</a:cxnLst>
              <a:rect l="l" t="t" r="r" b="b"/>
              <a:pathLst>
                <a:path w="1492273" h="326563">
                  <a:moveTo>
                    <a:pt x="180273" y="900"/>
                  </a:moveTo>
                  <a:cubicBezTo>
                    <a:pt x="146739" y="-2638"/>
                    <a:pt x="112948" y="4310"/>
                    <a:pt x="83526" y="20775"/>
                  </a:cubicBezTo>
                  <a:cubicBezTo>
                    <a:pt x="54104" y="37240"/>
                    <a:pt x="30499" y="62424"/>
                    <a:pt x="15954" y="92853"/>
                  </a:cubicBezTo>
                  <a:cubicBezTo>
                    <a:pt x="1417" y="123295"/>
                    <a:pt x="-3344" y="157489"/>
                    <a:pt x="2323" y="190737"/>
                  </a:cubicBezTo>
                  <a:cubicBezTo>
                    <a:pt x="7990" y="223998"/>
                    <a:pt x="23812" y="254669"/>
                    <a:pt x="47618" y="278557"/>
                  </a:cubicBezTo>
                  <a:cubicBezTo>
                    <a:pt x="71412" y="302455"/>
                    <a:pt x="102030" y="318381"/>
                    <a:pt x="135243" y="324153"/>
                  </a:cubicBezTo>
                  <a:cubicBezTo>
                    <a:pt x="168455" y="329925"/>
                    <a:pt x="202644" y="325277"/>
                    <a:pt x="233098" y="310818"/>
                  </a:cubicBezTo>
                  <a:cubicBezTo>
                    <a:pt x="263559" y="296359"/>
                    <a:pt x="288801" y="272814"/>
                    <a:pt x="305341" y="243429"/>
                  </a:cubicBezTo>
                  <a:cubicBezTo>
                    <a:pt x="321894" y="214035"/>
                    <a:pt x="328933" y="180240"/>
                    <a:pt x="325507" y="146675"/>
                  </a:cubicBezTo>
                  <a:cubicBezTo>
                    <a:pt x="321736" y="109375"/>
                    <a:pt x="305234" y="74514"/>
                    <a:pt x="278778" y="47965"/>
                  </a:cubicBezTo>
                  <a:cubicBezTo>
                    <a:pt x="252327" y="21410"/>
                    <a:pt x="217534" y="4786"/>
                    <a:pt x="180273" y="900"/>
                  </a:cubicBezTo>
                  <a:close/>
                  <a:moveTo>
                    <a:pt x="174984" y="249697"/>
                  </a:moveTo>
                  <a:cubicBezTo>
                    <a:pt x="156946" y="252116"/>
                    <a:pt x="138617" y="248820"/>
                    <a:pt x="122555" y="240277"/>
                  </a:cubicBezTo>
                  <a:cubicBezTo>
                    <a:pt x="106488" y="231725"/>
                    <a:pt x="93505" y="218366"/>
                    <a:pt x="85427" y="202047"/>
                  </a:cubicBezTo>
                  <a:cubicBezTo>
                    <a:pt x="77349" y="185733"/>
                    <a:pt x="74579" y="167300"/>
                    <a:pt x="77507" y="149329"/>
                  </a:cubicBezTo>
                  <a:cubicBezTo>
                    <a:pt x="80440" y="131372"/>
                    <a:pt x="88922" y="114773"/>
                    <a:pt x="101766" y="101883"/>
                  </a:cubicBezTo>
                  <a:cubicBezTo>
                    <a:pt x="114610" y="88986"/>
                    <a:pt x="131176" y="80452"/>
                    <a:pt x="149113" y="77461"/>
                  </a:cubicBezTo>
                  <a:cubicBezTo>
                    <a:pt x="167057" y="74470"/>
                    <a:pt x="185493" y="77181"/>
                    <a:pt x="201825" y="85220"/>
                  </a:cubicBezTo>
                  <a:cubicBezTo>
                    <a:pt x="218145" y="93247"/>
                    <a:pt x="231543" y="106194"/>
                    <a:pt x="240132" y="122247"/>
                  </a:cubicBezTo>
                  <a:cubicBezTo>
                    <a:pt x="248725" y="138293"/>
                    <a:pt x="252068" y="156625"/>
                    <a:pt x="249714" y="174684"/>
                  </a:cubicBezTo>
                  <a:cubicBezTo>
                    <a:pt x="247233" y="193670"/>
                    <a:pt x="238569" y="211305"/>
                    <a:pt x="225058" y="224868"/>
                  </a:cubicBezTo>
                  <a:cubicBezTo>
                    <a:pt x="211546" y="238425"/>
                    <a:pt x="193948" y="247154"/>
                    <a:pt x="174984" y="249697"/>
                  </a:cubicBezTo>
                  <a:close/>
                  <a:moveTo>
                    <a:pt x="412780" y="7358"/>
                  </a:moveTo>
                  <a:cubicBezTo>
                    <a:pt x="407126" y="7370"/>
                    <a:pt x="401534" y="8646"/>
                    <a:pt x="396435" y="11091"/>
                  </a:cubicBezTo>
                  <a:cubicBezTo>
                    <a:pt x="391328" y="13536"/>
                    <a:pt x="386833" y="17092"/>
                    <a:pt x="383276" y="21498"/>
                  </a:cubicBezTo>
                  <a:cubicBezTo>
                    <a:pt x="379712" y="25899"/>
                    <a:pt x="377174" y="31042"/>
                    <a:pt x="375859" y="36548"/>
                  </a:cubicBezTo>
                  <a:cubicBezTo>
                    <a:pt x="374537" y="42053"/>
                    <a:pt x="374448" y="47787"/>
                    <a:pt x="375620" y="53325"/>
                  </a:cubicBezTo>
                  <a:cubicBezTo>
                    <a:pt x="379202" y="71282"/>
                    <a:pt x="395956" y="83537"/>
                    <a:pt x="414209" y="83537"/>
                  </a:cubicBezTo>
                  <a:lnTo>
                    <a:pt x="520143" y="83537"/>
                  </a:lnTo>
                  <a:lnTo>
                    <a:pt x="355289" y="301846"/>
                  </a:lnTo>
                  <a:cubicBezTo>
                    <a:pt x="354067" y="303455"/>
                    <a:pt x="353324" y="305379"/>
                    <a:pt x="353136" y="307389"/>
                  </a:cubicBezTo>
                  <a:cubicBezTo>
                    <a:pt x="352940" y="309399"/>
                    <a:pt x="353319" y="311428"/>
                    <a:pt x="354212" y="313237"/>
                  </a:cubicBezTo>
                  <a:cubicBezTo>
                    <a:pt x="355113" y="315047"/>
                    <a:pt x="356491" y="316581"/>
                    <a:pt x="358204" y="317647"/>
                  </a:cubicBezTo>
                  <a:cubicBezTo>
                    <a:pt x="359923" y="318714"/>
                    <a:pt x="361900" y="319286"/>
                    <a:pt x="363921" y="319295"/>
                  </a:cubicBezTo>
                  <a:lnTo>
                    <a:pt x="622504" y="319295"/>
                  </a:lnTo>
                  <a:cubicBezTo>
                    <a:pt x="640744" y="319295"/>
                    <a:pt x="657518" y="307037"/>
                    <a:pt x="661099" y="289082"/>
                  </a:cubicBezTo>
                  <a:cubicBezTo>
                    <a:pt x="662271" y="283539"/>
                    <a:pt x="662185" y="277805"/>
                    <a:pt x="660861" y="272299"/>
                  </a:cubicBezTo>
                  <a:cubicBezTo>
                    <a:pt x="659537" y="266794"/>
                    <a:pt x="657004" y="261650"/>
                    <a:pt x="653451" y="257250"/>
                  </a:cubicBezTo>
                  <a:cubicBezTo>
                    <a:pt x="649898" y="252849"/>
                    <a:pt x="645402" y="249297"/>
                    <a:pt x="640297" y="246849"/>
                  </a:cubicBezTo>
                  <a:cubicBezTo>
                    <a:pt x="635191" y="244391"/>
                    <a:pt x="629610" y="243115"/>
                    <a:pt x="623952" y="243105"/>
                  </a:cubicBezTo>
                  <a:lnTo>
                    <a:pt x="494883" y="243105"/>
                  </a:lnTo>
                  <a:lnTo>
                    <a:pt x="659613" y="24972"/>
                  </a:lnTo>
                  <a:cubicBezTo>
                    <a:pt x="660842" y="23340"/>
                    <a:pt x="661595" y="21403"/>
                    <a:pt x="661785" y="19371"/>
                  </a:cubicBezTo>
                  <a:cubicBezTo>
                    <a:pt x="661976" y="17340"/>
                    <a:pt x="661604" y="15295"/>
                    <a:pt x="660690" y="13473"/>
                  </a:cubicBezTo>
                  <a:cubicBezTo>
                    <a:pt x="659785" y="11637"/>
                    <a:pt x="658385" y="10101"/>
                    <a:pt x="656661" y="9021"/>
                  </a:cubicBezTo>
                  <a:cubicBezTo>
                    <a:pt x="654937" y="7942"/>
                    <a:pt x="652927" y="7363"/>
                    <a:pt x="650888" y="7358"/>
                  </a:cubicBezTo>
                  <a:lnTo>
                    <a:pt x="412780" y="7358"/>
                  </a:lnTo>
                  <a:close/>
                  <a:moveTo>
                    <a:pt x="1446105" y="8240"/>
                  </a:moveTo>
                  <a:cubicBezTo>
                    <a:pt x="1437514" y="10272"/>
                    <a:pt x="1429894" y="15174"/>
                    <a:pt x="1424484" y="22127"/>
                  </a:cubicBezTo>
                  <a:cubicBezTo>
                    <a:pt x="1419112" y="29080"/>
                    <a:pt x="1416254" y="37666"/>
                    <a:pt x="1416378" y="46473"/>
                  </a:cubicBezTo>
                  <a:lnTo>
                    <a:pt x="1416378" y="173313"/>
                  </a:lnTo>
                  <a:lnTo>
                    <a:pt x="1210980" y="9758"/>
                  </a:lnTo>
                  <a:cubicBezTo>
                    <a:pt x="1209361" y="8475"/>
                    <a:pt x="1207427" y="7675"/>
                    <a:pt x="1205389" y="7453"/>
                  </a:cubicBezTo>
                  <a:cubicBezTo>
                    <a:pt x="1203341" y="7230"/>
                    <a:pt x="1201274" y="7580"/>
                    <a:pt x="1199426" y="8482"/>
                  </a:cubicBezTo>
                  <a:cubicBezTo>
                    <a:pt x="1197569" y="9377"/>
                    <a:pt x="1196006" y="10773"/>
                    <a:pt x="1194921" y="12520"/>
                  </a:cubicBezTo>
                  <a:cubicBezTo>
                    <a:pt x="1193835" y="14273"/>
                    <a:pt x="1193254" y="16285"/>
                    <a:pt x="1193263" y="18343"/>
                  </a:cubicBezTo>
                  <a:lnTo>
                    <a:pt x="1193263" y="280243"/>
                  </a:lnTo>
                  <a:cubicBezTo>
                    <a:pt x="1193120" y="289054"/>
                    <a:pt x="1195987" y="297645"/>
                    <a:pt x="1201388" y="304589"/>
                  </a:cubicBezTo>
                  <a:cubicBezTo>
                    <a:pt x="1206789" y="311542"/>
                    <a:pt x="1214409" y="316447"/>
                    <a:pt x="1222962" y="318486"/>
                  </a:cubicBezTo>
                  <a:cubicBezTo>
                    <a:pt x="1228525" y="319714"/>
                    <a:pt x="1234288" y="319667"/>
                    <a:pt x="1239803" y="318362"/>
                  </a:cubicBezTo>
                  <a:cubicBezTo>
                    <a:pt x="1245346" y="317066"/>
                    <a:pt x="1250518" y="314533"/>
                    <a:pt x="1254966" y="310961"/>
                  </a:cubicBezTo>
                  <a:cubicBezTo>
                    <a:pt x="1259415" y="307389"/>
                    <a:pt x="1263006" y="302874"/>
                    <a:pt x="1265444" y="297721"/>
                  </a:cubicBezTo>
                  <a:cubicBezTo>
                    <a:pt x="1267882" y="292587"/>
                    <a:pt x="1269159" y="286958"/>
                    <a:pt x="1269159" y="281272"/>
                  </a:cubicBezTo>
                  <a:lnTo>
                    <a:pt x="1269159" y="153323"/>
                  </a:lnTo>
                  <a:lnTo>
                    <a:pt x="1474538" y="316885"/>
                  </a:lnTo>
                  <a:cubicBezTo>
                    <a:pt x="1476195" y="318171"/>
                    <a:pt x="1478138" y="318962"/>
                    <a:pt x="1480148" y="319190"/>
                  </a:cubicBezTo>
                  <a:cubicBezTo>
                    <a:pt x="1482224" y="319419"/>
                    <a:pt x="1484291" y="319057"/>
                    <a:pt x="1486120" y="318162"/>
                  </a:cubicBezTo>
                  <a:cubicBezTo>
                    <a:pt x="1487949" y="317266"/>
                    <a:pt x="1489530" y="315866"/>
                    <a:pt x="1490625" y="314123"/>
                  </a:cubicBezTo>
                  <a:cubicBezTo>
                    <a:pt x="1491721" y="312380"/>
                    <a:pt x="1492273" y="310361"/>
                    <a:pt x="1492273" y="308303"/>
                  </a:cubicBezTo>
                  <a:lnTo>
                    <a:pt x="1492273" y="45444"/>
                  </a:lnTo>
                  <a:cubicBezTo>
                    <a:pt x="1492273" y="39748"/>
                    <a:pt x="1490997" y="34123"/>
                    <a:pt x="1488559" y="28985"/>
                  </a:cubicBezTo>
                  <a:cubicBezTo>
                    <a:pt x="1486120" y="23848"/>
                    <a:pt x="1482529" y="19327"/>
                    <a:pt x="1478081" y="15759"/>
                  </a:cubicBezTo>
                  <a:cubicBezTo>
                    <a:pt x="1473633" y="12190"/>
                    <a:pt x="1468461" y="9656"/>
                    <a:pt x="1462908" y="8354"/>
                  </a:cubicBezTo>
                  <a:cubicBezTo>
                    <a:pt x="1457364" y="7059"/>
                    <a:pt x="1451649" y="7015"/>
                    <a:pt x="1446105" y="8240"/>
                  </a:cubicBezTo>
                  <a:close/>
                  <a:moveTo>
                    <a:pt x="911265" y="76254"/>
                  </a:moveTo>
                  <a:cubicBezTo>
                    <a:pt x="998152" y="76254"/>
                    <a:pt x="1063066" y="122196"/>
                    <a:pt x="1063066" y="163286"/>
                  </a:cubicBezTo>
                  <a:cubicBezTo>
                    <a:pt x="1063066" y="204383"/>
                    <a:pt x="998152" y="250325"/>
                    <a:pt x="911265" y="250325"/>
                  </a:cubicBezTo>
                  <a:cubicBezTo>
                    <a:pt x="824397" y="250325"/>
                    <a:pt x="759483" y="204383"/>
                    <a:pt x="759483" y="163286"/>
                  </a:cubicBezTo>
                  <a:cubicBezTo>
                    <a:pt x="759483" y="122196"/>
                    <a:pt x="824397" y="76254"/>
                    <a:pt x="911265" y="76254"/>
                  </a:cubicBezTo>
                  <a:close/>
                  <a:moveTo>
                    <a:pt x="911265" y="67"/>
                  </a:moveTo>
                  <a:cubicBezTo>
                    <a:pt x="785515" y="67"/>
                    <a:pt x="683578" y="73142"/>
                    <a:pt x="683578" y="163286"/>
                  </a:cubicBezTo>
                  <a:cubicBezTo>
                    <a:pt x="683578" y="253421"/>
                    <a:pt x="785515" y="326506"/>
                    <a:pt x="911265" y="326506"/>
                  </a:cubicBezTo>
                  <a:cubicBezTo>
                    <a:pt x="1037024" y="326506"/>
                    <a:pt x="1138961" y="253421"/>
                    <a:pt x="1138961" y="163286"/>
                  </a:cubicBezTo>
                  <a:cubicBezTo>
                    <a:pt x="1138961" y="73142"/>
                    <a:pt x="1037024" y="67"/>
                    <a:pt x="911265" y="67"/>
                  </a:cubicBezTo>
                  <a:close/>
                </a:path>
              </a:pathLst>
            </a:custGeom>
            <a:grpFill/>
            <a:ln w="76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41243035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8">
          <p15:clr>
            <a:srgbClr val="F26B43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_title_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9C6A208F-2A8F-8640-1889-7EF3989875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560661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33" imgH="233" progId="TCLayout.ActiveDocument.1">
                  <p:embed/>
                </p:oleObj>
              </mc:Choice>
              <mc:Fallback>
                <p:oleObj name="Слайд think-cell" r:id="rId3" imgW="233" imgH="233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9C6A208F-2A8F-8640-1889-7EF3989875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Объект 2">
            <a:extLst>
              <a:ext uri="{FF2B5EF4-FFF2-40B4-BE49-F238E27FC236}">
                <a16:creationId xmlns:a16="http://schemas.microsoft.com/office/drawing/2014/main" id="{91C59567-F70E-CC32-748F-63A920CFAA0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763" y="1520824"/>
            <a:ext cx="10910887" cy="4741864"/>
          </a:xfrm>
        </p:spPr>
        <p:txBody>
          <a:bodyPr/>
          <a:lstStyle>
            <a:lvl1pPr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2"/>
                </a:solidFill>
              </a:defRPr>
            </a:lvl1pPr>
            <a:lvl2pPr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2"/>
                </a:solidFill>
              </a:defRPr>
            </a:lvl2pPr>
            <a:lvl3pPr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2"/>
                </a:solidFill>
              </a:defRPr>
            </a:lvl3pPr>
            <a:lvl4pPr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2"/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1CD188B5-4A1B-CBD8-E7B6-3AA0E6DAFA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5099" y="420493"/>
            <a:ext cx="10910888" cy="78315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2000"/>
              </a:lnSpc>
              <a:defRPr sz="4400" spc="-30" baseline="0">
                <a:solidFill>
                  <a:schemeClr val="bg2"/>
                </a:solidFill>
              </a:defRPr>
            </a:lvl1pPr>
          </a:lstStyle>
          <a:p>
            <a:r>
              <a:rPr lang="ru-RU"/>
              <a:t>Заголовок слайда в 1 строку</a:t>
            </a:r>
          </a:p>
        </p:txBody>
      </p:sp>
      <p:sp>
        <p:nvSpPr>
          <p:cNvPr id="2" name="Прямоугольник: скругленные углы 1">
            <a:extLst>
              <a:ext uri="{FF2B5EF4-FFF2-40B4-BE49-F238E27FC236}">
                <a16:creationId xmlns:a16="http://schemas.microsoft.com/office/drawing/2014/main" id="{9FD9122D-7091-6BA2-07EA-163A1869AEA8}"/>
              </a:ext>
            </a:extLst>
          </p:cNvPr>
          <p:cNvSpPr/>
          <p:nvPr userDrawn="1"/>
        </p:nvSpPr>
        <p:spPr>
          <a:xfrm>
            <a:off x="-2138458" y="54865"/>
            <a:ext cx="1928241" cy="2826069"/>
          </a:xfrm>
          <a:prstGeom prst="roundRect">
            <a:avLst>
              <a:gd name="adj" fmla="val 5926"/>
            </a:avLst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Прямоугольник: скругленные верхние углы 8">
            <a:extLst>
              <a:ext uri="{FF2B5EF4-FFF2-40B4-BE49-F238E27FC236}">
                <a16:creationId xmlns:a16="http://schemas.microsoft.com/office/drawing/2014/main" id="{6D6F03CD-D114-F37B-E03D-2CA35E1A3592}"/>
              </a:ext>
            </a:extLst>
          </p:cNvPr>
          <p:cNvSpPr/>
          <p:nvPr/>
        </p:nvSpPr>
        <p:spPr>
          <a:xfrm>
            <a:off x="-2136930" y="0"/>
            <a:ext cx="1926713" cy="2880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36000" rtlCol="0" anchor="ctr"/>
          <a:lstStyle/>
          <a:p>
            <a:pPr algn="ctr"/>
            <a:r>
              <a:rPr lang="ru-RU" sz="1100" b="1">
                <a:solidFill>
                  <a:schemeClr val="tx1"/>
                </a:solidFill>
              </a:rPr>
              <a:t>Размеры текста</a:t>
            </a:r>
          </a:p>
        </p:txBody>
      </p:sp>
      <p:graphicFrame>
        <p:nvGraphicFramePr>
          <p:cNvPr id="10" name="Таблица 46">
            <a:extLst>
              <a:ext uri="{FF2B5EF4-FFF2-40B4-BE49-F238E27FC236}">
                <a16:creationId xmlns:a16="http://schemas.microsoft.com/office/drawing/2014/main" id="{B02E023D-DDB5-0937-D525-4B70C7E1552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64895827"/>
              </p:ext>
            </p:extLst>
          </p:nvPr>
        </p:nvGraphicFramePr>
        <p:xfrm>
          <a:off x="-2046114" y="312643"/>
          <a:ext cx="1958731" cy="2142000"/>
        </p:xfrm>
        <a:graphic>
          <a:graphicData uri="http://schemas.openxmlformats.org/drawingml/2006/table">
            <a:tbl>
              <a:tblPr/>
              <a:tblGrid>
                <a:gridCol w="532517">
                  <a:extLst>
                    <a:ext uri="{9D8B030D-6E8A-4147-A177-3AD203B41FA5}">
                      <a16:colId xmlns:a16="http://schemas.microsoft.com/office/drawing/2014/main" val="2594385797"/>
                    </a:ext>
                  </a:extLst>
                </a:gridCol>
                <a:gridCol w="1426214">
                  <a:extLst>
                    <a:ext uri="{9D8B030D-6E8A-4147-A177-3AD203B41FA5}">
                      <a16:colId xmlns:a16="http://schemas.microsoft.com/office/drawing/2014/main" val="1017723076"/>
                    </a:ext>
                  </a:extLst>
                </a:gridCol>
              </a:tblGrid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en-US" sz="1200" b="1"/>
                        <a:t>5</a:t>
                      </a:r>
                      <a:r>
                        <a:rPr lang="ru-RU" sz="1200" b="1"/>
                        <a:t>4+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0" spc="-40" baseline="0"/>
                        <a:t>акцентные цифр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8329665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en-US" sz="1200" b="1"/>
                        <a:t>44</a:t>
                      </a:r>
                      <a:endParaRPr lang="ru-RU" sz="1200" b="1"/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заголовки и самые </a:t>
                      </a:r>
                      <a:br>
                        <a:rPr lang="ru-RU" sz="1000" spc="-40" baseline="0"/>
                      </a:br>
                      <a:r>
                        <a:rPr lang="ru-RU" sz="1000" spc="-40" baseline="0"/>
                        <a:t>важные данные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17697917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24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8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подзаголовки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72780009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en-US" sz="1200" b="1"/>
                        <a:t>24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</a:t>
                      </a:r>
                      <a:r>
                        <a:rPr lang="en-US" sz="1200" b="1"/>
                        <a:t>8</a:t>
                      </a:r>
                      <a:endParaRPr lang="ru-RU" sz="1200" b="1"/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основной текст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0685745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</a:t>
                      </a:r>
                      <a:r>
                        <a:rPr lang="en-US" sz="1200" b="1">
                          <a:solidFill>
                            <a:schemeClr val="tx1"/>
                          </a:solidFill>
                        </a:rPr>
                        <a:t>8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</a:t>
                      </a:r>
                      <a:r>
                        <a:rPr lang="en-US" sz="1200" b="1">
                          <a:solidFill>
                            <a:schemeClr val="tx1"/>
                          </a:solidFill>
                        </a:rPr>
                        <a:t>4</a:t>
                      </a:r>
                      <a:endParaRPr lang="ru-RU" sz="1200" b="1">
                        <a:solidFill>
                          <a:schemeClr val="tx1"/>
                        </a:solidFill>
                      </a:endParaRP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торой уровень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текста (менее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ажная информация)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1997433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</a:t>
                      </a:r>
                      <a:r>
                        <a:rPr lang="en-US" sz="1200" b="1">
                          <a:solidFill>
                            <a:schemeClr val="tx1"/>
                          </a:solidFill>
                        </a:rPr>
                        <a:t>2</a:t>
                      </a:r>
                      <a:endParaRPr lang="ru-RU" sz="1200" b="1">
                        <a:solidFill>
                          <a:schemeClr val="tx1"/>
                        </a:solidFill>
                      </a:endParaRP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сноски, пояснения, </a:t>
                      </a:r>
                      <a:br>
                        <a:rPr lang="en-US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большие таблиц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76660845"/>
                  </a:ext>
                </a:extLst>
              </a:tr>
            </a:tbl>
          </a:graphicData>
        </a:graphic>
      </p:graphicFrame>
      <p:sp>
        <p:nvSpPr>
          <p:cNvPr id="11" name="Полилиния: фигура 10">
            <a:extLst>
              <a:ext uri="{FF2B5EF4-FFF2-40B4-BE49-F238E27FC236}">
                <a16:creationId xmlns:a16="http://schemas.microsoft.com/office/drawing/2014/main" id="{2836D397-07DF-F44E-B241-E646372182BD}"/>
              </a:ext>
            </a:extLst>
          </p:cNvPr>
          <p:cNvSpPr/>
          <p:nvPr userDrawn="1"/>
        </p:nvSpPr>
        <p:spPr>
          <a:xfrm>
            <a:off x="-2004344" y="2488864"/>
            <a:ext cx="216624" cy="228657"/>
          </a:xfrm>
          <a:custGeom>
            <a:avLst/>
            <a:gdLst>
              <a:gd name="connsiteX0" fmla="*/ 72536 w 171450"/>
              <a:gd name="connsiteY0" fmla="*/ 162210 h 180974"/>
              <a:gd name="connsiteX1" fmla="*/ 98923 w 171450"/>
              <a:gd name="connsiteY1" fmla="*/ 162210 h 180974"/>
              <a:gd name="connsiteX2" fmla="*/ 103600 w 171450"/>
              <a:gd name="connsiteY2" fmla="*/ 172160 h 180974"/>
              <a:gd name="connsiteX3" fmla="*/ 85726 w 171450"/>
              <a:gd name="connsiteY3" fmla="*/ 180974 h 180974"/>
              <a:gd name="connsiteX4" fmla="*/ 67852 w 171450"/>
              <a:gd name="connsiteY4" fmla="*/ 172160 h 180974"/>
              <a:gd name="connsiteX5" fmla="*/ 72536 w 171450"/>
              <a:gd name="connsiteY5" fmla="*/ 162210 h 180974"/>
              <a:gd name="connsiteX6" fmla="*/ 152400 w 171450"/>
              <a:gd name="connsiteY6" fmla="*/ 76200 h 180974"/>
              <a:gd name="connsiteX7" fmla="*/ 161925 w 171450"/>
              <a:gd name="connsiteY7" fmla="*/ 76200 h 180974"/>
              <a:gd name="connsiteX8" fmla="*/ 171450 w 171450"/>
              <a:gd name="connsiteY8" fmla="*/ 85725 h 180974"/>
              <a:gd name="connsiteX9" fmla="*/ 161925 w 171450"/>
              <a:gd name="connsiteY9" fmla="*/ 95250 h 180974"/>
              <a:gd name="connsiteX10" fmla="*/ 152400 w 171450"/>
              <a:gd name="connsiteY10" fmla="*/ 95250 h 180974"/>
              <a:gd name="connsiteX11" fmla="*/ 142875 w 171450"/>
              <a:gd name="connsiteY11" fmla="*/ 85725 h 180974"/>
              <a:gd name="connsiteX12" fmla="*/ 152400 w 171450"/>
              <a:gd name="connsiteY12" fmla="*/ 76200 h 180974"/>
              <a:gd name="connsiteX13" fmla="*/ 9525 w 171450"/>
              <a:gd name="connsiteY13" fmla="*/ 76200 h 180974"/>
              <a:gd name="connsiteX14" fmla="*/ 19050 w 171450"/>
              <a:gd name="connsiteY14" fmla="*/ 76200 h 180974"/>
              <a:gd name="connsiteX15" fmla="*/ 28575 w 171450"/>
              <a:gd name="connsiteY15" fmla="*/ 85725 h 180974"/>
              <a:gd name="connsiteX16" fmla="*/ 19050 w 171450"/>
              <a:gd name="connsiteY16" fmla="*/ 95250 h 180974"/>
              <a:gd name="connsiteX17" fmla="*/ 9525 w 171450"/>
              <a:gd name="connsiteY17" fmla="*/ 95250 h 180974"/>
              <a:gd name="connsiteX18" fmla="*/ 0 w 171450"/>
              <a:gd name="connsiteY18" fmla="*/ 85725 h 180974"/>
              <a:gd name="connsiteX19" fmla="*/ 9525 w 171450"/>
              <a:gd name="connsiteY19" fmla="*/ 76200 h 180974"/>
              <a:gd name="connsiteX20" fmla="*/ 85725 w 171450"/>
              <a:gd name="connsiteY20" fmla="*/ 38100 h 180974"/>
              <a:gd name="connsiteX21" fmla="*/ 133350 w 171450"/>
              <a:gd name="connsiteY21" fmla="*/ 85725 h 180974"/>
              <a:gd name="connsiteX22" fmla="*/ 123174 w 171450"/>
              <a:gd name="connsiteY22" fmla="*/ 114596 h 180974"/>
              <a:gd name="connsiteX23" fmla="*/ 114300 w 171450"/>
              <a:gd name="connsiteY23" fmla="*/ 138113 h 180974"/>
              <a:gd name="connsiteX24" fmla="*/ 85725 w 171450"/>
              <a:gd name="connsiteY24" fmla="*/ 152400 h 180974"/>
              <a:gd name="connsiteX25" fmla="*/ 57150 w 171450"/>
              <a:gd name="connsiteY25" fmla="*/ 138113 h 180974"/>
              <a:gd name="connsiteX26" fmla="*/ 48275 w 171450"/>
              <a:gd name="connsiteY26" fmla="*/ 114596 h 180974"/>
              <a:gd name="connsiteX27" fmla="*/ 38100 w 171450"/>
              <a:gd name="connsiteY27" fmla="*/ 85725 h 180974"/>
              <a:gd name="connsiteX28" fmla="*/ 85725 w 171450"/>
              <a:gd name="connsiteY28" fmla="*/ 38100 h 180974"/>
              <a:gd name="connsiteX29" fmla="*/ 136141 w 171450"/>
              <a:gd name="connsiteY29" fmla="*/ 21840 h 180974"/>
              <a:gd name="connsiteX30" fmla="*/ 149611 w 171450"/>
              <a:gd name="connsiteY30" fmla="*/ 21840 h 180974"/>
              <a:gd name="connsiteX31" fmla="*/ 149611 w 171450"/>
              <a:gd name="connsiteY31" fmla="*/ 35310 h 180974"/>
              <a:gd name="connsiteX32" fmla="*/ 140086 w 171450"/>
              <a:gd name="connsiteY32" fmla="*/ 44835 h 180974"/>
              <a:gd name="connsiteX33" fmla="*/ 126616 w 171450"/>
              <a:gd name="connsiteY33" fmla="*/ 44835 h 180974"/>
              <a:gd name="connsiteX34" fmla="*/ 126616 w 171450"/>
              <a:gd name="connsiteY34" fmla="*/ 31365 h 180974"/>
              <a:gd name="connsiteX35" fmla="*/ 21840 w 171450"/>
              <a:gd name="connsiteY35" fmla="*/ 21840 h 180974"/>
              <a:gd name="connsiteX36" fmla="*/ 35310 w 171450"/>
              <a:gd name="connsiteY36" fmla="*/ 21840 h 180974"/>
              <a:gd name="connsiteX37" fmla="*/ 44835 w 171450"/>
              <a:gd name="connsiteY37" fmla="*/ 31365 h 180974"/>
              <a:gd name="connsiteX38" fmla="*/ 44835 w 171450"/>
              <a:gd name="connsiteY38" fmla="*/ 44835 h 180974"/>
              <a:gd name="connsiteX39" fmla="*/ 31365 w 171450"/>
              <a:gd name="connsiteY39" fmla="*/ 44835 h 180974"/>
              <a:gd name="connsiteX40" fmla="*/ 21840 w 171450"/>
              <a:gd name="connsiteY40" fmla="*/ 35310 h 180974"/>
              <a:gd name="connsiteX41" fmla="*/ 21840 w 171450"/>
              <a:gd name="connsiteY41" fmla="*/ 21840 h 180974"/>
              <a:gd name="connsiteX42" fmla="*/ 85725 w 171450"/>
              <a:gd name="connsiteY42" fmla="*/ 0 h 180974"/>
              <a:gd name="connsiteX43" fmla="*/ 95250 w 171450"/>
              <a:gd name="connsiteY43" fmla="*/ 9525 h 180974"/>
              <a:gd name="connsiteX44" fmla="*/ 95250 w 171450"/>
              <a:gd name="connsiteY44" fmla="*/ 19050 h 180974"/>
              <a:gd name="connsiteX45" fmla="*/ 85725 w 171450"/>
              <a:gd name="connsiteY45" fmla="*/ 28575 h 180974"/>
              <a:gd name="connsiteX46" fmla="*/ 76200 w 171450"/>
              <a:gd name="connsiteY46" fmla="*/ 19050 h 180974"/>
              <a:gd name="connsiteX47" fmla="*/ 76200 w 171450"/>
              <a:gd name="connsiteY47" fmla="*/ 9525 h 180974"/>
              <a:gd name="connsiteX48" fmla="*/ 85725 w 171450"/>
              <a:gd name="connsiteY48" fmla="*/ 0 h 18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1450" h="180974">
                <a:moveTo>
                  <a:pt x="72536" y="162210"/>
                </a:moveTo>
                <a:cubicBezTo>
                  <a:pt x="80449" y="164140"/>
                  <a:pt x="90933" y="164211"/>
                  <a:pt x="98923" y="162210"/>
                </a:cubicBezTo>
                <a:cubicBezTo>
                  <a:pt x="105617" y="160534"/>
                  <a:pt x="105617" y="166533"/>
                  <a:pt x="103600" y="172160"/>
                </a:cubicBezTo>
                <a:cubicBezTo>
                  <a:pt x="100950" y="179549"/>
                  <a:pt x="95451" y="180974"/>
                  <a:pt x="85726" y="180974"/>
                </a:cubicBezTo>
                <a:cubicBezTo>
                  <a:pt x="76000" y="180974"/>
                  <a:pt x="70501" y="179549"/>
                  <a:pt x="67852" y="172160"/>
                </a:cubicBezTo>
                <a:cubicBezTo>
                  <a:pt x="65835" y="166534"/>
                  <a:pt x="65835" y="160576"/>
                  <a:pt x="72536" y="162210"/>
                </a:cubicBezTo>
                <a:close/>
                <a:moveTo>
                  <a:pt x="152400" y="76200"/>
                </a:moveTo>
                <a:lnTo>
                  <a:pt x="161925" y="76200"/>
                </a:lnTo>
                <a:cubicBezTo>
                  <a:pt x="167186" y="76200"/>
                  <a:pt x="171450" y="80464"/>
                  <a:pt x="171450" y="85725"/>
                </a:cubicBezTo>
                <a:cubicBezTo>
                  <a:pt x="171450" y="90986"/>
                  <a:pt x="167186" y="95250"/>
                  <a:pt x="161925" y="95250"/>
                </a:cubicBezTo>
                <a:lnTo>
                  <a:pt x="152400" y="95250"/>
                </a:lnTo>
                <a:cubicBezTo>
                  <a:pt x="147139" y="95250"/>
                  <a:pt x="142875" y="90986"/>
                  <a:pt x="142875" y="85725"/>
                </a:cubicBezTo>
                <a:cubicBezTo>
                  <a:pt x="142875" y="80464"/>
                  <a:pt x="147139" y="76200"/>
                  <a:pt x="152400" y="76200"/>
                </a:cubicBezTo>
                <a:close/>
                <a:moveTo>
                  <a:pt x="9525" y="76200"/>
                </a:moveTo>
                <a:lnTo>
                  <a:pt x="19050" y="76200"/>
                </a:lnTo>
                <a:cubicBezTo>
                  <a:pt x="24310" y="76200"/>
                  <a:pt x="28575" y="80464"/>
                  <a:pt x="28575" y="85725"/>
                </a:cubicBezTo>
                <a:cubicBezTo>
                  <a:pt x="28575" y="90986"/>
                  <a:pt x="24310" y="95250"/>
                  <a:pt x="19050" y="95250"/>
                </a:cubicBezTo>
                <a:lnTo>
                  <a:pt x="9525" y="95250"/>
                </a:lnTo>
                <a:cubicBezTo>
                  <a:pt x="4265" y="95250"/>
                  <a:pt x="0" y="90986"/>
                  <a:pt x="0" y="85725"/>
                </a:cubicBezTo>
                <a:cubicBezTo>
                  <a:pt x="0" y="80464"/>
                  <a:pt x="4265" y="76200"/>
                  <a:pt x="9525" y="76200"/>
                </a:cubicBezTo>
                <a:close/>
                <a:moveTo>
                  <a:pt x="85725" y="38100"/>
                </a:moveTo>
                <a:cubicBezTo>
                  <a:pt x="112027" y="38100"/>
                  <a:pt x="133350" y="58671"/>
                  <a:pt x="133350" y="85725"/>
                </a:cubicBezTo>
                <a:cubicBezTo>
                  <a:pt x="133350" y="100663"/>
                  <a:pt x="128144" y="107793"/>
                  <a:pt x="123174" y="114596"/>
                </a:cubicBezTo>
                <a:cubicBezTo>
                  <a:pt x="118639" y="120807"/>
                  <a:pt x="114300" y="126748"/>
                  <a:pt x="114300" y="138113"/>
                </a:cubicBezTo>
                <a:cubicBezTo>
                  <a:pt x="114300" y="147638"/>
                  <a:pt x="104775" y="152400"/>
                  <a:pt x="85725" y="152400"/>
                </a:cubicBezTo>
                <a:cubicBezTo>
                  <a:pt x="66675" y="152400"/>
                  <a:pt x="57150" y="147638"/>
                  <a:pt x="57150" y="138113"/>
                </a:cubicBezTo>
                <a:cubicBezTo>
                  <a:pt x="57150" y="126748"/>
                  <a:pt x="52811" y="120807"/>
                  <a:pt x="48275" y="114596"/>
                </a:cubicBezTo>
                <a:cubicBezTo>
                  <a:pt x="43306" y="107793"/>
                  <a:pt x="38100" y="100663"/>
                  <a:pt x="38100" y="85725"/>
                </a:cubicBezTo>
                <a:cubicBezTo>
                  <a:pt x="38100" y="57150"/>
                  <a:pt x="59422" y="38100"/>
                  <a:pt x="85725" y="38100"/>
                </a:cubicBezTo>
                <a:close/>
                <a:moveTo>
                  <a:pt x="136141" y="21840"/>
                </a:moveTo>
                <a:cubicBezTo>
                  <a:pt x="139860" y="18120"/>
                  <a:pt x="145891" y="18120"/>
                  <a:pt x="149611" y="21840"/>
                </a:cubicBezTo>
                <a:cubicBezTo>
                  <a:pt x="153330" y="25560"/>
                  <a:pt x="153330" y="31590"/>
                  <a:pt x="149611" y="35310"/>
                </a:cubicBezTo>
                <a:lnTo>
                  <a:pt x="140086" y="44835"/>
                </a:lnTo>
                <a:cubicBezTo>
                  <a:pt x="136366" y="48555"/>
                  <a:pt x="130335" y="48555"/>
                  <a:pt x="126616" y="44835"/>
                </a:cubicBezTo>
                <a:cubicBezTo>
                  <a:pt x="122896" y="41115"/>
                  <a:pt x="122896" y="35085"/>
                  <a:pt x="126616" y="31365"/>
                </a:cubicBezTo>
                <a:close/>
                <a:moveTo>
                  <a:pt x="21840" y="21840"/>
                </a:moveTo>
                <a:cubicBezTo>
                  <a:pt x="25560" y="18120"/>
                  <a:pt x="31590" y="18120"/>
                  <a:pt x="35310" y="21840"/>
                </a:cubicBezTo>
                <a:lnTo>
                  <a:pt x="44835" y="31365"/>
                </a:lnTo>
                <a:cubicBezTo>
                  <a:pt x="48555" y="35085"/>
                  <a:pt x="48555" y="41115"/>
                  <a:pt x="44835" y="44835"/>
                </a:cubicBezTo>
                <a:cubicBezTo>
                  <a:pt x="41115" y="48555"/>
                  <a:pt x="35085" y="48555"/>
                  <a:pt x="31365" y="44835"/>
                </a:cubicBezTo>
                <a:lnTo>
                  <a:pt x="21840" y="35310"/>
                </a:lnTo>
                <a:cubicBezTo>
                  <a:pt x="18120" y="31590"/>
                  <a:pt x="18120" y="25560"/>
                  <a:pt x="21840" y="21840"/>
                </a:cubicBezTo>
                <a:close/>
                <a:moveTo>
                  <a:pt x="85725" y="0"/>
                </a:moveTo>
                <a:cubicBezTo>
                  <a:pt x="90986" y="0"/>
                  <a:pt x="95250" y="4265"/>
                  <a:pt x="95250" y="9525"/>
                </a:cubicBezTo>
                <a:lnTo>
                  <a:pt x="95250" y="19050"/>
                </a:lnTo>
                <a:cubicBezTo>
                  <a:pt x="95250" y="24310"/>
                  <a:pt x="90986" y="28575"/>
                  <a:pt x="85725" y="28575"/>
                </a:cubicBezTo>
                <a:cubicBezTo>
                  <a:pt x="80464" y="28575"/>
                  <a:pt x="76200" y="24310"/>
                  <a:pt x="76200" y="19050"/>
                </a:cubicBezTo>
                <a:lnTo>
                  <a:pt x="76200" y="9525"/>
                </a:lnTo>
                <a:cubicBezTo>
                  <a:pt x="76200" y="4265"/>
                  <a:pt x="80464" y="0"/>
                  <a:pt x="85725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3DB4C809-1195-88CA-2A75-08AA1F1CFF03}"/>
              </a:ext>
            </a:extLst>
          </p:cNvPr>
          <p:cNvSpPr txBox="1"/>
          <p:nvPr/>
        </p:nvSpPr>
        <p:spPr>
          <a:xfrm>
            <a:off x="-1691344" y="2506490"/>
            <a:ext cx="1373969" cy="2428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</a:pPr>
            <a:r>
              <a:rPr lang="ru-RU" sz="900" b="0">
                <a:solidFill>
                  <a:schemeClr val="accent1"/>
                </a:solidFill>
              </a:rPr>
              <a:t>Используй эти размеры </a:t>
            </a:r>
            <a:br>
              <a:rPr lang="ru-RU" sz="900" b="0">
                <a:solidFill>
                  <a:schemeClr val="accent1"/>
                </a:solidFill>
              </a:rPr>
            </a:br>
            <a:r>
              <a:rPr lang="ru-RU" sz="900" b="0">
                <a:solidFill>
                  <a:schemeClr val="accent1"/>
                </a:solidFill>
              </a:rPr>
              <a:t>по всей презентации</a:t>
            </a:r>
          </a:p>
        </p:txBody>
      </p:sp>
      <p:sp>
        <p:nvSpPr>
          <p:cNvPr id="19" name="Номер слайда 5">
            <a:extLst>
              <a:ext uri="{FF2B5EF4-FFF2-40B4-BE49-F238E27FC236}">
                <a16:creationId xmlns:a16="http://schemas.microsoft.com/office/drawing/2014/main" id="{A29A8329-61B1-1D0C-F101-E5C427CDAC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57744" y="6430370"/>
            <a:ext cx="908050" cy="216000"/>
          </a:xfrm>
        </p:spPr>
        <p:txBody>
          <a:bodyPr/>
          <a:lstStyle>
            <a:lvl1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fld id="{EB5249F5-0093-48B0-B996-C4E44A87EAFB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46" name="Нижний колонтитул 4">
            <a:extLst>
              <a:ext uri="{FF2B5EF4-FFF2-40B4-BE49-F238E27FC236}">
                <a16:creationId xmlns:a16="http://schemas.microsoft.com/office/drawing/2014/main" id="{0FBE122B-6F03-F449-8A51-EF2384093C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458800" y="6465600"/>
            <a:ext cx="7274114" cy="144500"/>
          </a:xfrm>
        </p:spPr>
        <p:txBody>
          <a:bodyPr anchor="b"/>
          <a:lstStyle>
            <a:lvl1pPr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endParaRPr lang="ru-RU" dirty="0"/>
          </a:p>
        </p:txBody>
      </p:sp>
      <p:grpSp>
        <p:nvGrpSpPr>
          <p:cNvPr id="52" name="Группа 51">
            <a:extLst>
              <a:ext uri="{FF2B5EF4-FFF2-40B4-BE49-F238E27FC236}">
                <a16:creationId xmlns:a16="http://schemas.microsoft.com/office/drawing/2014/main" id="{CD40B8D3-24E8-264C-85C0-FC1434D6EDE9}"/>
              </a:ext>
            </a:extLst>
          </p:cNvPr>
          <p:cNvGrpSpPr/>
          <p:nvPr userDrawn="1"/>
        </p:nvGrpSpPr>
        <p:grpSpPr>
          <a:xfrm>
            <a:off x="-2138458" y="3070447"/>
            <a:ext cx="1935384" cy="3787553"/>
            <a:chOff x="-2138458" y="3070447"/>
            <a:chExt cx="1935384" cy="3787553"/>
          </a:xfrm>
        </p:grpSpPr>
        <p:sp>
          <p:nvSpPr>
            <p:cNvPr id="53" name="Прямоугольник: скругленные углы 38">
              <a:extLst>
                <a:ext uri="{FF2B5EF4-FFF2-40B4-BE49-F238E27FC236}">
                  <a16:creationId xmlns:a16="http://schemas.microsoft.com/office/drawing/2014/main" id="{87DFEA87-531E-F74C-92A0-F41FB656855E}"/>
                </a:ext>
              </a:extLst>
            </p:cNvPr>
            <p:cNvSpPr/>
            <p:nvPr/>
          </p:nvSpPr>
          <p:spPr>
            <a:xfrm>
              <a:off x="-2138458" y="3125312"/>
              <a:ext cx="1928241" cy="2468818"/>
            </a:xfrm>
            <a:prstGeom prst="roundRect">
              <a:avLst>
                <a:gd name="adj" fmla="val 5926"/>
              </a:avLst>
            </a:prstGeom>
            <a:solidFill>
              <a:schemeClr val="bg1"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4" name="Прямоугольник: скругленные верхние углы 39">
              <a:extLst>
                <a:ext uri="{FF2B5EF4-FFF2-40B4-BE49-F238E27FC236}">
                  <a16:creationId xmlns:a16="http://schemas.microsoft.com/office/drawing/2014/main" id="{A08C3FFE-FABF-CE44-AE09-62ED5723B84D}"/>
                </a:ext>
              </a:extLst>
            </p:cNvPr>
            <p:cNvSpPr/>
            <p:nvPr/>
          </p:nvSpPr>
          <p:spPr>
            <a:xfrm>
              <a:off x="-2136930" y="3070447"/>
              <a:ext cx="1926713" cy="28800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36000" rtlCol="0" anchor="ctr"/>
            <a:lstStyle/>
            <a:p>
              <a:pPr algn="ctr"/>
              <a:r>
                <a:rPr lang="ru-RU" sz="1100" b="1">
                  <a:solidFill>
                    <a:schemeClr val="tx1"/>
                  </a:solidFill>
                </a:rPr>
                <a:t>Цвета </a:t>
              </a:r>
              <a:r>
                <a:rPr lang="en-US" sz="1100" b="1">
                  <a:solidFill>
                    <a:schemeClr val="tx1"/>
                  </a:solidFill>
                </a:rPr>
                <a:t>Ozon</a:t>
              </a:r>
              <a:endParaRPr lang="ru-RU" sz="1100" b="1">
                <a:solidFill>
                  <a:schemeClr val="tx1"/>
                </a:solidFill>
              </a:endParaRPr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31636D6C-9228-D347-AA6A-62840DC50B9C}"/>
                </a:ext>
              </a:extLst>
            </p:cNvPr>
            <p:cNvSpPr txBox="1"/>
            <p:nvPr userDrawn="1"/>
          </p:nvSpPr>
          <p:spPr>
            <a:xfrm>
              <a:off x="-2003446" y="3412239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текста </a:t>
              </a:r>
            </a:p>
          </p:txBody>
        </p:sp>
        <p:sp>
          <p:nvSpPr>
            <p:cNvPr id="56" name="Прямоугольник: скругленные углы 41">
              <a:extLst>
                <a:ext uri="{FF2B5EF4-FFF2-40B4-BE49-F238E27FC236}">
                  <a16:creationId xmlns:a16="http://schemas.microsoft.com/office/drawing/2014/main" id="{5CE50745-3ABA-6344-8769-F4008559C2FA}"/>
                </a:ext>
              </a:extLst>
            </p:cNvPr>
            <p:cNvSpPr/>
            <p:nvPr userDrawn="1"/>
          </p:nvSpPr>
          <p:spPr>
            <a:xfrm>
              <a:off x="-2004344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7" name="Прямоугольник: скругленные углы 42">
              <a:extLst>
                <a:ext uri="{FF2B5EF4-FFF2-40B4-BE49-F238E27FC236}">
                  <a16:creationId xmlns:a16="http://schemas.microsoft.com/office/drawing/2014/main" id="{E38D4DD0-09F8-8D4A-8C84-D6E6FB5E507C}"/>
                </a:ext>
              </a:extLst>
            </p:cNvPr>
            <p:cNvSpPr/>
            <p:nvPr userDrawn="1"/>
          </p:nvSpPr>
          <p:spPr>
            <a:xfrm>
              <a:off x="-1738339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6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8" name="Прямоугольник: скругленные углы 43">
              <a:extLst>
                <a:ext uri="{FF2B5EF4-FFF2-40B4-BE49-F238E27FC236}">
                  <a16:creationId xmlns:a16="http://schemas.microsoft.com/office/drawing/2014/main" id="{91871802-B610-DB41-81CF-7E4B726A9B1E}"/>
                </a:ext>
              </a:extLst>
            </p:cNvPr>
            <p:cNvSpPr/>
            <p:nvPr userDrawn="1"/>
          </p:nvSpPr>
          <p:spPr>
            <a:xfrm>
              <a:off x="-1739900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3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9" name="Прямоугольник: скругленные углы 44">
              <a:extLst>
                <a:ext uri="{FF2B5EF4-FFF2-40B4-BE49-F238E27FC236}">
                  <a16:creationId xmlns:a16="http://schemas.microsoft.com/office/drawing/2014/main" id="{62D19D4D-290B-F246-97F2-DF4B8D54DEA5}"/>
                </a:ext>
              </a:extLst>
            </p:cNvPr>
            <p:cNvSpPr/>
            <p:nvPr userDrawn="1"/>
          </p:nvSpPr>
          <p:spPr>
            <a:xfrm>
              <a:off x="-2004963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CB54DE0B-9074-6B49-9670-B0DBF76553DC}"/>
                </a:ext>
              </a:extLst>
            </p:cNvPr>
            <p:cNvSpPr txBox="1"/>
            <p:nvPr userDrawn="1"/>
          </p:nvSpPr>
          <p:spPr>
            <a:xfrm>
              <a:off x="-2003446" y="3935644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больших плашек</a:t>
              </a:r>
            </a:p>
          </p:txBody>
        </p:sp>
        <p:sp>
          <p:nvSpPr>
            <p:cNvPr id="61" name="Прямоугольник: скругленные углы 47">
              <a:extLst>
                <a:ext uri="{FF2B5EF4-FFF2-40B4-BE49-F238E27FC236}">
                  <a16:creationId xmlns:a16="http://schemas.microsoft.com/office/drawing/2014/main" id="{BF38892E-42CC-5C42-B912-AB75FEA670BF}"/>
                </a:ext>
              </a:extLst>
            </p:cNvPr>
            <p:cNvSpPr/>
            <p:nvPr userDrawn="1"/>
          </p:nvSpPr>
          <p:spPr>
            <a:xfrm>
              <a:off x="-2004963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tx2">
                <a:lumMod val="90000"/>
                <a:lumOff val="10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2" name="Прямоугольник: скругленные углы 48">
              <a:extLst>
                <a:ext uri="{FF2B5EF4-FFF2-40B4-BE49-F238E27FC236}">
                  <a16:creationId xmlns:a16="http://schemas.microsoft.com/office/drawing/2014/main" id="{14BA909E-BAC9-614A-AE11-8576ABEF5F9D}"/>
                </a:ext>
              </a:extLst>
            </p:cNvPr>
            <p:cNvSpPr/>
            <p:nvPr userDrawn="1"/>
          </p:nvSpPr>
          <p:spPr>
            <a:xfrm>
              <a:off x="-1739900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7B484EEE-6D18-BF43-B170-E22BFBC059D5}"/>
                </a:ext>
              </a:extLst>
            </p:cNvPr>
            <p:cNvSpPr txBox="1"/>
            <p:nvPr userDrawn="1"/>
          </p:nvSpPr>
          <p:spPr>
            <a:xfrm>
              <a:off x="-2003446" y="4451492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а маленьких плашек</a:t>
              </a:r>
            </a:p>
          </p:txBody>
        </p:sp>
        <p:sp>
          <p:nvSpPr>
            <p:cNvPr id="64" name="Прямоугольник: скругленные углы 51">
              <a:extLst>
                <a:ext uri="{FF2B5EF4-FFF2-40B4-BE49-F238E27FC236}">
                  <a16:creationId xmlns:a16="http://schemas.microsoft.com/office/drawing/2014/main" id="{BA2BF39B-30D4-1243-9DA0-BCFA88B73294}"/>
                </a:ext>
              </a:extLst>
            </p:cNvPr>
            <p:cNvSpPr/>
            <p:nvPr userDrawn="1"/>
          </p:nvSpPr>
          <p:spPr>
            <a:xfrm>
              <a:off x="-1475201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tx2"/>
            </a:solidFill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5" name="Прямоугольник: скругленные углы 52">
              <a:extLst>
                <a:ext uri="{FF2B5EF4-FFF2-40B4-BE49-F238E27FC236}">
                  <a16:creationId xmlns:a16="http://schemas.microsoft.com/office/drawing/2014/main" id="{DFD03D11-B20F-0748-8D11-A010007E896D}"/>
                </a:ext>
              </a:extLst>
            </p:cNvPr>
            <p:cNvSpPr/>
            <p:nvPr userDrawn="1"/>
          </p:nvSpPr>
          <p:spPr>
            <a:xfrm>
              <a:off x="-1739900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B7EDC9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6" name="Прямоугольник: скругленные углы 53">
              <a:extLst>
                <a:ext uri="{FF2B5EF4-FFF2-40B4-BE49-F238E27FC236}">
                  <a16:creationId xmlns:a16="http://schemas.microsoft.com/office/drawing/2014/main" id="{191FA80E-7E6F-524F-87F2-B5F9B5BE989E}"/>
                </a:ext>
              </a:extLst>
            </p:cNvPr>
            <p:cNvSpPr/>
            <p:nvPr userDrawn="1"/>
          </p:nvSpPr>
          <p:spPr>
            <a:xfrm>
              <a:off x="-1474837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FA800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7" name="Прямоугольник: скругленные углы 54">
              <a:extLst>
                <a:ext uri="{FF2B5EF4-FFF2-40B4-BE49-F238E27FC236}">
                  <a16:creationId xmlns:a16="http://schemas.microsoft.com/office/drawing/2014/main" id="{81823188-BE99-B54D-8E8B-15DD74D2484A}"/>
                </a:ext>
              </a:extLst>
            </p:cNvPr>
            <p:cNvSpPr/>
            <p:nvPr userDrawn="1"/>
          </p:nvSpPr>
          <p:spPr>
            <a:xfrm>
              <a:off x="-2004963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10C44C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CF9B11DC-0D71-2046-8453-441AAF65778E}"/>
                </a:ext>
              </a:extLst>
            </p:cNvPr>
            <p:cNvSpPr txBox="1"/>
            <p:nvPr userDrawn="1"/>
          </p:nvSpPr>
          <p:spPr>
            <a:xfrm>
              <a:off x="-2003446" y="4973480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900"/>
                <a:t>Рост / падение показателей</a:t>
              </a:r>
            </a:p>
          </p:txBody>
        </p:sp>
        <p:sp>
          <p:nvSpPr>
            <p:cNvPr id="69" name="Прямоугольник: скругленные углы 56">
              <a:extLst>
                <a:ext uri="{FF2B5EF4-FFF2-40B4-BE49-F238E27FC236}">
                  <a16:creationId xmlns:a16="http://schemas.microsoft.com/office/drawing/2014/main" id="{1D1FB393-22CD-6344-85CF-45954E78F599}"/>
                </a:ext>
              </a:extLst>
            </p:cNvPr>
            <p:cNvSpPr/>
            <p:nvPr userDrawn="1"/>
          </p:nvSpPr>
          <p:spPr>
            <a:xfrm>
              <a:off x="-1209774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1">
                <a:lumMod val="20000"/>
                <a:lumOff val="80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0" name="Прямоугольник: скругленные углы 57">
              <a:extLst>
                <a:ext uri="{FF2B5EF4-FFF2-40B4-BE49-F238E27FC236}">
                  <a16:creationId xmlns:a16="http://schemas.microsoft.com/office/drawing/2014/main" id="{54E3B481-6EB1-B943-86CF-51D34ADE0FB3}"/>
                </a:ext>
              </a:extLst>
            </p:cNvPr>
            <p:cNvSpPr/>
            <p:nvPr/>
          </p:nvSpPr>
          <p:spPr>
            <a:xfrm>
              <a:off x="-2131314" y="5782119"/>
              <a:ext cx="1928240" cy="1075881"/>
            </a:xfrm>
            <a:prstGeom prst="roundRect">
              <a:avLst>
                <a:gd name="adj" fmla="val 12985"/>
              </a:avLst>
            </a:prstGeom>
            <a:solidFill>
              <a:schemeClr val="bg1"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0B04E244-CF38-B64E-AA60-219EC1A1A794}"/>
                </a:ext>
              </a:extLst>
            </p:cNvPr>
            <p:cNvSpPr txBox="1"/>
            <p:nvPr/>
          </p:nvSpPr>
          <p:spPr>
            <a:xfrm>
              <a:off x="-1788338" y="5868204"/>
              <a:ext cx="1155882" cy="15109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l">
                <a:lnSpc>
                  <a:spcPct val="90000"/>
                </a:lnSpc>
              </a:pPr>
              <a:r>
                <a:rPr lang="ru-RU" sz="1000" b="1">
                  <a:solidFill>
                    <a:schemeClr val="accent1"/>
                  </a:solidFill>
                </a:rPr>
                <a:t>Шаблон </a:t>
              </a:r>
              <a:r>
                <a:rPr lang="en-US" sz="1000" b="1">
                  <a:solidFill>
                    <a:schemeClr val="accent1"/>
                  </a:solidFill>
                </a:rPr>
                <a:t>Ozon</a:t>
              </a:r>
              <a:endParaRPr lang="ru-RU" sz="1000" b="1">
                <a:solidFill>
                  <a:schemeClr val="accent1"/>
                </a:solidFill>
              </a:endParaRPr>
            </a:p>
          </p:txBody>
        </p:sp>
        <p:sp>
          <p:nvSpPr>
            <p:cNvPr id="72" name="Рисунок 93">
              <a:extLst>
                <a:ext uri="{FF2B5EF4-FFF2-40B4-BE49-F238E27FC236}">
                  <a16:creationId xmlns:a16="http://schemas.microsoft.com/office/drawing/2014/main" id="{35147528-19B0-E946-8A66-6FFB22C5F598}"/>
                </a:ext>
              </a:extLst>
            </p:cNvPr>
            <p:cNvSpPr/>
            <p:nvPr/>
          </p:nvSpPr>
          <p:spPr>
            <a:xfrm>
              <a:off x="-2004963" y="5853908"/>
              <a:ext cx="161099" cy="161099"/>
            </a:xfrm>
            <a:custGeom>
              <a:avLst/>
              <a:gdLst>
                <a:gd name="connsiteX0" fmla="*/ 85725 w 171450"/>
                <a:gd name="connsiteY0" fmla="*/ 171450 h 171450"/>
                <a:gd name="connsiteX1" fmla="*/ 171450 w 171450"/>
                <a:gd name="connsiteY1" fmla="*/ 85725 h 171450"/>
                <a:gd name="connsiteX2" fmla="*/ 85725 w 171450"/>
                <a:gd name="connsiteY2" fmla="*/ 0 h 171450"/>
                <a:gd name="connsiteX3" fmla="*/ 0 w 171450"/>
                <a:gd name="connsiteY3" fmla="*/ 85725 h 171450"/>
                <a:gd name="connsiteX4" fmla="*/ 85725 w 171450"/>
                <a:gd name="connsiteY4" fmla="*/ 171450 h 171450"/>
                <a:gd name="connsiteX5" fmla="*/ 130560 w 171450"/>
                <a:gd name="connsiteY5" fmla="*/ 73410 h 171450"/>
                <a:gd name="connsiteX6" fmla="*/ 82935 w 171450"/>
                <a:gd name="connsiteY6" fmla="*/ 121035 h 171450"/>
                <a:gd name="connsiteX7" fmla="*/ 69465 w 171450"/>
                <a:gd name="connsiteY7" fmla="*/ 121035 h 171450"/>
                <a:gd name="connsiteX8" fmla="*/ 40890 w 171450"/>
                <a:gd name="connsiteY8" fmla="*/ 92460 h 171450"/>
                <a:gd name="connsiteX9" fmla="*/ 40890 w 171450"/>
                <a:gd name="connsiteY9" fmla="*/ 78990 h 171450"/>
                <a:gd name="connsiteX10" fmla="*/ 54360 w 171450"/>
                <a:gd name="connsiteY10" fmla="*/ 78990 h 171450"/>
                <a:gd name="connsiteX11" fmla="*/ 76200 w 171450"/>
                <a:gd name="connsiteY11" fmla="*/ 100830 h 171450"/>
                <a:gd name="connsiteX12" fmla="*/ 117090 w 171450"/>
                <a:gd name="connsiteY12" fmla="*/ 59940 h 171450"/>
                <a:gd name="connsiteX13" fmla="*/ 130560 w 171450"/>
                <a:gd name="connsiteY13" fmla="*/ 59940 h 171450"/>
                <a:gd name="connsiteX14" fmla="*/ 130560 w 171450"/>
                <a:gd name="connsiteY14" fmla="*/ 7341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71450" h="171450">
                  <a:moveTo>
                    <a:pt x="85725" y="171450"/>
                  </a:moveTo>
                  <a:cubicBezTo>
                    <a:pt x="138915" y="171450"/>
                    <a:pt x="171450" y="138915"/>
                    <a:pt x="171450" y="85725"/>
                  </a:cubicBezTo>
                  <a:cubicBezTo>
                    <a:pt x="171450" y="32535"/>
                    <a:pt x="138915" y="0"/>
                    <a:pt x="85725" y="0"/>
                  </a:cubicBezTo>
                  <a:cubicBezTo>
                    <a:pt x="32535" y="0"/>
                    <a:pt x="0" y="32535"/>
                    <a:pt x="0" y="85725"/>
                  </a:cubicBezTo>
                  <a:cubicBezTo>
                    <a:pt x="0" y="138915"/>
                    <a:pt x="32535" y="171450"/>
                    <a:pt x="85725" y="171450"/>
                  </a:cubicBezTo>
                  <a:close/>
                  <a:moveTo>
                    <a:pt x="130560" y="73410"/>
                  </a:moveTo>
                  <a:lnTo>
                    <a:pt x="82935" y="121035"/>
                  </a:lnTo>
                  <a:cubicBezTo>
                    <a:pt x="79216" y="124755"/>
                    <a:pt x="73184" y="124755"/>
                    <a:pt x="69465" y="121035"/>
                  </a:cubicBezTo>
                  <a:lnTo>
                    <a:pt x="40890" y="92460"/>
                  </a:lnTo>
                  <a:cubicBezTo>
                    <a:pt x="37170" y="88741"/>
                    <a:pt x="37170" y="82709"/>
                    <a:pt x="40890" y="78990"/>
                  </a:cubicBezTo>
                  <a:cubicBezTo>
                    <a:pt x="44610" y="75270"/>
                    <a:pt x="50640" y="75270"/>
                    <a:pt x="54360" y="78990"/>
                  </a:cubicBezTo>
                  <a:lnTo>
                    <a:pt x="76200" y="100830"/>
                  </a:lnTo>
                  <a:lnTo>
                    <a:pt x="117090" y="59940"/>
                  </a:lnTo>
                  <a:cubicBezTo>
                    <a:pt x="120809" y="56220"/>
                    <a:pt x="126841" y="56220"/>
                    <a:pt x="130560" y="59940"/>
                  </a:cubicBezTo>
                  <a:cubicBezTo>
                    <a:pt x="134280" y="63660"/>
                    <a:pt x="134280" y="69691"/>
                    <a:pt x="130560" y="7341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D85766C7-FAC3-F74D-8B14-A598B57ABFC3}"/>
                </a:ext>
              </a:extLst>
            </p:cNvPr>
            <p:cNvSpPr txBox="1"/>
            <p:nvPr/>
          </p:nvSpPr>
          <p:spPr>
            <a:xfrm>
              <a:off x="-2004962" y="6072106"/>
              <a:ext cx="1687587" cy="60024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>
                <a:lnSpc>
                  <a:spcPct val="110000"/>
                </a:lnSpc>
              </a:pPr>
              <a:r>
                <a:rPr lang="ru-RU" sz="900" spc="-30" baseline="0">
                  <a:solidFill>
                    <a:schemeClr val="tx2"/>
                  </a:solidFill>
                </a:rPr>
                <a:t>Если нужно больше материалов: </a:t>
              </a:r>
              <a:r>
                <a:rPr lang="ru-RU" sz="900" b="1" spc="-30" baseline="0">
                  <a:solidFill>
                    <a:schemeClr val="tx2"/>
                  </a:solidFill>
                </a:rPr>
                <a:t>правое меню </a:t>
              </a:r>
              <a:r>
                <a:rPr lang="en-US" sz="900" b="1" spc="-30" baseline="0">
                  <a:solidFill>
                    <a:schemeClr val="tx2"/>
                  </a:solidFill>
                </a:rPr>
                <a:t>Staff — Brand </a:t>
              </a:r>
              <a:r>
                <a:rPr lang="ru-RU" sz="900" b="1" spc="-30" baseline="0">
                  <a:solidFill>
                    <a:schemeClr val="tx2"/>
                  </a:solidFill>
                </a:rPr>
                <a:t>— Всё для презентаций. </a:t>
              </a:r>
              <a:r>
                <a:rPr lang="ru-RU" sz="900" b="0" spc="-30" baseline="0">
                  <a:solidFill>
                    <a:schemeClr val="tx2"/>
                  </a:solidFill>
                </a:rPr>
                <a:t>Или пиши нам на </a:t>
              </a:r>
              <a:r>
                <a:rPr lang="en-US" sz="900" b="0" spc="-30" baseline="0">
                  <a:solidFill>
                    <a:schemeClr val="tx2"/>
                  </a:solidFill>
                </a:rPr>
                <a:t>presentations@ozon.ru.</a:t>
              </a:r>
              <a:r>
                <a:rPr lang="ru-RU" sz="900" b="0" spc="-30" baseline="0">
                  <a:solidFill>
                    <a:schemeClr val="tx2"/>
                  </a:solidFill>
                </a:rPr>
                <a:t> </a:t>
              </a:r>
            </a:p>
          </p:txBody>
        </p:sp>
        <p:sp>
          <p:nvSpPr>
            <p:cNvPr id="74" name="Прямоугольник: скругленные углы 63">
              <a:extLst>
                <a:ext uri="{FF2B5EF4-FFF2-40B4-BE49-F238E27FC236}">
                  <a16:creationId xmlns:a16="http://schemas.microsoft.com/office/drawing/2014/main" id="{39DAF63A-0D95-7E4C-B25A-02F26405A485}"/>
                </a:ext>
              </a:extLst>
            </p:cNvPr>
            <p:cNvSpPr/>
            <p:nvPr userDrawn="1"/>
          </p:nvSpPr>
          <p:spPr>
            <a:xfrm>
              <a:off x="-944711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53C14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5" name="Прямоугольник: скругленные углы 64">
              <a:extLst>
                <a:ext uri="{FF2B5EF4-FFF2-40B4-BE49-F238E27FC236}">
                  <a16:creationId xmlns:a16="http://schemas.microsoft.com/office/drawing/2014/main" id="{F410DCAF-B1CC-D542-B1C9-32D6C9CDB88B}"/>
                </a:ext>
              </a:extLst>
            </p:cNvPr>
            <p:cNvSpPr/>
            <p:nvPr userDrawn="1"/>
          </p:nvSpPr>
          <p:spPr>
            <a:xfrm>
              <a:off x="-679648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CC4B8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6" name="Прямоугольник: скругленные углы 65">
              <a:extLst>
                <a:ext uri="{FF2B5EF4-FFF2-40B4-BE49-F238E27FC236}">
                  <a16:creationId xmlns:a16="http://schemas.microsoft.com/office/drawing/2014/main" id="{DB061076-650D-9B43-B391-0286E34B39D6}"/>
                </a:ext>
              </a:extLst>
            </p:cNvPr>
            <p:cNvSpPr/>
            <p:nvPr userDrawn="1"/>
          </p:nvSpPr>
          <p:spPr>
            <a:xfrm>
              <a:off x="-1209774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FE5B2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7" name="Прямоугольник: скругленные углы 13">
              <a:extLst>
                <a:ext uri="{FF2B5EF4-FFF2-40B4-BE49-F238E27FC236}">
                  <a16:creationId xmlns:a16="http://schemas.microsoft.com/office/drawing/2014/main" id="{A946D9E3-8CF1-6241-AF90-F423F54564F4}"/>
                </a:ext>
              </a:extLst>
            </p:cNvPr>
            <p:cNvSpPr/>
            <p:nvPr userDrawn="1"/>
          </p:nvSpPr>
          <p:spPr>
            <a:xfrm>
              <a:off x="-2004344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8" name="Прямоугольник: скругленные углы 15">
              <a:extLst>
                <a:ext uri="{FF2B5EF4-FFF2-40B4-BE49-F238E27FC236}">
                  <a16:creationId xmlns:a16="http://schemas.microsoft.com/office/drawing/2014/main" id="{E8268C33-E090-A14C-9C07-B468D91008FC}"/>
                </a:ext>
              </a:extLst>
            </p:cNvPr>
            <p:cNvSpPr/>
            <p:nvPr userDrawn="1"/>
          </p:nvSpPr>
          <p:spPr>
            <a:xfrm>
              <a:off x="-1738339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6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9" name="Прямоугольник: скругленные углы 48">
              <a:extLst>
                <a:ext uri="{FF2B5EF4-FFF2-40B4-BE49-F238E27FC236}">
                  <a16:creationId xmlns:a16="http://schemas.microsoft.com/office/drawing/2014/main" id="{62F65EA2-20EE-6B4D-865D-15F5B087A62F}"/>
                </a:ext>
              </a:extLst>
            </p:cNvPr>
            <p:cNvSpPr/>
            <p:nvPr userDrawn="1"/>
          </p:nvSpPr>
          <p:spPr>
            <a:xfrm>
              <a:off x="-1475201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tx2"/>
            </a:solidFill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0" name="Прямоугольник: скругленные углы 56">
              <a:extLst>
                <a:ext uri="{FF2B5EF4-FFF2-40B4-BE49-F238E27FC236}">
                  <a16:creationId xmlns:a16="http://schemas.microsoft.com/office/drawing/2014/main" id="{AF66D908-4146-8D46-A58F-D40A77607E33}"/>
                </a:ext>
              </a:extLst>
            </p:cNvPr>
            <p:cNvSpPr/>
            <p:nvPr userDrawn="1"/>
          </p:nvSpPr>
          <p:spPr>
            <a:xfrm>
              <a:off x="-946163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E6240D0B-2E31-9302-6B58-3B7412E1163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641985" y="6415289"/>
            <a:ext cx="1044575" cy="231716"/>
            <a:chOff x="8489504" y="910877"/>
            <a:chExt cx="2734509" cy="606592"/>
          </a:xfrm>
          <a:solidFill>
            <a:schemeClr val="bg1"/>
          </a:solidFill>
        </p:grpSpPr>
        <p:sp>
          <p:nvSpPr>
            <p:cNvPr id="6" name="Полилиния 5">
              <a:extLst>
                <a:ext uri="{FF2B5EF4-FFF2-40B4-BE49-F238E27FC236}">
                  <a16:creationId xmlns:a16="http://schemas.microsoft.com/office/drawing/2014/main" id="{BD21EFF2-72C3-0638-ECC9-89544A8A78EE}"/>
                </a:ext>
              </a:extLst>
            </p:cNvPr>
            <p:cNvSpPr/>
            <p:nvPr/>
          </p:nvSpPr>
          <p:spPr>
            <a:xfrm>
              <a:off x="10064626" y="910877"/>
              <a:ext cx="1159387" cy="606592"/>
            </a:xfrm>
            <a:custGeom>
              <a:avLst/>
              <a:gdLst>
                <a:gd name="connsiteX0" fmla="*/ 0 w 1159387"/>
                <a:gd name="connsiteY0" fmla="*/ 178242 h 606592"/>
                <a:gd name="connsiteX1" fmla="*/ 0 w 1159387"/>
                <a:gd name="connsiteY1" fmla="*/ 237024 h 606592"/>
                <a:gd name="connsiteX2" fmla="*/ 9135 w 1159387"/>
                <a:gd name="connsiteY2" fmla="*/ 246098 h 606592"/>
                <a:gd name="connsiteX3" fmla="*/ 30214 w 1159387"/>
                <a:gd name="connsiteY3" fmla="*/ 250009 h 606592"/>
                <a:gd name="connsiteX4" fmla="*/ 32261 w 1159387"/>
                <a:gd name="connsiteY4" fmla="*/ 250607 h 606592"/>
                <a:gd name="connsiteX5" fmla="*/ 85030 w 1159387"/>
                <a:gd name="connsiteY5" fmla="*/ 319338 h 606592"/>
                <a:gd name="connsiteX6" fmla="*/ 85030 w 1159387"/>
                <a:gd name="connsiteY6" fmla="*/ 483817 h 606592"/>
                <a:gd name="connsiteX7" fmla="*/ 120863 w 1159387"/>
                <a:gd name="connsiteY7" fmla="*/ 570989 h 606592"/>
                <a:gd name="connsiteX8" fmla="*/ 205874 w 1159387"/>
                <a:gd name="connsiteY8" fmla="*/ 606364 h 606592"/>
                <a:gd name="connsiteX9" fmla="*/ 207284 w 1159387"/>
                <a:gd name="connsiteY9" fmla="*/ 606364 h 606592"/>
                <a:gd name="connsiteX10" fmla="*/ 235964 w 1159387"/>
                <a:gd name="connsiteY10" fmla="*/ 606364 h 606592"/>
                <a:gd name="connsiteX11" fmla="*/ 247356 w 1159387"/>
                <a:gd name="connsiteY11" fmla="*/ 593268 h 606592"/>
                <a:gd name="connsiteX12" fmla="*/ 247337 w 1159387"/>
                <a:gd name="connsiteY12" fmla="*/ 563750 h 606592"/>
                <a:gd name="connsiteX13" fmla="*/ 247337 w 1159387"/>
                <a:gd name="connsiteY13" fmla="*/ 541928 h 606592"/>
                <a:gd name="connsiteX14" fmla="*/ 236802 w 1159387"/>
                <a:gd name="connsiteY14" fmla="*/ 530565 h 606592"/>
                <a:gd name="connsiteX15" fmla="*/ 197454 w 1159387"/>
                <a:gd name="connsiteY15" fmla="*/ 530527 h 606592"/>
                <a:gd name="connsiteX16" fmla="*/ 159506 w 1159387"/>
                <a:gd name="connsiteY16" fmla="*/ 492285 h 606592"/>
                <a:gd name="connsiteX17" fmla="*/ 159506 w 1159387"/>
                <a:gd name="connsiteY17" fmla="*/ 403084 h 606592"/>
                <a:gd name="connsiteX18" fmla="*/ 159506 w 1159387"/>
                <a:gd name="connsiteY18" fmla="*/ 316772 h 606592"/>
                <a:gd name="connsiteX19" fmla="*/ 100365 w 1159387"/>
                <a:gd name="connsiteY19" fmla="*/ 207274 h 606592"/>
                <a:gd name="connsiteX20" fmla="*/ 99080 w 1159387"/>
                <a:gd name="connsiteY20" fmla="*/ 206423 h 606592"/>
                <a:gd name="connsiteX21" fmla="*/ 100356 w 1159387"/>
                <a:gd name="connsiteY21" fmla="*/ 205547 h 606592"/>
                <a:gd name="connsiteX22" fmla="*/ 159506 w 1159387"/>
                <a:gd name="connsiteY22" fmla="*/ 90665 h 606592"/>
                <a:gd name="connsiteX23" fmla="*/ 159506 w 1159387"/>
                <a:gd name="connsiteY23" fmla="*/ 10992 h 606592"/>
                <a:gd name="connsiteX24" fmla="*/ 148962 w 1159387"/>
                <a:gd name="connsiteY24" fmla="*/ 0 h 606592"/>
                <a:gd name="connsiteX25" fmla="*/ 95565 w 1159387"/>
                <a:gd name="connsiteY25" fmla="*/ 0 h 606592"/>
                <a:gd name="connsiteX26" fmla="*/ 85030 w 1159387"/>
                <a:gd name="connsiteY26" fmla="*/ 10992 h 606592"/>
                <a:gd name="connsiteX27" fmla="*/ 85030 w 1159387"/>
                <a:gd name="connsiteY27" fmla="*/ 90665 h 606592"/>
                <a:gd name="connsiteX28" fmla="*/ 32366 w 1159387"/>
                <a:gd name="connsiteY28" fmla="*/ 162761 h 606592"/>
                <a:gd name="connsiteX29" fmla="*/ 30214 w 1159387"/>
                <a:gd name="connsiteY29" fmla="*/ 163402 h 606592"/>
                <a:gd name="connsiteX30" fmla="*/ 9135 w 1159387"/>
                <a:gd name="connsiteY30" fmla="*/ 167302 h 606592"/>
                <a:gd name="connsiteX31" fmla="*/ 0 w 1159387"/>
                <a:gd name="connsiteY31" fmla="*/ 178242 h 606592"/>
                <a:gd name="connsiteX32" fmla="*/ 933768 w 1159387"/>
                <a:gd name="connsiteY32" fmla="*/ 313343 h 606592"/>
                <a:gd name="connsiteX33" fmla="*/ 933768 w 1159387"/>
                <a:gd name="connsiteY33" fmla="*/ 468558 h 606592"/>
                <a:gd name="connsiteX34" fmla="*/ 930749 w 1159387"/>
                <a:gd name="connsiteY34" fmla="*/ 475902 h 606592"/>
                <a:gd name="connsiteX35" fmla="*/ 923472 w 1159387"/>
                <a:gd name="connsiteY35" fmla="*/ 478940 h 606592"/>
                <a:gd name="connsiteX36" fmla="*/ 869627 w 1159387"/>
                <a:gd name="connsiteY36" fmla="*/ 478902 h 606592"/>
                <a:gd name="connsiteX37" fmla="*/ 859349 w 1159387"/>
                <a:gd name="connsiteY37" fmla="*/ 468530 h 606592"/>
                <a:gd name="connsiteX38" fmla="*/ 859349 w 1159387"/>
                <a:gd name="connsiteY38" fmla="*/ 10375 h 606592"/>
                <a:gd name="connsiteX39" fmla="*/ 869636 w 1159387"/>
                <a:gd name="connsiteY39" fmla="*/ 0 h 606592"/>
                <a:gd name="connsiteX40" fmla="*/ 923472 w 1159387"/>
                <a:gd name="connsiteY40" fmla="*/ 0 h 606592"/>
                <a:gd name="connsiteX41" fmla="*/ 933768 w 1159387"/>
                <a:gd name="connsiteY41" fmla="*/ 10375 h 606592"/>
                <a:gd name="connsiteX42" fmla="*/ 933768 w 1159387"/>
                <a:gd name="connsiteY42" fmla="*/ 193355 h 606592"/>
                <a:gd name="connsiteX43" fmla="*/ 1159388 w 1159387"/>
                <a:gd name="connsiteY43" fmla="*/ 312995 h 606592"/>
                <a:gd name="connsiteX44" fmla="*/ 1159388 w 1159387"/>
                <a:gd name="connsiteY44" fmla="*/ 468520 h 606592"/>
                <a:gd name="connsiteX45" fmla="*/ 1156378 w 1159387"/>
                <a:gd name="connsiteY45" fmla="*/ 475854 h 606592"/>
                <a:gd name="connsiteX46" fmla="*/ 1149101 w 1159387"/>
                <a:gd name="connsiteY46" fmla="*/ 478893 h 606592"/>
                <a:gd name="connsiteX47" fmla="*/ 1095199 w 1159387"/>
                <a:gd name="connsiteY47" fmla="*/ 478893 h 606592"/>
                <a:gd name="connsiteX48" fmla="*/ 1087922 w 1159387"/>
                <a:gd name="connsiteY48" fmla="*/ 475854 h 606592"/>
                <a:gd name="connsiteX49" fmla="*/ 1084912 w 1159387"/>
                <a:gd name="connsiteY49" fmla="*/ 468520 h 606592"/>
                <a:gd name="connsiteX50" fmla="*/ 1084912 w 1159387"/>
                <a:gd name="connsiteY50" fmla="*/ 312995 h 606592"/>
                <a:gd name="connsiteX51" fmla="*/ 966868 w 1159387"/>
                <a:gd name="connsiteY51" fmla="*/ 246504 h 606592"/>
                <a:gd name="connsiteX52" fmla="*/ 933768 w 1159387"/>
                <a:gd name="connsiteY52" fmla="*/ 313343 h 606592"/>
                <a:gd name="connsiteX53" fmla="*/ 596563 w 1159387"/>
                <a:gd name="connsiteY53" fmla="*/ 207040 h 606592"/>
                <a:gd name="connsiteX54" fmla="*/ 549471 w 1159387"/>
                <a:gd name="connsiteY54" fmla="*/ 323084 h 606592"/>
                <a:gd name="connsiteX55" fmla="*/ 596563 w 1159387"/>
                <a:gd name="connsiteY55" fmla="*/ 439145 h 606592"/>
                <a:gd name="connsiteX56" fmla="*/ 797522 w 1159387"/>
                <a:gd name="connsiteY56" fmla="*/ 460995 h 606592"/>
                <a:gd name="connsiteX57" fmla="*/ 799923 w 1159387"/>
                <a:gd name="connsiteY57" fmla="*/ 459357 h 606592"/>
                <a:gd name="connsiteX58" fmla="*/ 805247 w 1159387"/>
                <a:gd name="connsiteY58" fmla="*/ 455385 h 606592"/>
                <a:gd name="connsiteX59" fmla="*/ 806018 w 1159387"/>
                <a:gd name="connsiteY59" fmla="*/ 438745 h 606592"/>
                <a:gd name="connsiteX60" fmla="*/ 790226 w 1159387"/>
                <a:gd name="connsiteY60" fmla="*/ 417067 h 606592"/>
                <a:gd name="connsiteX61" fmla="*/ 776110 w 1159387"/>
                <a:gd name="connsiteY61" fmla="*/ 397747 h 606592"/>
                <a:gd name="connsiteX62" fmla="*/ 760975 w 1159387"/>
                <a:gd name="connsiteY62" fmla="*/ 394585 h 606592"/>
                <a:gd name="connsiteX63" fmla="*/ 757003 w 1159387"/>
                <a:gd name="connsiteY63" fmla="*/ 397067 h 606592"/>
                <a:gd name="connsiteX64" fmla="*/ 619737 w 1159387"/>
                <a:gd name="connsiteY64" fmla="*/ 323084 h 606592"/>
                <a:gd name="connsiteX65" fmla="*/ 756945 w 1159387"/>
                <a:gd name="connsiteY65" fmla="*/ 249203 h 606592"/>
                <a:gd name="connsiteX66" fmla="*/ 760975 w 1159387"/>
                <a:gd name="connsiteY66" fmla="*/ 251591 h 606592"/>
                <a:gd name="connsiteX67" fmla="*/ 776148 w 1159387"/>
                <a:gd name="connsiteY67" fmla="*/ 248416 h 606592"/>
                <a:gd name="connsiteX68" fmla="*/ 790207 w 1159387"/>
                <a:gd name="connsiteY68" fmla="*/ 229138 h 606592"/>
                <a:gd name="connsiteX69" fmla="*/ 804618 w 1159387"/>
                <a:gd name="connsiteY69" fmla="*/ 209395 h 606592"/>
                <a:gd name="connsiteX70" fmla="*/ 799903 w 1159387"/>
                <a:gd name="connsiteY70" fmla="*/ 186809 h 606592"/>
                <a:gd name="connsiteX71" fmla="*/ 797522 w 1159387"/>
                <a:gd name="connsiteY71" fmla="*/ 185195 h 606592"/>
                <a:gd name="connsiteX72" fmla="*/ 596563 w 1159387"/>
                <a:gd name="connsiteY72" fmla="*/ 207040 h 606592"/>
                <a:gd name="connsiteX73" fmla="*/ 293714 w 1159387"/>
                <a:gd name="connsiteY73" fmla="*/ 350313 h 606592"/>
                <a:gd name="connsiteX74" fmla="*/ 469385 w 1159387"/>
                <a:gd name="connsiteY74" fmla="*/ 350313 h 606592"/>
                <a:gd name="connsiteX75" fmla="*/ 507323 w 1159387"/>
                <a:gd name="connsiteY75" fmla="*/ 312290 h 606592"/>
                <a:gd name="connsiteX76" fmla="*/ 472890 w 1159387"/>
                <a:gd name="connsiteY76" fmla="*/ 208836 h 606592"/>
                <a:gd name="connsiteX77" fmla="*/ 368190 w 1159387"/>
                <a:gd name="connsiteY77" fmla="*/ 159530 h 606592"/>
                <a:gd name="connsiteX78" fmla="*/ 219228 w 1159387"/>
                <a:gd name="connsiteY78" fmla="*/ 323103 h 606592"/>
                <a:gd name="connsiteX79" fmla="*/ 375915 w 1159387"/>
                <a:gd name="connsiteY79" fmla="*/ 486674 h 606592"/>
                <a:gd name="connsiteX80" fmla="*/ 502398 w 1159387"/>
                <a:gd name="connsiteY80" fmla="*/ 450623 h 606592"/>
                <a:gd name="connsiteX81" fmla="*/ 505913 w 1159387"/>
                <a:gd name="connsiteY81" fmla="*/ 435907 h 606592"/>
                <a:gd name="connsiteX82" fmla="*/ 504818 w 1159387"/>
                <a:gd name="connsiteY82" fmla="*/ 434088 h 606592"/>
                <a:gd name="connsiteX83" fmla="*/ 478519 w 1159387"/>
                <a:gd name="connsiteY83" fmla="*/ 391689 h 606592"/>
                <a:gd name="connsiteX84" fmla="*/ 464460 w 1159387"/>
                <a:gd name="connsiteY84" fmla="*/ 388476 h 606592"/>
                <a:gd name="connsiteX85" fmla="*/ 377335 w 1159387"/>
                <a:gd name="connsiteY85" fmla="*/ 414990 h 606592"/>
                <a:gd name="connsiteX86" fmla="*/ 293714 w 1159387"/>
                <a:gd name="connsiteY86" fmla="*/ 350313 h 606592"/>
                <a:gd name="connsiteX87" fmla="*/ 430732 w 1159387"/>
                <a:gd name="connsiteY87" fmla="*/ 287912 h 606592"/>
                <a:gd name="connsiteX88" fmla="*/ 368190 w 1159387"/>
                <a:gd name="connsiteY88" fmla="*/ 232071 h 606592"/>
                <a:gd name="connsiteX89" fmla="*/ 296524 w 1159387"/>
                <a:gd name="connsiteY89" fmla="*/ 287912 h 606592"/>
                <a:gd name="connsiteX90" fmla="*/ 430732 w 1159387"/>
                <a:gd name="connsiteY90" fmla="*/ 287912 h 606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</a:cxnLst>
              <a:rect l="l" t="t" r="r" b="b"/>
              <a:pathLst>
                <a:path w="1159387" h="606592">
                  <a:moveTo>
                    <a:pt x="0" y="178242"/>
                  </a:moveTo>
                  <a:lnTo>
                    <a:pt x="0" y="237024"/>
                  </a:lnTo>
                  <a:cubicBezTo>
                    <a:pt x="695" y="241577"/>
                    <a:pt x="4220" y="245266"/>
                    <a:pt x="9135" y="246098"/>
                  </a:cubicBezTo>
                  <a:cubicBezTo>
                    <a:pt x="16869" y="247387"/>
                    <a:pt x="27404" y="249197"/>
                    <a:pt x="30214" y="250009"/>
                  </a:cubicBezTo>
                  <a:cubicBezTo>
                    <a:pt x="30833" y="250193"/>
                    <a:pt x="31518" y="250390"/>
                    <a:pt x="32261" y="250607"/>
                  </a:cubicBezTo>
                  <a:cubicBezTo>
                    <a:pt x="46749" y="254784"/>
                    <a:pt x="83697" y="265433"/>
                    <a:pt x="85030" y="319338"/>
                  </a:cubicBezTo>
                  <a:lnTo>
                    <a:pt x="85030" y="483817"/>
                  </a:lnTo>
                  <a:cubicBezTo>
                    <a:pt x="85030" y="516573"/>
                    <a:pt x="97670" y="547958"/>
                    <a:pt x="120863" y="570989"/>
                  </a:cubicBezTo>
                  <a:cubicBezTo>
                    <a:pt x="143342" y="593696"/>
                    <a:pt x="174261" y="606402"/>
                    <a:pt x="205874" y="606364"/>
                  </a:cubicBezTo>
                  <a:lnTo>
                    <a:pt x="207284" y="606364"/>
                  </a:lnTo>
                  <a:cubicBezTo>
                    <a:pt x="207284" y="606364"/>
                    <a:pt x="207284" y="606879"/>
                    <a:pt x="235964" y="606364"/>
                  </a:cubicBezTo>
                  <a:cubicBezTo>
                    <a:pt x="243232" y="606231"/>
                    <a:pt x="247461" y="601383"/>
                    <a:pt x="247356" y="593268"/>
                  </a:cubicBezTo>
                  <a:cubicBezTo>
                    <a:pt x="247222" y="582028"/>
                    <a:pt x="247527" y="573246"/>
                    <a:pt x="247337" y="563750"/>
                  </a:cubicBezTo>
                  <a:cubicBezTo>
                    <a:pt x="247184" y="555816"/>
                    <a:pt x="247337" y="548520"/>
                    <a:pt x="247337" y="541928"/>
                  </a:cubicBezTo>
                  <a:cubicBezTo>
                    <a:pt x="247337" y="535804"/>
                    <a:pt x="242422" y="530794"/>
                    <a:pt x="236802" y="530565"/>
                  </a:cubicBezTo>
                  <a:cubicBezTo>
                    <a:pt x="226258" y="530527"/>
                    <a:pt x="211504" y="530527"/>
                    <a:pt x="197454" y="530527"/>
                  </a:cubicBezTo>
                  <a:cubicBezTo>
                    <a:pt x="177071" y="530527"/>
                    <a:pt x="159506" y="513401"/>
                    <a:pt x="159506" y="492285"/>
                  </a:cubicBezTo>
                  <a:lnTo>
                    <a:pt x="159506" y="403084"/>
                  </a:lnTo>
                  <a:cubicBezTo>
                    <a:pt x="160202" y="402874"/>
                    <a:pt x="159506" y="317750"/>
                    <a:pt x="159506" y="316772"/>
                  </a:cubicBezTo>
                  <a:cubicBezTo>
                    <a:pt x="157544" y="243958"/>
                    <a:pt x="109233" y="212964"/>
                    <a:pt x="100365" y="207274"/>
                  </a:cubicBezTo>
                  <a:cubicBezTo>
                    <a:pt x="99708" y="206855"/>
                    <a:pt x="99270" y="206569"/>
                    <a:pt x="99080" y="206423"/>
                  </a:cubicBezTo>
                  <a:cubicBezTo>
                    <a:pt x="99270" y="206264"/>
                    <a:pt x="99708" y="205979"/>
                    <a:pt x="100356" y="205547"/>
                  </a:cubicBezTo>
                  <a:cubicBezTo>
                    <a:pt x="109395" y="199604"/>
                    <a:pt x="159506" y="166622"/>
                    <a:pt x="159506" y="90665"/>
                  </a:cubicBezTo>
                  <a:lnTo>
                    <a:pt x="159506" y="10992"/>
                  </a:lnTo>
                  <a:cubicBezTo>
                    <a:pt x="159506" y="4922"/>
                    <a:pt x="155287" y="0"/>
                    <a:pt x="148962" y="0"/>
                  </a:cubicBezTo>
                  <a:lnTo>
                    <a:pt x="95565" y="0"/>
                  </a:lnTo>
                  <a:cubicBezTo>
                    <a:pt x="89945" y="0"/>
                    <a:pt x="85030" y="4922"/>
                    <a:pt x="85030" y="10992"/>
                  </a:cubicBezTo>
                  <a:lnTo>
                    <a:pt x="85030" y="90665"/>
                  </a:lnTo>
                  <a:cubicBezTo>
                    <a:pt x="85030" y="147350"/>
                    <a:pt x="47054" y="158469"/>
                    <a:pt x="32366" y="162761"/>
                  </a:cubicBezTo>
                  <a:cubicBezTo>
                    <a:pt x="31576" y="162997"/>
                    <a:pt x="30861" y="163206"/>
                    <a:pt x="30214" y="163402"/>
                  </a:cubicBezTo>
                  <a:cubicBezTo>
                    <a:pt x="27404" y="164209"/>
                    <a:pt x="16869" y="166026"/>
                    <a:pt x="9135" y="167302"/>
                  </a:cubicBezTo>
                  <a:cubicBezTo>
                    <a:pt x="3515" y="168248"/>
                    <a:pt x="0" y="172858"/>
                    <a:pt x="0" y="178242"/>
                  </a:cubicBezTo>
                  <a:close/>
                  <a:moveTo>
                    <a:pt x="933768" y="313343"/>
                  </a:moveTo>
                  <a:lnTo>
                    <a:pt x="933768" y="468558"/>
                  </a:lnTo>
                  <a:cubicBezTo>
                    <a:pt x="933768" y="471320"/>
                    <a:pt x="932682" y="473949"/>
                    <a:pt x="930749" y="475902"/>
                  </a:cubicBezTo>
                  <a:cubicBezTo>
                    <a:pt x="928825" y="477845"/>
                    <a:pt x="926206" y="478940"/>
                    <a:pt x="923472" y="478940"/>
                  </a:cubicBezTo>
                  <a:cubicBezTo>
                    <a:pt x="909270" y="478921"/>
                    <a:pt x="883819" y="478912"/>
                    <a:pt x="869627" y="478902"/>
                  </a:cubicBezTo>
                  <a:cubicBezTo>
                    <a:pt x="863950" y="478893"/>
                    <a:pt x="859349" y="474254"/>
                    <a:pt x="859349" y="468530"/>
                  </a:cubicBezTo>
                  <a:cubicBezTo>
                    <a:pt x="859349" y="405427"/>
                    <a:pt x="859349" y="73513"/>
                    <a:pt x="859349" y="10375"/>
                  </a:cubicBezTo>
                  <a:cubicBezTo>
                    <a:pt x="859349" y="4648"/>
                    <a:pt x="863959" y="0"/>
                    <a:pt x="869636" y="0"/>
                  </a:cubicBezTo>
                  <a:cubicBezTo>
                    <a:pt x="883838" y="0"/>
                    <a:pt x="909279" y="0"/>
                    <a:pt x="923472" y="0"/>
                  </a:cubicBezTo>
                  <a:cubicBezTo>
                    <a:pt x="929158" y="0"/>
                    <a:pt x="933768" y="4648"/>
                    <a:pt x="933768" y="10375"/>
                  </a:cubicBezTo>
                  <a:cubicBezTo>
                    <a:pt x="933768" y="50513"/>
                    <a:pt x="933768" y="193355"/>
                    <a:pt x="933768" y="193355"/>
                  </a:cubicBezTo>
                  <a:cubicBezTo>
                    <a:pt x="1013169" y="118433"/>
                    <a:pt x="1159388" y="172318"/>
                    <a:pt x="1159388" y="312995"/>
                  </a:cubicBezTo>
                  <a:lnTo>
                    <a:pt x="1159388" y="468520"/>
                  </a:lnTo>
                  <a:cubicBezTo>
                    <a:pt x="1159388" y="471273"/>
                    <a:pt x="1158302" y="473911"/>
                    <a:pt x="1156378" y="475854"/>
                  </a:cubicBezTo>
                  <a:cubicBezTo>
                    <a:pt x="1154445" y="477797"/>
                    <a:pt x="1151835" y="478893"/>
                    <a:pt x="1149101" y="478893"/>
                  </a:cubicBezTo>
                  <a:cubicBezTo>
                    <a:pt x="1134899" y="478893"/>
                    <a:pt x="1109401" y="478893"/>
                    <a:pt x="1095199" y="478893"/>
                  </a:cubicBezTo>
                  <a:cubicBezTo>
                    <a:pt x="1092465" y="478893"/>
                    <a:pt x="1089855" y="477797"/>
                    <a:pt x="1087922" y="475854"/>
                  </a:cubicBezTo>
                  <a:cubicBezTo>
                    <a:pt x="1085998" y="473911"/>
                    <a:pt x="1084912" y="471273"/>
                    <a:pt x="1084912" y="468520"/>
                  </a:cubicBezTo>
                  <a:cubicBezTo>
                    <a:pt x="1084912" y="432211"/>
                    <a:pt x="1084912" y="312995"/>
                    <a:pt x="1084912" y="312995"/>
                  </a:cubicBezTo>
                  <a:cubicBezTo>
                    <a:pt x="1084912" y="239513"/>
                    <a:pt x="1011121" y="217047"/>
                    <a:pt x="966868" y="246504"/>
                  </a:cubicBezTo>
                  <a:cubicBezTo>
                    <a:pt x="947885" y="259141"/>
                    <a:pt x="933768" y="281804"/>
                    <a:pt x="933768" y="313343"/>
                  </a:cubicBezTo>
                  <a:close/>
                  <a:moveTo>
                    <a:pt x="596563" y="207040"/>
                  </a:moveTo>
                  <a:cubicBezTo>
                    <a:pt x="564235" y="238922"/>
                    <a:pt x="549471" y="280953"/>
                    <a:pt x="549471" y="323084"/>
                  </a:cubicBezTo>
                  <a:cubicBezTo>
                    <a:pt x="549471" y="365223"/>
                    <a:pt x="564235" y="407246"/>
                    <a:pt x="596563" y="439145"/>
                  </a:cubicBezTo>
                  <a:cubicBezTo>
                    <a:pt x="650665" y="494085"/>
                    <a:pt x="734285" y="501400"/>
                    <a:pt x="797522" y="460995"/>
                  </a:cubicBezTo>
                  <a:cubicBezTo>
                    <a:pt x="798208" y="460481"/>
                    <a:pt x="799037" y="459938"/>
                    <a:pt x="799923" y="459357"/>
                  </a:cubicBezTo>
                  <a:cubicBezTo>
                    <a:pt x="801761" y="458147"/>
                    <a:pt x="803828" y="456795"/>
                    <a:pt x="805247" y="455385"/>
                  </a:cubicBezTo>
                  <a:cubicBezTo>
                    <a:pt x="808762" y="451909"/>
                    <a:pt x="810762" y="445470"/>
                    <a:pt x="806018" y="438745"/>
                  </a:cubicBezTo>
                  <a:cubicBezTo>
                    <a:pt x="801761" y="432697"/>
                    <a:pt x="796170" y="425153"/>
                    <a:pt x="790226" y="417067"/>
                  </a:cubicBezTo>
                  <a:cubicBezTo>
                    <a:pt x="785121" y="410132"/>
                    <a:pt x="780339" y="403665"/>
                    <a:pt x="776110" y="397747"/>
                  </a:cubicBezTo>
                  <a:cubicBezTo>
                    <a:pt x="772671" y="392947"/>
                    <a:pt x="765890" y="391664"/>
                    <a:pt x="760975" y="394585"/>
                  </a:cubicBezTo>
                  <a:cubicBezTo>
                    <a:pt x="759565" y="395461"/>
                    <a:pt x="758393" y="396172"/>
                    <a:pt x="757003" y="397067"/>
                  </a:cubicBezTo>
                  <a:cubicBezTo>
                    <a:pt x="686032" y="442936"/>
                    <a:pt x="619737" y="382374"/>
                    <a:pt x="619737" y="323084"/>
                  </a:cubicBezTo>
                  <a:cubicBezTo>
                    <a:pt x="619737" y="263795"/>
                    <a:pt x="687384" y="203573"/>
                    <a:pt x="756945" y="249203"/>
                  </a:cubicBezTo>
                  <a:cubicBezTo>
                    <a:pt x="758308" y="250105"/>
                    <a:pt x="759565" y="250708"/>
                    <a:pt x="760975" y="251591"/>
                  </a:cubicBezTo>
                  <a:cubicBezTo>
                    <a:pt x="765890" y="254512"/>
                    <a:pt x="772805" y="253115"/>
                    <a:pt x="776148" y="248416"/>
                  </a:cubicBezTo>
                  <a:cubicBezTo>
                    <a:pt x="780377" y="242497"/>
                    <a:pt x="785102" y="236065"/>
                    <a:pt x="790207" y="229138"/>
                  </a:cubicBezTo>
                  <a:cubicBezTo>
                    <a:pt x="795560" y="221854"/>
                    <a:pt x="800580" y="215072"/>
                    <a:pt x="804618" y="209395"/>
                  </a:cubicBezTo>
                  <a:cubicBezTo>
                    <a:pt x="811362" y="199928"/>
                    <a:pt x="809571" y="193191"/>
                    <a:pt x="799903" y="186809"/>
                  </a:cubicBezTo>
                  <a:cubicBezTo>
                    <a:pt x="799027" y="186231"/>
                    <a:pt x="798199" y="185691"/>
                    <a:pt x="797522" y="185195"/>
                  </a:cubicBezTo>
                  <a:cubicBezTo>
                    <a:pt x="734285" y="144778"/>
                    <a:pt x="650665" y="152087"/>
                    <a:pt x="596563" y="207040"/>
                  </a:cubicBezTo>
                  <a:close/>
                  <a:moveTo>
                    <a:pt x="293714" y="350313"/>
                  </a:moveTo>
                  <a:lnTo>
                    <a:pt x="469385" y="350313"/>
                  </a:lnTo>
                  <a:cubicBezTo>
                    <a:pt x="490463" y="350313"/>
                    <a:pt x="507323" y="333283"/>
                    <a:pt x="507323" y="312290"/>
                  </a:cubicBezTo>
                  <a:cubicBezTo>
                    <a:pt x="507323" y="265561"/>
                    <a:pt x="499588" y="240644"/>
                    <a:pt x="472890" y="208836"/>
                  </a:cubicBezTo>
                  <a:cubicBezTo>
                    <a:pt x="445486" y="176865"/>
                    <a:pt x="401919" y="159530"/>
                    <a:pt x="368190" y="159530"/>
                  </a:cubicBezTo>
                  <a:cubicBezTo>
                    <a:pt x="283875" y="159530"/>
                    <a:pt x="219228" y="231722"/>
                    <a:pt x="219228" y="323103"/>
                  </a:cubicBezTo>
                  <a:cubicBezTo>
                    <a:pt x="219228" y="435697"/>
                    <a:pt x="306354" y="486674"/>
                    <a:pt x="375915" y="486674"/>
                  </a:cubicBezTo>
                  <a:cubicBezTo>
                    <a:pt x="425807" y="486674"/>
                    <a:pt x="464460" y="474616"/>
                    <a:pt x="502398" y="450623"/>
                  </a:cubicBezTo>
                  <a:cubicBezTo>
                    <a:pt x="506618" y="447470"/>
                    <a:pt x="508723" y="441003"/>
                    <a:pt x="505913" y="435907"/>
                  </a:cubicBezTo>
                  <a:lnTo>
                    <a:pt x="504818" y="434088"/>
                  </a:lnTo>
                  <a:cubicBezTo>
                    <a:pt x="497150" y="421362"/>
                    <a:pt x="486558" y="403789"/>
                    <a:pt x="478519" y="391689"/>
                  </a:cubicBezTo>
                  <a:cubicBezTo>
                    <a:pt x="475709" y="386901"/>
                    <a:pt x="469385" y="385492"/>
                    <a:pt x="464460" y="388476"/>
                  </a:cubicBezTo>
                  <a:cubicBezTo>
                    <a:pt x="440571" y="402722"/>
                    <a:pt x="415273" y="415266"/>
                    <a:pt x="377335" y="414990"/>
                  </a:cubicBezTo>
                  <a:cubicBezTo>
                    <a:pt x="342197" y="414742"/>
                    <a:pt x="304954" y="392280"/>
                    <a:pt x="293714" y="350313"/>
                  </a:cubicBezTo>
                  <a:close/>
                  <a:moveTo>
                    <a:pt x="430732" y="287912"/>
                  </a:moveTo>
                  <a:cubicBezTo>
                    <a:pt x="424407" y="240694"/>
                    <a:pt x="392079" y="232071"/>
                    <a:pt x="368190" y="232071"/>
                  </a:cubicBezTo>
                  <a:cubicBezTo>
                    <a:pt x="335872" y="232071"/>
                    <a:pt x="308478" y="256182"/>
                    <a:pt x="296524" y="287912"/>
                  </a:cubicBezTo>
                  <a:lnTo>
                    <a:pt x="430732" y="287912"/>
                  </a:lnTo>
                  <a:close/>
                </a:path>
              </a:pathLst>
            </a:custGeom>
            <a:grpFill/>
            <a:ln w="76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7" name="Полилиния 6">
              <a:extLst>
                <a:ext uri="{FF2B5EF4-FFF2-40B4-BE49-F238E27FC236}">
                  <a16:creationId xmlns:a16="http://schemas.microsoft.com/office/drawing/2014/main" id="{9DE992BE-FEB7-1686-D574-50BC69748A79}"/>
                </a:ext>
              </a:extLst>
            </p:cNvPr>
            <p:cNvSpPr/>
            <p:nvPr/>
          </p:nvSpPr>
          <p:spPr>
            <a:xfrm>
              <a:off x="8489504" y="1070894"/>
              <a:ext cx="1492273" cy="326563"/>
            </a:xfrm>
            <a:custGeom>
              <a:avLst/>
              <a:gdLst>
                <a:gd name="connsiteX0" fmla="*/ 180273 w 1492273"/>
                <a:gd name="connsiteY0" fmla="*/ 900 h 326563"/>
                <a:gd name="connsiteX1" fmla="*/ 83526 w 1492273"/>
                <a:gd name="connsiteY1" fmla="*/ 20775 h 326563"/>
                <a:gd name="connsiteX2" fmla="*/ 15954 w 1492273"/>
                <a:gd name="connsiteY2" fmla="*/ 92853 h 326563"/>
                <a:gd name="connsiteX3" fmla="*/ 2323 w 1492273"/>
                <a:gd name="connsiteY3" fmla="*/ 190737 h 326563"/>
                <a:gd name="connsiteX4" fmla="*/ 47618 w 1492273"/>
                <a:gd name="connsiteY4" fmla="*/ 278557 h 326563"/>
                <a:gd name="connsiteX5" fmla="*/ 135243 w 1492273"/>
                <a:gd name="connsiteY5" fmla="*/ 324153 h 326563"/>
                <a:gd name="connsiteX6" fmla="*/ 233098 w 1492273"/>
                <a:gd name="connsiteY6" fmla="*/ 310818 h 326563"/>
                <a:gd name="connsiteX7" fmla="*/ 305341 w 1492273"/>
                <a:gd name="connsiteY7" fmla="*/ 243429 h 326563"/>
                <a:gd name="connsiteX8" fmla="*/ 325507 w 1492273"/>
                <a:gd name="connsiteY8" fmla="*/ 146675 h 326563"/>
                <a:gd name="connsiteX9" fmla="*/ 278778 w 1492273"/>
                <a:gd name="connsiteY9" fmla="*/ 47965 h 326563"/>
                <a:gd name="connsiteX10" fmla="*/ 180273 w 1492273"/>
                <a:gd name="connsiteY10" fmla="*/ 900 h 326563"/>
                <a:gd name="connsiteX11" fmla="*/ 174984 w 1492273"/>
                <a:gd name="connsiteY11" fmla="*/ 249697 h 326563"/>
                <a:gd name="connsiteX12" fmla="*/ 122555 w 1492273"/>
                <a:gd name="connsiteY12" fmla="*/ 240277 h 326563"/>
                <a:gd name="connsiteX13" fmla="*/ 85427 w 1492273"/>
                <a:gd name="connsiteY13" fmla="*/ 202047 h 326563"/>
                <a:gd name="connsiteX14" fmla="*/ 77507 w 1492273"/>
                <a:gd name="connsiteY14" fmla="*/ 149329 h 326563"/>
                <a:gd name="connsiteX15" fmla="*/ 101766 w 1492273"/>
                <a:gd name="connsiteY15" fmla="*/ 101883 h 326563"/>
                <a:gd name="connsiteX16" fmla="*/ 149113 w 1492273"/>
                <a:gd name="connsiteY16" fmla="*/ 77461 h 326563"/>
                <a:gd name="connsiteX17" fmla="*/ 201825 w 1492273"/>
                <a:gd name="connsiteY17" fmla="*/ 85220 h 326563"/>
                <a:gd name="connsiteX18" fmla="*/ 240132 w 1492273"/>
                <a:gd name="connsiteY18" fmla="*/ 122247 h 326563"/>
                <a:gd name="connsiteX19" fmla="*/ 249714 w 1492273"/>
                <a:gd name="connsiteY19" fmla="*/ 174684 h 326563"/>
                <a:gd name="connsiteX20" fmla="*/ 225058 w 1492273"/>
                <a:gd name="connsiteY20" fmla="*/ 224868 h 326563"/>
                <a:gd name="connsiteX21" fmla="*/ 174984 w 1492273"/>
                <a:gd name="connsiteY21" fmla="*/ 249697 h 326563"/>
                <a:gd name="connsiteX22" fmla="*/ 412780 w 1492273"/>
                <a:gd name="connsiteY22" fmla="*/ 7358 h 326563"/>
                <a:gd name="connsiteX23" fmla="*/ 396435 w 1492273"/>
                <a:gd name="connsiteY23" fmla="*/ 11091 h 326563"/>
                <a:gd name="connsiteX24" fmla="*/ 383276 w 1492273"/>
                <a:gd name="connsiteY24" fmla="*/ 21498 h 326563"/>
                <a:gd name="connsiteX25" fmla="*/ 375859 w 1492273"/>
                <a:gd name="connsiteY25" fmla="*/ 36548 h 326563"/>
                <a:gd name="connsiteX26" fmla="*/ 375620 w 1492273"/>
                <a:gd name="connsiteY26" fmla="*/ 53325 h 326563"/>
                <a:gd name="connsiteX27" fmla="*/ 414209 w 1492273"/>
                <a:gd name="connsiteY27" fmla="*/ 83537 h 326563"/>
                <a:gd name="connsiteX28" fmla="*/ 520143 w 1492273"/>
                <a:gd name="connsiteY28" fmla="*/ 83537 h 326563"/>
                <a:gd name="connsiteX29" fmla="*/ 355289 w 1492273"/>
                <a:gd name="connsiteY29" fmla="*/ 301846 h 326563"/>
                <a:gd name="connsiteX30" fmla="*/ 353136 w 1492273"/>
                <a:gd name="connsiteY30" fmla="*/ 307389 h 326563"/>
                <a:gd name="connsiteX31" fmla="*/ 354212 w 1492273"/>
                <a:gd name="connsiteY31" fmla="*/ 313237 h 326563"/>
                <a:gd name="connsiteX32" fmla="*/ 358204 w 1492273"/>
                <a:gd name="connsiteY32" fmla="*/ 317647 h 326563"/>
                <a:gd name="connsiteX33" fmla="*/ 363921 w 1492273"/>
                <a:gd name="connsiteY33" fmla="*/ 319295 h 326563"/>
                <a:gd name="connsiteX34" fmla="*/ 622504 w 1492273"/>
                <a:gd name="connsiteY34" fmla="*/ 319295 h 326563"/>
                <a:gd name="connsiteX35" fmla="*/ 661099 w 1492273"/>
                <a:gd name="connsiteY35" fmla="*/ 289082 h 326563"/>
                <a:gd name="connsiteX36" fmla="*/ 660861 w 1492273"/>
                <a:gd name="connsiteY36" fmla="*/ 272299 h 326563"/>
                <a:gd name="connsiteX37" fmla="*/ 653451 w 1492273"/>
                <a:gd name="connsiteY37" fmla="*/ 257250 h 326563"/>
                <a:gd name="connsiteX38" fmla="*/ 640297 w 1492273"/>
                <a:gd name="connsiteY38" fmla="*/ 246849 h 326563"/>
                <a:gd name="connsiteX39" fmla="*/ 623952 w 1492273"/>
                <a:gd name="connsiteY39" fmla="*/ 243105 h 326563"/>
                <a:gd name="connsiteX40" fmla="*/ 494883 w 1492273"/>
                <a:gd name="connsiteY40" fmla="*/ 243105 h 326563"/>
                <a:gd name="connsiteX41" fmla="*/ 659613 w 1492273"/>
                <a:gd name="connsiteY41" fmla="*/ 24972 h 326563"/>
                <a:gd name="connsiteX42" fmla="*/ 661785 w 1492273"/>
                <a:gd name="connsiteY42" fmla="*/ 19371 h 326563"/>
                <a:gd name="connsiteX43" fmla="*/ 660690 w 1492273"/>
                <a:gd name="connsiteY43" fmla="*/ 13473 h 326563"/>
                <a:gd name="connsiteX44" fmla="*/ 656661 w 1492273"/>
                <a:gd name="connsiteY44" fmla="*/ 9021 h 326563"/>
                <a:gd name="connsiteX45" fmla="*/ 650888 w 1492273"/>
                <a:gd name="connsiteY45" fmla="*/ 7358 h 326563"/>
                <a:gd name="connsiteX46" fmla="*/ 412780 w 1492273"/>
                <a:gd name="connsiteY46" fmla="*/ 7358 h 326563"/>
                <a:gd name="connsiteX47" fmla="*/ 1446105 w 1492273"/>
                <a:gd name="connsiteY47" fmla="*/ 8240 h 326563"/>
                <a:gd name="connsiteX48" fmla="*/ 1424484 w 1492273"/>
                <a:gd name="connsiteY48" fmla="*/ 22127 h 326563"/>
                <a:gd name="connsiteX49" fmla="*/ 1416378 w 1492273"/>
                <a:gd name="connsiteY49" fmla="*/ 46473 h 326563"/>
                <a:gd name="connsiteX50" fmla="*/ 1416378 w 1492273"/>
                <a:gd name="connsiteY50" fmla="*/ 173313 h 326563"/>
                <a:gd name="connsiteX51" fmla="*/ 1210980 w 1492273"/>
                <a:gd name="connsiteY51" fmla="*/ 9758 h 326563"/>
                <a:gd name="connsiteX52" fmla="*/ 1205389 w 1492273"/>
                <a:gd name="connsiteY52" fmla="*/ 7453 h 326563"/>
                <a:gd name="connsiteX53" fmla="*/ 1199426 w 1492273"/>
                <a:gd name="connsiteY53" fmla="*/ 8482 h 326563"/>
                <a:gd name="connsiteX54" fmla="*/ 1194921 w 1492273"/>
                <a:gd name="connsiteY54" fmla="*/ 12520 h 326563"/>
                <a:gd name="connsiteX55" fmla="*/ 1193263 w 1492273"/>
                <a:gd name="connsiteY55" fmla="*/ 18343 h 326563"/>
                <a:gd name="connsiteX56" fmla="*/ 1193263 w 1492273"/>
                <a:gd name="connsiteY56" fmla="*/ 280243 h 326563"/>
                <a:gd name="connsiteX57" fmla="*/ 1201388 w 1492273"/>
                <a:gd name="connsiteY57" fmla="*/ 304589 h 326563"/>
                <a:gd name="connsiteX58" fmla="*/ 1222962 w 1492273"/>
                <a:gd name="connsiteY58" fmla="*/ 318486 h 326563"/>
                <a:gd name="connsiteX59" fmla="*/ 1239803 w 1492273"/>
                <a:gd name="connsiteY59" fmla="*/ 318362 h 326563"/>
                <a:gd name="connsiteX60" fmla="*/ 1254966 w 1492273"/>
                <a:gd name="connsiteY60" fmla="*/ 310961 h 326563"/>
                <a:gd name="connsiteX61" fmla="*/ 1265444 w 1492273"/>
                <a:gd name="connsiteY61" fmla="*/ 297721 h 326563"/>
                <a:gd name="connsiteX62" fmla="*/ 1269159 w 1492273"/>
                <a:gd name="connsiteY62" fmla="*/ 281272 h 326563"/>
                <a:gd name="connsiteX63" fmla="*/ 1269159 w 1492273"/>
                <a:gd name="connsiteY63" fmla="*/ 153323 h 326563"/>
                <a:gd name="connsiteX64" fmla="*/ 1474538 w 1492273"/>
                <a:gd name="connsiteY64" fmla="*/ 316885 h 326563"/>
                <a:gd name="connsiteX65" fmla="*/ 1480148 w 1492273"/>
                <a:gd name="connsiteY65" fmla="*/ 319190 h 326563"/>
                <a:gd name="connsiteX66" fmla="*/ 1486120 w 1492273"/>
                <a:gd name="connsiteY66" fmla="*/ 318162 h 326563"/>
                <a:gd name="connsiteX67" fmla="*/ 1490625 w 1492273"/>
                <a:gd name="connsiteY67" fmla="*/ 314123 h 326563"/>
                <a:gd name="connsiteX68" fmla="*/ 1492273 w 1492273"/>
                <a:gd name="connsiteY68" fmla="*/ 308303 h 326563"/>
                <a:gd name="connsiteX69" fmla="*/ 1492273 w 1492273"/>
                <a:gd name="connsiteY69" fmla="*/ 45444 h 326563"/>
                <a:gd name="connsiteX70" fmla="*/ 1488559 w 1492273"/>
                <a:gd name="connsiteY70" fmla="*/ 28985 h 326563"/>
                <a:gd name="connsiteX71" fmla="*/ 1478081 w 1492273"/>
                <a:gd name="connsiteY71" fmla="*/ 15759 h 326563"/>
                <a:gd name="connsiteX72" fmla="*/ 1462908 w 1492273"/>
                <a:gd name="connsiteY72" fmla="*/ 8354 h 326563"/>
                <a:gd name="connsiteX73" fmla="*/ 1446105 w 1492273"/>
                <a:gd name="connsiteY73" fmla="*/ 8240 h 326563"/>
                <a:gd name="connsiteX74" fmla="*/ 911265 w 1492273"/>
                <a:gd name="connsiteY74" fmla="*/ 76254 h 326563"/>
                <a:gd name="connsiteX75" fmla="*/ 1063066 w 1492273"/>
                <a:gd name="connsiteY75" fmla="*/ 163286 h 326563"/>
                <a:gd name="connsiteX76" fmla="*/ 911265 w 1492273"/>
                <a:gd name="connsiteY76" fmla="*/ 250325 h 326563"/>
                <a:gd name="connsiteX77" fmla="*/ 759483 w 1492273"/>
                <a:gd name="connsiteY77" fmla="*/ 163286 h 326563"/>
                <a:gd name="connsiteX78" fmla="*/ 911265 w 1492273"/>
                <a:gd name="connsiteY78" fmla="*/ 76254 h 326563"/>
                <a:gd name="connsiteX79" fmla="*/ 911265 w 1492273"/>
                <a:gd name="connsiteY79" fmla="*/ 67 h 326563"/>
                <a:gd name="connsiteX80" fmla="*/ 683578 w 1492273"/>
                <a:gd name="connsiteY80" fmla="*/ 163286 h 326563"/>
                <a:gd name="connsiteX81" fmla="*/ 911265 w 1492273"/>
                <a:gd name="connsiteY81" fmla="*/ 326506 h 326563"/>
                <a:gd name="connsiteX82" fmla="*/ 1138961 w 1492273"/>
                <a:gd name="connsiteY82" fmla="*/ 163286 h 326563"/>
                <a:gd name="connsiteX83" fmla="*/ 911265 w 1492273"/>
                <a:gd name="connsiteY83" fmla="*/ 67 h 3265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</a:cxnLst>
              <a:rect l="l" t="t" r="r" b="b"/>
              <a:pathLst>
                <a:path w="1492273" h="326563">
                  <a:moveTo>
                    <a:pt x="180273" y="900"/>
                  </a:moveTo>
                  <a:cubicBezTo>
                    <a:pt x="146739" y="-2638"/>
                    <a:pt x="112948" y="4310"/>
                    <a:pt x="83526" y="20775"/>
                  </a:cubicBezTo>
                  <a:cubicBezTo>
                    <a:pt x="54104" y="37240"/>
                    <a:pt x="30499" y="62424"/>
                    <a:pt x="15954" y="92853"/>
                  </a:cubicBezTo>
                  <a:cubicBezTo>
                    <a:pt x="1417" y="123295"/>
                    <a:pt x="-3344" y="157489"/>
                    <a:pt x="2323" y="190737"/>
                  </a:cubicBezTo>
                  <a:cubicBezTo>
                    <a:pt x="7990" y="223998"/>
                    <a:pt x="23812" y="254669"/>
                    <a:pt x="47618" y="278557"/>
                  </a:cubicBezTo>
                  <a:cubicBezTo>
                    <a:pt x="71412" y="302455"/>
                    <a:pt x="102030" y="318381"/>
                    <a:pt x="135243" y="324153"/>
                  </a:cubicBezTo>
                  <a:cubicBezTo>
                    <a:pt x="168455" y="329925"/>
                    <a:pt x="202644" y="325277"/>
                    <a:pt x="233098" y="310818"/>
                  </a:cubicBezTo>
                  <a:cubicBezTo>
                    <a:pt x="263559" y="296359"/>
                    <a:pt x="288801" y="272814"/>
                    <a:pt x="305341" y="243429"/>
                  </a:cubicBezTo>
                  <a:cubicBezTo>
                    <a:pt x="321894" y="214035"/>
                    <a:pt x="328933" y="180240"/>
                    <a:pt x="325507" y="146675"/>
                  </a:cubicBezTo>
                  <a:cubicBezTo>
                    <a:pt x="321736" y="109375"/>
                    <a:pt x="305234" y="74514"/>
                    <a:pt x="278778" y="47965"/>
                  </a:cubicBezTo>
                  <a:cubicBezTo>
                    <a:pt x="252327" y="21410"/>
                    <a:pt x="217534" y="4786"/>
                    <a:pt x="180273" y="900"/>
                  </a:cubicBezTo>
                  <a:close/>
                  <a:moveTo>
                    <a:pt x="174984" y="249697"/>
                  </a:moveTo>
                  <a:cubicBezTo>
                    <a:pt x="156946" y="252116"/>
                    <a:pt x="138617" y="248820"/>
                    <a:pt x="122555" y="240277"/>
                  </a:cubicBezTo>
                  <a:cubicBezTo>
                    <a:pt x="106488" y="231725"/>
                    <a:pt x="93505" y="218366"/>
                    <a:pt x="85427" y="202047"/>
                  </a:cubicBezTo>
                  <a:cubicBezTo>
                    <a:pt x="77349" y="185733"/>
                    <a:pt x="74579" y="167300"/>
                    <a:pt x="77507" y="149329"/>
                  </a:cubicBezTo>
                  <a:cubicBezTo>
                    <a:pt x="80440" y="131372"/>
                    <a:pt x="88922" y="114773"/>
                    <a:pt x="101766" y="101883"/>
                  </a:cubicBezTo>
                  <a:cubicBezTo>
                    <a:pt x="114610" y="88986"/>
                    <a:pt x="131176" y="80452"/>
                    <a:pt x="149113" y="77461"/>
                  </a:cubicBezTo>
                  <a:cubicBezTo>
                    <a:pt x="167057" y="74470"/>
                    <a:pt x="185493" y="77181"/>
                    <a:pt x="201825" y="85220"/>
                  </a:cubicBezTo>
                  <a:cubicBezTo>
                    <a:pt x="218145" y="93247"/>
                    <a:pt x="231543" y="106194"/>
                    <a:pt x="240132" y="122247"/>
                  </a:cubicBezTo>
                  <a:cubicBezTo>
                    <a:pt x="248725" y="138293"/>
                    <a:pt x="252068" y="156625"/>
                    <a:pt x="249714" y="174684"/>
                  </a:cubicBezTo>
                  <a:cubicBezTo>
                    <a:pt x="247233" y="193670"/>
                    <a:pt x="238569" y="211305"/>
                    <a:pt x="225058" y="224868"/>
                  </a:cubicBezTo>
                  <a:cubicBezTo>
                    <a:pt x="211546" y="238425"/>
                    <a:pt x="193948" y="247154"/>
                    <a:pt x="174984" y="249697"/>
                  </a:cubicBezTo>
                  <a:close/>
                  <a:moveTo>
                    <a:pt x="412780" y="7358"/>
                  </a:moveTo>
                  <a:cubicBezTo>
                    <a:pt x="407126" y="7370"/>
                    <a:pt x="401534" y="8646"/>
                    <a:pt x="396435" y="11091"/>
                  </a:cubicBezTo>
                  <a:cubicBezTo>
                    <a:pt x="391328" y="13536"/>
                    <a:pt x="386833" y="17092"/>
                    <a:pt x="383276" y="21498"/>
                  </a:cubicBezTo>
                  <a:cubicBezTo>
                    <a:pt x="379712" y="25899"/>
                    <a:pt x="377174" y="31042"/>
                    <a:pt x="375859" y="36548"/>
                  </a:cubicBezTo>
                  <a:cubicBezTo>
                    <a:pt x="374537" y="42053"/>
                    <a:pt x="374448" y="47787"/>
                    <a:pt x="375620" y="53325"/>
                  </a:cubicBezTo>
                  <a:cubicBezTo>
                    <a:pt x="379202" y="71282"/>
                    <a:pt x="395956" y="83537"/>
                    <a:pt x="414209" y="83537"/>
                  </a:cubicBezTo>
                  <a:lnTo>
                    <a:pt x="520143" y="83537"/>
                  </a:lnTo>
                  <a:lnTo>
                    <a:pt x="355289" y="301846"/>
                  </a:lnTo>
                  <a:cubicBezTo>
                    <a:pt x="354067" y="303455"/>
                    <a:pt x="353324" y="305379"/>
                    <a:pt x="353136" y="307389"/>
                  </a:cubicBezTo>
                  <a:cubicBezTo>
                    <a:pt x="352940" y="309399"/>
                    <a:pt x="353319" y="311428"/>
                    <a:pt x="354212" y="313237"/>
                  </a:cubicBezTo>
                  <a:cubicBezTo>
                    <a:pt x="355113" y="315047"/>
                    <a:pt x="356491" y="316581"/>
                    <a:pt x="358204" y="317647"/>
                  </a:cubicBezTo>
                  <a:cubicBezTo>
                    <a:pt x="359923" y="318714"/>
                    <a:pt x="361900" y="319286"/>
                    <a:pt x="363921" y="319295"/>
                  </a:cubicBezTo>
                  <a:lnTo>
                    <a:pt x="622504" y="319295"/>
                  </a:lnTo>
                  <a:cubicBezTo>
                    <a:pt x="640744" y="319295"/>
                    <a:pt x="657518" y="307037"/>
                    <a:pt x="661099" y="289082"/>
                  </a:cubicBezTo>
                  <a:cubicBezTo>
                    <a:pt x="662271" y="283539"/>
                    <a:pt x="662185" y="277805"/>
                    <a:pt x="660861" y="272299"/>
                  </a:cubicBezTo>
                  <a:cubicBezTo>
                    <a:pt x="659537" y="266794"/>
                    <a:pt x="657004" y="261650"/>
                    <a:pt x="653451" y="257250"/>
                  </a:cubicBezTo>
                  <a:cubicBezTo>
                    <a:pt x="649898" y="252849"/>
                    <a:pt x="645402" y="249297"/>
                    <a:pt x="640297" y="246849"/>
                  </a:cubicBezTo>
                  <a:cubicBezTo>
                    <a:pt x="635191" y="244391"/>
                    <a:pt x="629610" y="243115"/>
                    <a:pt x="623952" y="243105"/>
                  </a:cubicBezTo>
                  <a:lnTo>
                    <a:pt x="494883" y="243105"/>
                  </a:lnTo>
                  <a:lnTo>
                    <a:pt x="659613" y="24972"/>
                  </a:lnTo>
                  <a:cubicBezTo>
                    <a:pt x="660842" y="23340"/>
                    <a:pt x="661595" y="21403"/>
                    <a:pt x="661785" y="19371"/>
                  </a:cubicBezTo>
                  <a:cubicBezTo>
                    <a:pt x="661976" y="17340"/>
                    <a:pt x="661604" y="15295"/>
                    <a:pt x="660690" y="13473"/>
                  </a:cubicBezTo>
                  <a:cubicBezTo>
                    <a:pt x="659785" y="11637"/>
                    <a:pt x="658385" y="10101"/>
                    <a:pt x="656661" y="9021"/>
                  </a:cubicBezTo>
                  <a:cubicBezTo>
                    <a:pt x="654937" y="7942"/>
                    <a:pt x="652927" y="7363"/>
                    <a:pt x="650888" y="7358"/>
                  </a:cubicBezTo>
                  <a:lnTo>
                    <a:pt x="412780" y="7358"/>
                  </a:lnTo>
                  <a:close/>
                  <a:moveTo>
                    <a:pt x="1446105" y="8240"/>
                  </a:moveTo>
                  <a:cubicBezTo>
                    <a:pt x="1437514" y="10272"/>
                    <a:pt x="1429894" y="15174"/>
                    <a:pt x="1424484" y="22127"/>
                  </a:cubicBezTo>
                  <a:cubicBezTo>
                    <a:pt x="1419112" y="29080"/>
                    <a:pt x="1416254" y="37666"/>
                    <a:pt x="1416378" y="46473"/>
                  </a:cubicBezTo>
                  <a:lnTo>
                    <a:pt x="1416378" y="173313"/>
                  </a:lnTo>
                  <a:lnTo>
                    <a:pt x="1210980" y="9758"/>
                  </a:lnTo>
                  <a:cubicBezTo>
                    <a:pt x="1209361" y="8475"/>
                    <a:pt x="1207427" y="7675"/>
                    <a:pt x="1205389" y="7453"/>
                  </a:cubicBezTo>
                  <a:cubicBezTo>
                    <a:pt x="1203341" y="7230"/>
                    <a:pt x="1201274" y="7580"/>
                    <a:pt x="1199426" y="8482"/>
                  </a:cubicBezTo>
                  <a:cubicBezTo>
                    <a:pt x="1197569" y="9377"/>
                    <a:pt x="1196006" y="10773"/>
                    <a:pt x="1194921" y="12520"/>
                  </a:cubicBezTo>
                  <a:cubicBezTo>
                    <a:pt x="1193835" y="14273"/>
                    <a:pt x="1193254" y="16285"/>
                    <a:pt x="1193263" y="18343"/>
                  </a:cubicBezTo>
                  <a:lnTo>
                    <a:pt x="1193263" y="280243"/>
                  </a:lnTo>
                  <a:cubicBezTo>
                    <a:pt x="1193120" y="289054"/>
                    <a:pt x="1195987" y="297645"/>
                    <a:pt x="1201388" y="304589"/>
                  </a:cubicBezTo>
                  <a:cubicBezTo>
                    <a:pt x="1206789" y="311542"/>
                    <a:pt x="1214409" y="316447"/>
                    <a:pt x="1222962" y="318486"/>
                  </a:cubicBezTo>
                  <a:cubicBezTo>
                    <a:pt x="1228525" y="319714"/>
                    <a:pt x="1234288" y="319667"/>
                    <a:pt x="1239803" y="318362"/>
                  </a:cubicBezTo>
                  <a:cubicBezTo>
                    <a:pt x="1245346" y="317066"/>
                    <a:pt x="1250518" y="314533"/>
                    <a:pt x="1254966" y="310961"/>
                  </a:cubicBezTo>
                  <a:cubicBezTo>
                    <a:pt x="1259415" y="307389"/>
                    <a:pt x="1263006" y="302874"/>
                    <a:pt x="1265444" y="297721"/>
                  </a:cubicBezTo>
                  <a:cubicBezTo>
                    <a:pt x="1267882" y="292587"/>
                    <a:pt x="1269159" y="286958"/>
                    <a:pt x="1269159" y="281272"/>
                  </a:cubicBezTo>
                  <a:lnTo>
                    <a:pt x="1269159" y="153323"/>
                  </a:lnTo>
                  <a:lnTo>
                    <a:pt x="1474538" y="316885"/>
                  </a:lnTo>
                  <a:cubicBezTo>
                    <a:pt x="1476195" y="318171"/>
                    <a:pt x="1478138" y="318962"/>
                    <a:pt x="1480148" y="319190"/>
                  </a:cubicBezTo>
                  <a:cubicBezTo>
                    <a:pt x="1482224" y="319419"/>
                    <a:pt x="1484291" y="319057"/>
                    <a:pt x="1486120" y="318162"/>
                  </a:cubicBezTo>
                  <a:cubicBezTo>
                    <a:pt x="1487949" y="317266"/>
                    <a:pt x="1489530" y="315866"/>
                    <a:pt x="1490625" y="314123"/>
                  </a:cubicBezTo>
                  <a:cubicBezTo>
                    <a:pt x="1491721" y="312380"/>
                    <a:pt x="1492273" y="310361"/>
                    <a:pt x="1492273" y="308303"/>
                  </a:cubicBezTo>
                  <a:lnTo>
                    <a:pt x="1492273" y="45444"/>
                  </a:lnTo>
                  <a:cubicBezTo>
                    <a:pt x="1492273" y="39748"/>
                    <a:pt x="1490997" y="34123"/>
                    <a:pt x="1488559" y="28985"/>
                  </a:cubicBezTo>
                  <a:cubicBezTo>
                    <a:pt x="1486120" y="23848"/>
                    <a:pt x="1482529" y="19327"/>
                    <a:pt x="1478081" y="15759"/>
                  </a:cubicBezTo>
                  <a:cubicBezTo>
                    <a:pt x="1473633" y="12190"/>
                    <a:pt x="1468461" y="9656"/>
                    <a:pt x="1462908" y="8354"/>
                  </a:cubicBezTo>
                  <a:cubicBezTo>
                    <a:pt x="1457364" y="7059"/>
                    <a:pt x="1451649" y="7015"/>
                    <a:pt x="1446105" y="8240"/>
                  </a:cubicBezTo>
                  <a:close/>
                  <a:moveTo>
                    <a:pt x="911265" y="76254"/>
                  </a:moveTo>
                  <a:cubicBezTo>
                    <a:pt x="998152" y="76254"/>
                    <a:pt x="1063066" y="122196"/>
                    <a:pt x="1063066" y="163286"/>
                  </a:cubicBezTo>
                  <a:cubicBezTo>
                    <a:pt x="1063066" y="204383"/>
                    <a:pt x="998152" y="250325"/>
                    <a:pt x="911265" y="250325"/>
                  </a:cubicBezTo>
                  <a:cubicBezTo>
                    <a:pt x="824397" y="250325"/>
                    <a:pt x="759483" y="204383"/>
                    <a:pt x="759483" y="163286"/>
                  </a:cubicBezTo>
                  <a:cubicBezTo>
                    <a:pt x="759483" y="122196"/>
                    <a:pt x="824397" y="76254"/>
                    <a:pt x="911265" y="76254"/>
                  </a:cubicBezTo>
                  <a:close/>
                  <a:moveTo>
                    <a:pt x="911265" y="67"/>
                  </a:moveTo>
                  <a:cubicBezTo>
                    <a:pt x="785515" y="67"/>
                    <a:pt x="683578" y="73142"/>
                    <a:pt x="683578" y="163286"/>
                  </a:cubicBezTo>
                  <a:cubicBezTo>
                    <a:pt x="683578" y="253421"/>
                    <a:pt x="785515" y="326506"/>
                    <a:pt x="911265" y="326506"/>
                  </a:cubicBezTo>
                  <a:cubicBezTo>
                    <a:pt x="1037024" y="326506"/>
                    <a:pt x="1138961" y="253421"/>
                    <a:pt x="1138961" y="163286"/>
                  </a:cubicBezTo>
                  <a:cubicBezTo>
                    <a:pt x="1138961" y="73142"/>
                    <a:pt x="1037024" y="67"/>
                    <a:pt x="911265" y="67"/>
                  </a:cubicBezTo>
                  <a:close/>
                </a:path>
              </a:pathLst>
            </a:custGeom>
            <a:grpFill/>
            <a:ln w="76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14674033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8">
          <p15:clr>
            <a:srgbClr val="F26B43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_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9C6A208F-2A8F-8640-1889-7EF3989875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218385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33" imgH="233" progId="TCLayout.ActiveDocument.1">
                  <p:embed/>
                </p:oleObj>
              </mc:Choice>
              <mc:Fallback>
                <p:oleObj name="Слайд think-cell" r:id="rId3" imgW="233" imgH="233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9C6A208F-2A8F-8640-1889-7EF3989875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Прямоугольник: скругленные углы 59">
            <a:extLst>
              <a:ext uri="{FF2B5EF4-FFF2-40B4-BE49-F238E27FC236}">
                <a16:creationId xmlns:a16="http://schemas.microsoft.com/office/drawing/2014/main" id="{6AF4706E-194B-0A30-2718-34E7D7319965}"/>
              </a:ext>
            </a:extLst>
          </p:cNvPr>
          <p:cNvSpPr/>
          <p:nvPr userDrawn="1"/>
        </p:nvSpPr>
        <p:spPr>
          <a:xfrm>
            <a:off x="-2138458" y="54865"/>
            <a:ext cx="1928241" cy="2826069"/>
          </a:xfrm>
          <a:prstGeom prst="roundRect">
            <a:avLst>
              <a:gd name="adj" fmla="val 5926"/>
            </a:avLst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1" name="Прямоугольник: скругленные верхние углы 60">
            <a:extLst>
              <a:ext uri="{FF2B5EF4-FFF2-40B4-BE49-F238E27FC236}">
                <a16:creationId xmlns:a16="http://schemas.microsoft.com/office/drawing/2014/main" id="{66C04289-EBA6-A8EA-BE9E-D91E549D654E}"/>
              </a:ext>
            </a:extLst>
          </p:cNvPr>
          <p:cNvSpPr/>
          <p:nvPr userDrawn="1"/>
        </p:nvSpPr>
        <p:spPr>
          <a:xfrm>
            <a:off x="-2136930" y="0"/>
            <a:ext cx="1926713" cy="2880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36000" rtlCol="0" anchor="ctr"/>
          <a:lstStyle/>
          <a:p>
            <a:pPr algn="ctr"/>
            <a:r>
              <a:rPr lang="ru-RU" sz="1100" b="1">
                <a:solidFill>
                  <a:schemeClr val="tx1"/>
                </a:solidFill>
              </a:rPr>
              <a:t>Размеры текста</a:t>
            </a:r>
          </a:p>
        </p:txBody>
      </p:sp>
      <p:graphicFrame>
        <p:nvGraphicFramePr>
          <p:cNvPr id="67" name="Таблица 46">
            <a:extLst>
              <a:ext uri="{FF2B5EF4-FFF2-40B4-BE49-F238E27FC236}">
                <a16:creationId xmlns:a16="http://schemas.microsoft.com/office/drawing/2014/main" id="{EED75387-9477-C69D-3BA3-66D18A09F0E1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67774323"/>
              </p:ext>
            </p:extLst>
          </p:nvPr>
        </p:nvGraphicFramePr>
        <p:xfrm>
          <a:off x="-2046114" y="312643"/>
          <a:ext cx="1958731" cy="2142000"/>
        </p:xfrm>
        <a:graphic>
          <a:graphicData uri="http://schemas.openxmlformats.org/drawingml/2006/table">
            <a:tbl>
              <a:tblPr/>
              <a:tblGrid>
                <a:gridCol w="532517">
                  <a:extLst>
                    <a:ext uri="{9D8B030D-6E8A-4147-A177-3AD203B41FA5}">
                      <a16:colId xmlns:a16="http://schemas.microsoft.com/office/drawing/2014/main" val="2594385797"/>
                    </a:ext>
                  </a:extLst>
                </a:gridCol>
                <a:gridCol w="1426214">
                  <a:extLst>
                    <a:ext uri="{9D8B030D-6E8A-4147-A177-3AD203B41FA5}">
                      <a16:colId xmlns:a16="http://schemas.microsoft.com/office/drawing/2014/main" val="1017723076"/>
                    </a:ext>
                  </a:extLst>
                </a:gridCol>
              </a:tblGrid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44+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0" spc="-40" baseline="0"/>
                        <a:t>акцентные цифр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8329665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32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заголовки и самые </a:t>
                      </a:r>
                      <a:br>
                        <a:rPr lang="ru-RU" sz="1000" spc="-40" baseline="0"/>
                      </a:br>
                      <a:r>
                        <a:rPr lang="ru-RU" sz="1000" spc="-40" baseline="0"/>
                        <a:t>важные данные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17697917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24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8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подзаголовки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72780009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18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4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основной текст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0685745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4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2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торой уровень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текста (менее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ажная информация)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1997433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0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сноски, пояснения, </a:t>
                      </a:r>
                      <a:br>
                        <a:rPr lang="en-US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большие таблиц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76660845"/>
                  </a:ext>
                </a:extLst>
              </a:tr>
            </a:tbl>
          </a:graphicData>
        </a:graphic>
      </p:graphicFrame>
      <p:sp>
        <p:nvSpPr>
          <p:cNvPr id="68" name="Полилиния: фигура 67">
            <a:extLst>
              <a:ext uri="{FF2B5EF4-FFF2-40B4-BE49-F238E27FC236}">
                <a16:creationId xmlns:a16="http://schemas.microsoft.com/office/drawing/2014/main" id="{E22991C0-E32F-2F6E-12D2-4EC3D4112A7E}"/>
              </a:ext>
            </a:extLst>
          </p:cNvPr>
          <p:cNvSpPr/>
          <p:nvPr userDrawn="1"/>
        </p:nvSpPr>
        <p:spPr>
          <a:xfrm>
            <a:off x="-2004344" y="2488864"/>
            <a:ext cx="216624" cy="228657"/>
          </a:xfrm>
          <a:custGeom>
            <a:avLst/>
            <a:gdLst>
              <a:gd name="connsiteX0" fmla="*/ 72536 w 171450"/>
              <a:gd name="connsiteY0" fmla="*/ 162210 h 180974"/>
              <a:gd name="connsiteX1" fmla="*/ 98923 w 171450"/>
              <a:gd name="connsiteY1" fmla="*/ 162210 h 180974"/>
              <a:gd name="connsiteX2" fmla="*/ 103600 w 171450"/>
              <a:gd name="connsiteY2" fmla="*/ 172160 h 180974"/>
              <a:gd name="connsiteX3" fmla="*/ 85726 w 171450"/>
              <a:gd name="connsiteY3" fmla="*/ 180974 h 180974"/>
              <a:gd name="connsiteX4" fmla="*/ 67852 w 171450"/>
              <a:gd name="connsiteY4" fmla="*/ 172160 h 180974"/>
              <a:gd name="connsiteX5" fmla="*/ 72536 w 171450"/>
              <a:gd name="connsiteY5" fmla="*/ 162210 h 180974"/>
              <a:gd name="connsiteX6" fmla="*/ 152400 w 171450"/>
              <a:gd name="connsiteY6" fmla="*/ 76200 h 180974"/>
              <a:gd name="connsiteX7" fmla="*/ 161925 w 171450"/>
              <a:gd name="connsiteY7" fmla="*/ 76200 h 180974"/>
              <a:gd name="connsiteX8" fmla="*/ 171450 w 171450"/>
              <a:gd name="connsiteY8" fmla="*/ 85725 h 180974"/>
              <a:gd name="connsiteX9" fmla="*/ 161925 w 171450"/>
              <a:gd name="connsiteY9" fmla="*/ 95250 h 180974"/>
              <a:gd name="connsiteX10" fmla="*/ 152400 w 171450"/>
              <a:gd name="connsiteY10" fmla="*/ 95250 h 180974"/>
              <a:gd name="connsiteX11" fmla="*/ 142875 w 171450"/>
              <a:gd name="connsiteY11" fmla="*/ 85725 h 180974"/>
              <a:gd name="connsiteX12" fmla="*/ 152400 w 171450"/>
              <a:gd name="connsiteY12" fmla="*/ 76200 h 180974"/>
              <a:gd name="connsiteX13" fmla="*/ 9525 w 171450"/>
              <a:gd name="connsiteY13" fmla="*/ 76200 h 180974"/>
              <a:gd name="connsiteX14" fmla="*/ 19050 w 171450"/>
              <a:gd name="connsiteY14" fmla="*/ 76200 h 180974"/>
              <a:gd name="connsiteX15" fmla="*/ 28575 w 171450"/>
              <a:gd name="connsiteY15" fmla="*/ 85725 h 180974"/>
              <a:gd name="connsiteX16" fmla="*/ 19050 w 171450"/>
              <a:gd name="connsiteY16" fmla="*/ 95250 h 180974"/>
              <a:gd name="connsiteX17" fmla="*/ 9525 w 171450"/>
              <a:gd name="connsiteY17" fmla="*/ 95250 h 180974"/>
              <a:gd name="connsiteX18" fmla="*/ 0 w 171450"/>
              <a:gd name="connsiteY18" fmla="*/ 85725 h 180974"/>
              <a:gd name="connsiteX19" fmla="*/ 9525 w 171450"/>
              <a:gd name="connsiteY19" fmla="*/ 76200 h 180974"/>
              <a:gd name="connsiteX20" fmla="*/ 85725 w 171450"/>
              <a:gd name="connsiteY20" fmla="*/ 38100 h 180974"/>
              <a:gd name="connsiteX21" fmla="*/ 133350 w 171450"/>
              <a:gd name="connsiteY21" fmla="*/ 85725 h 180974"/>
              <a:gd name="connsiteX22" fmla="*/ 123174 w 171450"/>
              <a:gd name="connsiteY22" fmla="*/ 114596 h 180974"/>
              <a:gd name="connsiteX23" fmla="*/ 114300 w 171450"/>
              <a:gd name="connsiteY23" fmla="*/ 138113 h 180974"/>
              <a:gd name="connsiteX24" fmla="*/ 85725 w 171450"/>
              <a:gd name="connsiteY24" fmla="*/ 152400 h 180974"/>
              <a:gd name="connsiteX25" fmla="*/ 57150 w 171450"/>
              <a:gd name="connsiteY25" fmla="*/ 138113 h 180974"/>
              <a:gd name="connsiteX26" fmla="*/ 48275 w 171450"/>
              <a:gd name="connsiteY26" fmla="*/ 114596 h 180974"/>
              <a:gd name="connsiteX27" fmla="*/ 38100 w 171450"/>
              <a:gd name="connsiteY27" fmla="*/ 85725 h 180974"/>
              <a:gd name="connsiteX28" fmla="*/ 85725 w 171450"/>
              <a:gd name="connsiteY28" fmla="*/ 38100 h 180974"/>
              <a:gd name="connsiteX29" fmla="*/ 136141 w 171450"/>
              <a:gd name="connsiteY29" fmla="*/ 21840 h 180974"/>
              <a:gd name="connsiteX30" fmla="*/ 149611 w 171450"/>
              <a:gd name="connsiteY30" fmla="*/ 21840 h 180974"/>
              <a:gd name="connsiteX31" fmla="*/ 149611 w 171450"/>
              <a:gd name="connsiteY31" fmla="*/ 35310 h 180974"/>
              <a:gd name="connsiteX32" fmla="*/ 140086 w 171450"/>
              <a:gd name="connsiteY32" fmla="*/ 44835 h 180974"/>
              <a:gd name="connsiteX33" fmla="*/ 126616 w 171450"/>
              <a:gd name="connsiteY33" fmla="*/ 44835 h 180974"/>
              <a:gd name="connsiteX34" fmla="*/ 126616 w 171450"/>
              <a:gd name="connsiteY34" fmla="*/ 31365 h 180974"/>
              <a:gd name="connsiteX35" fmla="*/ 21840 w 171450"/>
              <a:gd name="connsiteY35" fmla="*/ 21840 h 180974"/>
              <a:gd name="connsiteX36" fmla="*/ 35310 w 171450"/>
              <a:gd name="connsiteY36" fmla="*/ 21840 h 180974"/>
              <a:gd name="connsiteX37" fmla="*/ 44835 w 171450"/>
              <a:gd name="connsiteY37" fmla="*/ 31365 h 180974"/>
              <a:gd name="connsiteX38" fmla="*/ 44835 w 171450"/>
              <a:gd name="connsiteY38" fmla="*/ 44835 h 180974"/>
              <a:gd name="connsiteX39" fmla="*/ 31365 w 171450"/>
              <a:gd name="connsiteY39" fmla="*/ 44835 h 180974"/>
              <a:gd name="connsiteX40" fmla="*/ 21840 w 171450"/>
              <a:gd name="connsiteY40" fmla="*/ 35310 h 180974"/>
              <a:gd name="connsiteX41" fmla="*/ 21840 w 171450"/>
              <a:gd name="connsiteY41" fmla="*/ 21840 h 180974"/>
              <a:gd name="connsiteX42" fmla="*/ 85725 w 171450"/>
              <a:gd name="connsiteY42" fmla="*/ 0 h 180974"/>
              <a:gd name="connsiteX43" fmla="*/ 95250 w 171450"/>
              <a:gd name="connsiteY43" fmla="*/ 9525 h 180974"/>
              <a:gd name="connsiteX44" fmla="*/ 95250 w 171450"/>
              <a:gd name="connsiteY44" fmla="*/ 19050 h 180974"/>
              <a:gd name="connsiteX45" fmla="*/ 85725 w 171450"/>
              <a:gd name="connsiteY45" fmla="*/ 28575 h 180974"/>
              <a:gd name="connsiteX46" fmla="*/ 76200 w 171450"/>
              <a:gd name="connsiteY46" fmla="*/ 19050 h 180974"/>
              <a:gd name="connsiteX47" fmla="*/ 76200 w 171450"/>
              <a:gd name="connsiteY47" fmla="*/ 9525 h 180974"/>
              <a:gd name="connsiteX48" fmla="*/ 85725 w 171450"/>
              <a:gd name="connsiteY48" fmla="*/ 0 h 18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1450" h="180974">
                <a:moveTo>
                  <a:pt x="72536" y="162210"/>
                </a:moveTo>
                <a:cubicBezTo>
                  <a:pt x="80449" y="164140"/>
                  <a:pt x="90933" y="164211"/>
                  <a:pt x="98923" y="162210"/>
                </a:cubicBezTo>
                <a:cubicBezTo>
                  <a:pt x="105617" y="160534"/>
                  <a:pt x="105617" y="166533"/>
                  <a:pt x="103600" y="172160"/>
                </a:cubicBezTo>
                <a:cubicBezTo>
                  <a:pt x="100950" y="179549"/>
                  <a:pt x="95451" y="180974"/>
                  <a:pt x="85726" y="180974"/>
                </a:cubicBezTo>
                <a:cubicBezTo>
                  <a:pt x="76000" y="180974"/>
                  <a:pt x="70501" y="179549"/>
                  <a:pt x="67852" y="172160"/>
                </a:cubicBezTo>
                <a:cubicBezTo>
                  <a:pt x="65835" y="166534"/>
                  <a:pt x="65835" y="160576"/>
                  <a:pt x="72536" y="162210"/>
                </a:cubicBezTo>
                <a:close/>
                <a:moveTo>
                  <a:pt x="152400" y="76200"/>
                </a:moveTo>
                <a:lnTo>
                  <a:pt x="161925" y="76200"/>
                </a:lnTo>
                <a:cubicBezTo>
                  <a:pt x="167186" y="76200"/>
                  <a:pt x="171450" y="80464"/>
                  <a:pt x="171450" y="85725"/>
                </a:cubicBezTo>
                <a:cubicBezTo>
                  <a:pt x="171450" y="90986"/>
                  <a:pt x="167186" y="95250"/>
                  <a:pt x="161925" y="95250"/>
                </a:cubicBezTo>
                <a:lnTo>
                  <a:pt x="152400" y="95250"/>
                </a:lnTo>
                <a:cubicBezTo>
                  <a:pt x="147139" y="95250"/>
                  <a:pt x="142875" y="90986"/>
                  <a:pt x="142875" y="85725"/>
                </a:cubicBezTo>
                <a:cubicBezTo>
                  <a:pt x="142875" y="80464"/>
                  <a:pt x="147139" y="76200"/>
                  <a:pt x="152400" y="76200"/>
                </a:cubicBezTo>
                <a:close/>
                <a:moveTo>
                  <a:pt x="9525" y="76200"/>
                </a:moveTo>
                <a:lnTo>
                  <a:pt x="19050" y="76200"/>
                </a:lnTo>
                <a:cubicBezTo>
                  <a:pt x="24310" y="76200"/>
                  <a:pt x="28575" y="80464"/>
                  <a:pt x="28575" y="85725"/>
                </a:cubicBezTo>
                <a:cubicBezTo>
                  <a:pt x="28575" y="90986"/>
                  <a:pt x="24310" y="95250"/>
                  <a:pt x="19050" y="95250"/>
                </a:cubicBezTo>
                <a:lnTo>
                  <a:pt x="9525" y="95250"/>
                </a:lnTo>
                <a:cubicBezTo>
                  <a:pt x="4265" y="95250"/>
                  <a:pt x="0" y="90986"/>
                  <a:pt x="0" y="85725"/>
                </a:cubicBezTo>
                <a:cubicBezTo>
                  <a:pt x="0" y="80464"/>
                  <a:pt x="4265" y="76200"/>
                  <a:pt x="9525" y="76200"/>
                </a:cubicBezTo>
                <a:close/>
                <a:moveTo>
                  <a:pt x="85725" y="38100"/>
                </a:moveTo>
                <a:cubicBezTo>
                  <a:pt x="112027" y="38100"/>
                  <a:pt x="133350" y="58671"/>
                  <a:pt x="133350" y="85725"/>
                </a:cubicBezTo>
                <a:cubicBezTo>
                  <a:pt x="133350" y="100663"/>
                  <a:pt x="128144" y="107793"/>
                  <a:pt x="123174" y="114596"/>
                </a:cubicBezTo>
                <a:cubicBezTo>
                  <a:pt x="118639" y="120807"/>
                  <a:pt x="114300" y="126748"/>
                  <a:pt x="114300" y="138113"/>
                </a:cubicBezTo>
                <a:cubicBezTo>
                  <a:pt x="114300" y="147638"/>
                  <a:pt x="104775" y="152400"/>
                  <a:pt x="85725" y="152400"/>
                </a:cubicBezTo>
                <a:cubicBezTo>
                  <a:pt x="66675" y="152400"/>
                  <a:pt x="57150" y="147638"/>
                  <a:pt x="57150" y="138113"/>
                </a:cubicBezTo>
                <a:cubicBezTo>
                  <a:pt x="57150" y="126748"/>
                  <a:pt x="52811" y="120807"/>
                  <a:pt x="48275" y="114596"/>
                </a:cubicBezTo>
                <a:cubicBezTo>
                  <a:pt x="43306" y="107793"/>
                  <a:pt x="38100" y="100663"/>
                  <a:pt x="38100" y="85725"/>
                </a:cubicBezTo>
                <a:cubicBezTo>
                  <a:pt x="38100" y="57150"/>
                  <a:pt x="59422" y="38100"/>
                  <a:pt x="85725" y="38100"/>
                </a:cubicBezTo>
                <a:close/>
                <a:moveTo>
                  <a:pt x="136141" y="21840"/>
                </a:moveTo>
                <a:cubicBezTo>
                  <a:pt x="139860" y="18120"/>
                  <a:pt x="145891" y="18120"/>
                  <a:pt x="149611" y="21840"/>
                </a:cubicBezTo>
                <a:cubicBezTo>
                  <a:pt x="153330" y="25560"/>
                  <a:pt x="153330" y="31590"/>
                  <a:pt x="149611" y="35310"/>
                </a:cubicBezTo>
                <a:lnTo>
                  <a:pt x="140086" y="44835"/>
                </a:lnTo>
                <a:cubicBezTo>
                  <a:pt x="136366" y="48555"/>
                  <a:pt x="130335" y="48555"/>
                  <a:pt x="126616" y="44835"/>
                </a:cubicBezTo>
                <a:cubicBezTo>
                  <a:pt x="122896" y="41115"/>
                  <a:pt x="122896" y="35085"/>
                  <a:pt x="126616" y="31365"/>
                </a:cubicBezTo>
                <a:close/>
                <a:moveTo>
                  <a:pt x="21840" y="21840"/>
                </a:moveTo>
                <a:cubicBezTo>
                  <a:pt x="25560" y="18120"/>
                  <a:pt x="31590" y="18120"/>
                  <a:pt x="35310" y="21840"/>
                </a:cubicBezTo>
                <a:lnTo>
                  <a:pt x="44835" y="31365"/>
                </a:lnTo>
                <a:cubicBezTo>
                  <a:pt x="48555" y="35085"/>
                  <a:pt x="48555" y="41115"/>
                  <a:pt x="44835" y="44835"/>
                </a:cubicBezTo>
                <a:cubicBezTo>
                  <a:pt x="41115" y="48555"/>
                  <a:pt x="35085" y="48555"/>
                  <a:pt x="31365" y="44835"/>
                </a:cubicBezTo>
                <a:lnTo>
                  <a:pt x="21840" y="35310"/>
                </a:lnTo>
                <a:cubicBezTo>
                  <a:pt x="18120" y="31590"/>
                  <a:pt x="18120" y="25560"/>
                  <a:pt x="21840" y="21840"/>
                </a:cubicBezTo>
                <a:close/>
                <a:moveTo>
                  <a:pt x="85725" y="0"/>
                </a:moveTo>
                <a:cubicBezTo>
                  <a:pt x="90986" y="0"/>
                  <a:pt x="95250" y="4265"/>
                  <a:pt x="95250" y="9525"/>
                </a:cubicBezTo>
                <a:lnTo>
                  <a:pt x="95250" y="19050"/>
                </a:lnTo>
                <a:cubicBezTo>
                  <a:pt x="95250" y="24310"/>
                  <a:pt x="90986" y="28575"/>
                  <a:pt x="85725" y="28575"/>
                </a:cubicBezTo>
                <a:cubicBezTo>
                  <a:pt x="80464" y="28575"/>
                  <a:pt x="76200" y="24310"/>
                  <a:pt x="76200" y="19050"/>
                </a:cubicBezTo>
                <a:lnTo>
                  <a:pt x="76200" y="9525"/>
                </a:lnTo>
                <a:cubicBezTo>
                  <a:pt x="76200" y="4265"/>
                  <a:pt x="80464" y="0"/>
                  <a:pt x="85725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080FC503-198C-9BAB-F771-B9545D4FF161}"/>
              </a:ext>
            </a:extLst>
          </p:cNvPr>
          <p:cNvSpPr txBox="1"/>
          <p:nvPr userDrawn="1"/>
        </p:nvSpPr>
        <p:spPr>
          <a:xfrm>
            <a:off x="-1691344" y="2506490"/>
            <a:ext cx="1373969" cy="2428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</a:pPr>
            <a:r>
              <a:rPr lang="ru-RU" sz="900" b="0">
                <a:solidFill>
                  <a:schemeClr val="accent1"/>
                </a:solidFill>
              </a:rPr>
              <a:t>Используй эти размеры </a:t>
            </a:r>
            <a:br>
              <a:rPr lang="ru-RU" sz="900" b="0">
                <a:solidFill>
                  <a:schemeClr val="accent1"/>
                </a:solidFill>
              </a:rPr>
            </a:br>
            <a:r>
              <a:rPr lang="ru-RU" sz="900" b="0">
                <a:solidFill>
                  <a:schemeClr val="accent1"/>
                </a:solidFill>
              </a:rPr>
              <a:t>по всей презентации</a:t>
            </a:r>
          </a:p>
        </p:txBody>
      </p:sp>
      <p:grpSp>
        <p:nvGrpSpPr>
          <p:cNvPr id="33" name="Группа 32">
            <a:extLst>
              <a:ext uri="{FF2B5EF4-FFF2-40B4-BE49-F238E27FC236}">
                <a16:creationId xmlns:a16="http://schemas.microsoft.com/office/drawing/2014/main" id="{C7881004-6958-374E-B9BD-B9941EFFBC7A}"/>
              </a:ext>
            </a:extLst>
          </p:cNvPr>
          <p:cNvGrpSpPr/>
          <p:nvPr userDrawn="1"/>
        </p:nvGrpSpPr>
        <p:grpSpPr>
          <a:xfrm>
            <a:off x="-2138458" y="3070447"/>
            <a:ext cx="1935384" cy="3787553"/>
            <a:chOff x="-2138458" y="3070447"/>
            <a:chExt cx="1935384" cy="3787553"/>
          </a:xfrm>
        </p:grpSpPr>
        <p:sp>
          <p:nvSpPr>
            <p:cNvPr id="34" name="Прямоугольник: скругленные углы 38">
              <a:extLst>
                <a:ext uri="{FF2B5EF4-FFF2-40B4-BE49-F238E27FC236}">
                  <a16:creationId xmlns:a16="http://schemas.microsoft.com/office/drawing/2014/main" id="{C5C10136-6174-8341-AAF3-60EFFEA4FFE6}"/>
                </a:ext>
              </a:extLst>
            </p:cNvPr>
            <p:cNvSpPr/>
            <p:nvPr/>
          </p:nvSpPr>
          <p:spPr>
            <a:xfrm>
              <a:off x="-2138458" y="3125312"/>
              <a:ext cx="1928241" cy="2468818"/>
            </a:xfrm>
            <a:prstGeom prst="roundRect">
              <a:avLst>
                <a:gd name="adj" fmla="val 5926"/>
              </a:avLst>
            </a:prstGeom>
            <a:solidFill>
              <a:schemeClr val="bg1"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5" name="Прямоугольник: скругленные верхние углы 39">
              <a:extLst>
                <a:ext uri="{FF2B5EF4-FFF2-40B4-BE49-F238E27FC236}">
                  <a16:creationId xmlns:a16="http://schemas.microsoft.com/office/drawing/2014/main" id="{E27C25C2-CA2A-514D-8675-BCFC636D716E}"/>
                </a:ext>
              </a:extLst>
            </p:cNvPr>
            <p:cNvSpPr/>
            <p:nvPr/>
          </p:nvSpPr>
          <p:spPr>
            <a:xfrm>
              <a:off x="-2136930" y="3070447"/>
              <a:ext cx="1926713" cy="28800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36000" rtlCol="0" anchor="ctr"/>
            <a:lstStyle/>
            <a:p>
              <a:pPr algn="ctr"/>
              <a:r>
                <a:rPr lang="ru-RU" sz="1100" b="1">
                  <a:solidFill>
                    <a:schemeClr val="tx1"/>
                  </a:solidFill>
                </a:rPr>
                <a:t>Цвета </a:t>
              </a:r>
              <a:r>
                <a:rPr lang="en-US" sz="1100" b="1">
                  <a:solidFill>
                    <a:schemeClr val="tx1"/>
                  </a:solidFill>
                </a:rPr>
                <a:t>Ozon</a:t>
              </a:r>
              <a:endParaRPr lang="ru-RU" sz="1100" b="1">
                <a:solidFill>
                  <a:schemeClr val="tx1"/>
                </a:solidFill>
              </a:endParaRP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753C7BE1-B48C-B54D-A49A-6CC758A9588E}"/>
                </a:ext>
              </a:extLst>
            </p:cNvPr>
            <p:cNvSpPr txBox="1"/>
            <p:nvPr userDrawn="1"/>
          </p:nvSpPr>
          <p:spPr>
            <a:xfrm>
              <a:off x="-2003446" y="3412239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текста </a:t>
              </a:r>
            </a:p>
          </p:txBody>
        </p:sp>
        <p:sp>
          <p:nvSpPr>
            <p:cNvPr id="37" name="Прямоугольник: скругленные углы 41">
              <a:extLst>
                <a:ext uri="{FF2B5EF4-FFF2-40B4-BE49-F238E27FC236}">
                  <a16:creationId xmlns:a16="http://schemas.microsoft.com/office/drawing/2014/main" id="{6D777616-0635-8D48-8F87-EB0FFABD731D}"/>
                </a:ext>
              </a:extLst>
            </p:cNvPr>
            <p:cNvSpPr/>
            <p:nvPr userDrawn="1"/>
          </p:nvSpPr>
          <p:spPr>
            <a:xfrm>
              <a:off x="-2004344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8" name="Прямоугольник: скругленные углы 42">
              <a:extLst>
                <a:ext uri="{FF2B5EF4-FFF2-40B4-BE49-F238E27FC236}">
                  <a16:creationId xmlns:a16="http://schemas.microsoft.com/office/drawing/2014/main" id="{B081A747-C408-374F-A23D-544F0CB540E1}"/>
                </a:ext>
              </a:extLst>
            </p:cNvPr>
            <p:cNvSpPr/>
            <p:nvPr userDrawn="1"/>
          </p:nvSpPr>
          <p:spPr>
            <a:xfrm>
              <a:off x="-1738339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6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9" name="Прямоугольник: скругленные углы 43">
              <a:extLst>
                <a:ext uri="{FF2B5EF4-FFF2-40B4-BE49-F238E27FC236}">
                  <a16:creationId xmlns:a16="http://schemas.microsoft.com/office/drawing/2014/main" id="{ACAF3CF7-4B4E-0949-9FAC-DC97F7FE5056}"/>
                </a:ext>
              </a:extLst>
            </p:cNvPr>
            <p:cNvSpPr/>
            <p:nvPr userDrawn="1"/>
          </p:nvSpPr>
          <p:spPr>
            <a:xfrm>
              <a:off x="-1739900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3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0" name="Прямоугольник: скругленные углы 44">
              <a:extLst>
                <a:ext uri="{FF2B5EF4-FFF2-40B4-BE49-F238E27FC236}">
                  <a16:creationId xmlns:a16="http://schemas.microsoft.com/office/drawing/2014/main" id="{6771845E-8FF3-E247-8ACD-00401A9C8AF9}"/>
                </a:ext>
              </a:extLst>
            </p:cNvPr>
            <p:cNvSpPr/>
            <p:nvPr userDrawn="1"/>
          </p:nvSpPr>
          <p:spPr>
            <a:xfrm>
              <a:off x="-2004963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8EC6C0B4-F87B-664A-AB1C-0C26BB7F5A2A}"/>
                </a:ext>
              </a:extLst>
            </p:cNvPr>
            <p:cNvSpPr txBox="1"/>
            <p:nvPr userDrawn="1"/>
          </p:nvSpPr>
          <p:spPr>
            <a:xfrm>
              <a:off x="-2003446" y="3935644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больших плашек</a:t>
              </a:r>
            </a:p>
          </p:txBody>
        </p:sp>
        <p:sp>
          <p:nvSpPr>
            <p:cNvPr id="42" name="Прямоугольник: скругленные углы 47">
              <a:extLst>
                <a:ext uri="{FF2B5EF4-FFF2-40B4-BE49-F238E27FC236}">
                  <a16:creationId xmlns:a16="http://schemas.microsoft.com/office/drawing/2014/main" id="{9EE72B71-8D38-E64F-9D3F-10D9AF617439}"/>
                </a:ext>
              </a:extLst>
            </p:cNvPr>
            <p:cNvSpPr/>
            <p:nvPr userDrawn="1"/>
          </p:nvSpPr>
          <p:spPr>
            <a:xfrm>
              <a:off x="-2004963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tx2">
                <a:lumMod val="90000"/>
                <a:lumOff val="10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3" name="Прямоугольник: скругленные углы 48">
              <a:extLst>
                <a:ext uri="{FF2B5EF4-FFF2-40B4-BE49-F238E27FC236}">
                  <a16:creationId xmlns:a16="http://schemas.microsoft.com/office/drawing/2014/main" id="{FC5A15B5-758D-F24A-AA68-DDBFDC638A52}"/>
                </a:ext>
              </a:extLst>
            </p:cNvPr>
            <p:cNvSpPr/>
            <p:nvPr userDrawn="1"/>
          </p:nvSpPr>
          <p:spPr>
            <a:xfrm>
              <a:off x="-1739900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6022A657-06DF-644D-9BAC-EE4E5AE0BC96}"/>
                </a:ext>
              </a:extLst>
            </p:cNvPr>
            <p:cNvSpPr txBox="1"/>
            <p:nvPr userDrawn="1"/>
          </p:nvSpPr>
          <p:spPr>
            <a:xfrm>
              <a:off x="-2003446" y="4451492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а маленьких плашек</a:t>
              </a:r>
            </a:p>
          </p:txBody>
        </p:sp>
        <p:sp>
          <p:nvSpPr>
            <p:cNvPr id="45" name="Прямоугольник: скругленные углы 51">
              <a:extLst>
                <a:ext uri="{FF2B5EF4-FFF2-40B4-BE49-F238E27FC236}">
                  <a16:creationId xmlns:a16="http://schemas.microsoft.com/office/drawing/2014/main" id="{B8463760-2E95-7F41-8D69-78ADCD51424A}"/>
                </a:ext>
              </a:extLst>
            </p:cNvPr>
            <p:cNvSpPr/>
            <p:nvPr userDrawn="1"/>
          </p:nvSpPr>
          <p:spPr>
            <a:xfrm>
              <a:off x="-1475201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tx2"/>
            </a:solidFill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6" name="Прямоугольник: скругленные углы 52">
              <a:extLst>
                <a:ext uri="{FF2B5EF4-FFF2-40B4-BE49-F238E27FC236}">
                  <a16:creationId xmlns:a16="http://schemas.microsoft.com/office/drawing/2014/main" id="{F4E43358-7C59-7742-9006-77BCB78AAC96}"/>
                </a:ext>
              </a:extLst>
            </p:cNvPr>
            <p:cNvSpPr/>
            <p:nvPr userDrawn="1"/>
          </p:nvSpPr>
          <p:spPr>
            <a:xfrm>
              <a:off x="-1739900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B7EDC9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7" name="Прямоугольник: скругленные углы 53">
              <a:extLst>
                <a:ext uri="{FF2B5EF4-FFF2-40B4-BE49-F238E27FC236}">
                  <a16:creationId xmlns:a16="http://schemas.microsoft.com/office/drawing/2014/main" id="{8D74125F-3DAF-1243-B5DB-C50B7F067B7A}"/>
                </a:ext>
              </a:extLst>
            </p:cNvPr>
            <p:cNvSpPr/>
            <p:nvPr userDrawn="1"/>
          </p:nvSpPr>
          <p:spPr>
            <a:xfrm>
              <a:off x="-1474837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FA800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8" name="Прямоугольник: скругленные углы 54">
              <a:extLst>
                <a:ext uri="{FF2B5EF4-FFF2-40B4-BE49-F238E27FC236}">
                  <a16:creationId xmlns:a16="http://schemas.microsoft.com/office/drawing/2014/main" id="{44432125-3D9D-D442-B24A-85728B35FD4A}"/>
                </a:ext>
              </a:extLst>
            </p:cNvPr>
            <p:cNvSpPr/>
            <p:nvPr userDrawn="1"/>
          </p:nvSpPr>
          <p:spPr>
            <a:xfrm>
              <a:off x="-2004963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10C44C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F100AD9B-3799-5A44-84B2-58F0A8CEA72F}"/>
                </a:ext>
              </a:extLst>
            </p:cNvPr>
            <p:cNvSpPr txBox="1"/>
            <p:nvPr userDrawn="1"/>
          </p:nvSpPr>
          <p:spPr>
            <a:xfrm>
              <a:off x="-2003446" y="4973480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900"/>
                <a:t>Рост / падение показателей</a:t>
              </a:r>
            </a:p>
          </p:txBody>
        </p:sp>
        <p:sp>
          <p:nvSpPr>
            <p:cNvPr id="50" name="Прямоугольник: скругленные углы 56">
              <a:extLst>
                <a:ext uri="{FF2B5EF4-FFF2-40B4-BE49-F238E27FC236}">
                  <a16:creationId xmlns:a16="http://schemas.microsoft.com/office/drawing/2014/main" id="{0F884F14-3960-B242-888C-339C387823E8}"/>
                </a:ext>
              </a:extLst>
            </p:cNvPr>
            <p:cNvSpPr/>
            <p:nvPr userDrawn="1"/>
          </p:nvSpPr>
          <p:spPr>
            <a:xfrm>
              <a:off x="-1209774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1">
                <a:lumMod val="20000"/>
                <a:lumOff val="80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1" name="Прямоугольник: скругленные углы 57">
              <a:extLst>
                <a:ext uri="{FF2B5EF4-FFF2-40B4-BE49-F238E27FC236}">
                  <a16:creationId xmlns:a16="http://schemas.microsoft.com/office/drawing/2014/main" id="{8C21DCD3-8FE4-8048-ABE4-97E1E06BFDF6}"/>
                </a:ext>
              </a:extLst>
            </p:cNvPr>
            <p:cNvSpPr/>
            <p:nvPr/>
          </p:nvSpPr>
          <p:spPr>
            <a:xfrm>
              <a:off x="-2131314" y="5782119"/>
              <a:ext cx="1928240" cy="1075881"/>
            </a:xfrm>
            <a:prstGeom prst="roundRect">
              <a:avLst>
                <a:gd name="adj" fmla="val 12985"/>
              </a:avLst>
            </a:prstGeom>
            <a:solidFill>
              <a:schemeClr val="bg1"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01253F1C-5597-744D-8CEA-5D6DD3C45E06}"/>
                </a:ext>
              </a:extLst>
            </p:cNvPr>
            <p:cNvSpPr txBox="1"/>
            <p:nvPr/>
          </p:nvSpPr>
          <p:spPr>
            <a:xfrm>
              <a:off x="-1788338" y="5868204"/>
              <a:ext cx="1155882" cy="15109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l">
                <a:lnSpc>
                  <a:spcPct val="90000"/>
                </a:lnSpc>
              </a:pPr>
              <a:r>
                <a:rPr lang="ru-RU" sz="1000" b="1">
                  <a:solidFill>
                    <a:schemeClr val="accent1"/>
                  </a:solidFill>
                </a:rPr>
                <a:t>Шаблон </a:t>
              </a:r>
              <a:r>
                <a:rPr lang="en-US" sz="1000" b="1">
                  <a:solidFill>
                    <a:schemeClr val="accent1"/>
                  </a:solidFill>
                </a:rPr>
                <a:t>Ozon</a:t>
              </a:r>
              <a:endParaRPr lang="ru-RU" sz="1000" b="1">
                <a:solidFill>
                  <a:schemeClr val="accent1"/>
                </a:solidFill>
              </a:endParaRPr>
            </a:p>
          </p:txBody>
        </p:sp>
        <p:sp>
          <p:nvSpPr>
            <p:cNvPr id="53" name="Рисунок 93">
              <a:extLst>
                <a:ext uri="{FF2B5EF4-FFF2-40B4-BE49-F238E27FC236}">
                  <a16:creationId xmlns:a16="http://schemas.microsoft.com/office/drawing/2014/main" id="{85953602-8DD0-414C-B7C0-3147B106D0D0}"/>
                </a:ext>
              </a:extLst>
            </p:cNvPr>
            <p:cNvSpPr/>
            <p:nvPr/>
          </p:nvSpPr>
          <p:spPr>
            <a:xfrm>
              <a:off x="-2004963" y="5853908"/>
              <a:ext cx="161099" cy="161099"/>
            </a:xfrm>
            <a:custGeom>
              <a:avLst/>
              <a:gdLst>
                <a:gd name="connsiteX0" fmla="*/ 85725 w 171450"/>
                <a:gd name="connsiteY0" fmla="*/ 171450 h 171450"/>
                <a:gd name="connsiteX1" fmla="*/ 171450 w 171450"/>
                <a:gd name="connsiteY1" fmla="*/ 85725 h 171450"/>
                <a:gd name="connsiteX2" fmla="*/ 85725 w 171450"/>
                <a:gd name="connsiteY2" fmla="*/ 0 h 171450"/>
                <a:gd name="connsiteX3" fmla="*/ 0 w 171450"/>
                <a:gd name="connsiteY3" fmla="*/ 85725 h 171450"/>
                <a:gd name="connsiteX4" fmla="*/ 85725 w 171450"/>
                <a:gd name="connsiteY4" fmla="*/ 171450 h 171450"/>
                <a:gd name="connsiteX5" fmla="*/ 130560 w 171450"/>
                <a:gd name="connsiteY5" fmla="*/ 73410 h 171450"/>
                <a:gd name="connsiteX6" fmla="*/ 82935 w 171450"/>
                <a:gd name="connsiteY6" fmla="*/ 121035 h 171450"/>
                <a:gd name="connsiteX7" fmla="*/ 69465 w 171450"/>
                <a:gd name="connsiteY7" fmla="*/ 121035 h 171450"/>
                <a:gd name="connsiteX8" fmla="*/ 40890 w 171450"/>
                <a:gd name="connsiteY8" fmla="*/ 92460 h 171450"/>
                <a:gd name="connsiteX9" fmla="*/ 40890 w 171450"/>
                <a:gd name="connsiteY9" fmla="*/ 78990 h 171450"/>
                <a:gd name="connsiteX10" fmla="*/ 54360 w 171450"/>
                <a:gd name="connsiteY10" fmla="*/ 78990 h 171450"/>
                <a:gd name="connsiteX11" fmla="*/ 76200 w 171450"/>
                <a:gd name="connsiteY11" fmla="*/ 100830 h 171450"/>
                <a:gd name="connsiteX12" fmla="*/ 117090 w 171450"/>
                <a:gd name="connsiteY12" fmla="*/ 59940 h 171450"/>
                <a:gd name="connsiteX13" fmla="*/ 130560 w 171450"/>
                <a:gd name="connsiteY13" fmla="*/ 59940 h 171450"/>
                <a:gd name="connsiteX14" fmla="*/ 130560 w 171450"/>
                <a:gd name="connsiteY14" fmla="*/ 7341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71450" h="171450">
                  <a:moveTo>
                    <a:pt x="85725" y="171450"/>
                  </a:moveTo>
                  <a:cubicBezTo>
                    <a:pt x="138915" y="171450"/>
                    <a:pt x="171450" y="138915"/>
                    <a:pt x="171450" y="85725"/>
                  </a:cubicBezTo>
                  <a:cubicBezTo>
                    <a:pt x="171450" y="32535"/>
                    <a:pt x="138915" y="0"/>
                    <a:pt x="85725" y="0"/>
                  </a:cubicBezTo>
                  <a:cubicBezTo>
                    <a:pt x="32535" y="0"/>
                    <a:pt x="0" y="32535"/>
                    <a:pt x="0" y="85725"/>
                  </a:cubicBezTo>
                  <a:cubicBezTo>
                    <a:pt x="0" y="138915"/>
                    <a:pt x="32535" y="171450"/>
                    <a:pt x="85725" y="171450"/>
                  </a:cubicBezTo>
                  <a:close/>
                  <a:moveTo>
                    <a:pt x="130560" y="73410"/>
                  </a:moveTo>
                  <a:lnTo>
                    <a:pt x="82935" y="121035"/>
                  </a:lnTo>
                  <a:cubicBezTo>
                    <a:pt x="79216" y="124755"/>
                    <a:pt x="73184" y="124755"/>
                    <a:pt x="69465" y="121035"/>
                  </a:cubicBezTo>
                  <a:lnTo>
                    <a:pt x="40890" y="92460"/>
                  </a:lnTo>
                  <a:cubicBezTo>
                    <a:pt x="37170" y="88741"/>
                    <a:pt x="37170" y="82709"/>
                    <a:pt x="40890" y="78990"/>
                  </a:cubicBezTo>
                  <a:cubicBezTo>
                    <a:pt x="44610" y="75270"/>
                    <a:pt x="50640" y="75270"/>
                    <a:pt x="54360" y="78990"/>
                  </a:cubicBezTo>
                  <a:lnTo>
                    <a:pt x="76200" y="100830"/>
                  </a:lnTo>
                  <a:lnTo>
                    <a:pt x="117090" y="59940"/>
                  </a:lnTo>
                  <a:cubicBezTo>
                    <a:pt x="120809" y="56220"/>
                    <a:pt x="126841" y="56220"/>
                    <a:pt x="130560" y="59940"/>
                  </a:cubicBezTo>
                  <a:cubicBezTo>
                    <a:pt x="134280" y="63660"/>
                    <a:pt x="134280" y="69691"/>
                    <a:pt x="130560" y="7341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38D23689-A10C-C84C-A3F6-4C90E67083F4}"/>
                </a:ext>
              </a:extLst>
            </p:cNvPr>
            <p:cNvSpPr txBox="1"/>
            <p:nvPr/>
          </p:nvSpPr>
          <p:spPr>
            <a:xfrm>
              <a:off x="-2004962" y="6072106"/>
              <a:ext cx="1687587" cy="60024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>
                <a:lnSpc>
                  <a:spcPct val="110000"/>
                </a:lnSpc>
              </a:pPr>
              <a:r>
                <a:rPr lang="ru-RU" sz="900" spc="-30" baseline="0">
                  <a:solidFill>
                    <a:schemeClr val="tx2"/>
                  </a:solidFill>
                </a:rPr>
                <a:t>Если нужно больше материалов: </a:t>
              </a:r>
              <a:r>
                <a:rPr lang="ru-RU" sz="900" b="1" spc="-30" baseline="0">
                  <a:solidFill>
                    <a:schemeClr val="tx2"/>
                  </a:solidFill>
                </a:rPr>
                <a:t>правое меню </a:t>
              </a:r>
              <a:r>
                <a:rPr lang="en-US" sz="900" b="1" spc="-30" baseline="0">
                  <a:solidFill>
                    <a:schemeClr val="tx2"/>
                  </a:solidFill>
                </a:rPr>
                <a:t>Staff — Brand </a:t>
              </a:r>
              <a:r>
                <a:rPr lang="ru-RU" sz="900" b="1" spc="-30" baseline="0">
                  <a:solidFill>
                    <a:schemeClr val="tx2"/>
                  </a:solidFill>
                </a:rPr>
                <a:t>— Всё для презентаций. </a:t>
              </a:r>
              <a:r>
                <a:rPr lang="ru-RU" sz="900" b="0" spc="-30" baseline="0">
                  <a:solidFill>
                    <a:schemeClr val="tx2"/>
                  </a:solidFill>
                </a:rPr>
                <a:t>Или пиши нам на </a:t>
              </a:r>
              <a:r>
                <a:rPr lang="en-US" sz="900" b="0" spc="-30" baseline="0">
                  <a:solidFill>
                    <a:schemeClr val="tx2"/>
                  </a:solidFill>
                </a:rPr>
                <a:t>presentations@ozon.ru.</a:t>
              </a:r>
              <a:r>
                <a:rPr lang="ru-RU" sz="900" b="0" spc="-30" baseline="0">
                  <a:solidFill>
                    <a:schemeClr val="tx2"/>
                  </a:solidFill>
                </a:rPr>
                <a:t> </a:t>
              </a:r>
            </a:p>
          </p:txBody>
        </p:sp>
        <p:sp>
          <p:nvSpPr>
            <p:cNvPr id="55" name="Прямоугольник: скругленные углы 63">
              <a:extLst>
                <a:ext uri="{FF2B5EF4-FFF2-40B4-BE49-F238E27FC236}">
                  <a16:creationId xmlns:a16="http://schemas.microsoft.com/office/drawing/2014/main" id="{A10FA71E-C641-A547-A901-7E3DEBBC73B6}"/>
                </a:ext>
              </a:extLst>
            </p:cNvPr>
            <p:cNvSpPr/>
            <p:nvPr userDrawn="1"/>
          </p:nvSpPr>
          <p:spPr>
            <a:xfrm>
              <a:off x="-944711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53C14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6" name="Прямоугольник: скругленные углы 64">
              <a:extLst>
                <a:ext uri="{FF2B5EF4-FFF2-40B4-BE49-F238E27FC236}">
                  <a16:creationId xmlns:a16="http://schemas.microsoft.com/office/drawing/2014/main" id="{CB3BDB71-8A17-634F-886A-D0C8E06D7541}"/>
                </a:ext>
              </a:extLst>
            </p:cNvPr>
            <p:cNvSpPr/>
            <p:nvPr userDrawn="1"/>
          </p:nvSpPr>
          <p:spPr>
            <a:xfrm>
              <a:off x="-679648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CC4B8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7" name="Прямоугольник: скругленные углы 65">
              <a:extLst>
                <a:ext uri="{FF2B5EF4-FFF2-40B4-BE49-F238E27FC236}">
                  <a16:creationId xmlns:a16="http://schemas.microsoft.com/office/drawing/2014/main" id="{A52014EE-AD24-8047-A7C5-8505CD5406A5}"/>
                </a:ext>
              </a:extLst>
            </p:cNvPr>
            <p:cNvSpPr/>
            <p:nvPr userDrawn="1"/>
          </p:nvSpPr>
          <p:spPr>
            <a:xfrm>
              <a:off x="-1209774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FE5B2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8" name="Прямоугольник: скругленные углы 13">
              <a:extLst>
                <a:ext uri="{FF2B5EF4-FFF2-40B4-BE49-F238E27FC236}">
                  <a16:creationId xmlns:a16="http://schemas.microsoft.com/office/drawing/2014/main" id="{A0DC93E9-C88B-3241-AB74-A84EDF436A3B}"/>
                </a:ext>
              </a:extLst>
            </p:cNvPr>
            <p:cNvSpPr/>
            <p:nvPr userDrawn="1"/>
          </p:nvSpPr>
          <p:spPr>
            <a:xfrm>
              <a:off x="-2004344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9" name="Прямоугольник: скругленные углы 15">
              <a:extLst>
                <a:ext uri="{FF2B5EF4-FFF2-40B4-BE49-F238E27FC236}">
                  <a16:creationId xmlns:a16="http://schemas.microsoft.com/office/drawing/2014/main" id="{EB693D4B-DD7E-F542-804C-BF3AA740DA7C}"/>
                </a:ext>
              </a:extLst>
            </p:cNvPr>
            <p:cNvSpPr/>
            <p:nvPr userDrawn="1"/>
          </p:nvSpPr>
          <p:spPr>
            <a:xfrm>
              <a:off x="-1738339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6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2" name="Прямоугольник: скругленные углы 48">
              <a:extLst>
                <a:ext uri="{FF2B5EF4-FFF2-40B4-BE49-F238E27FC236}">
                  <a16:creationId xmlns:a16="http://schemas.microsoft.com/office/drawing/2014/main" id="{9725E235-973A-2E46-917C-D9D5131CC91A}"/>
                </a:ext>
              </a:extLst>
            </p:cNvPr>
            <p:cNvSpPr/>
            <p:nvPr userDrawn="1"/>
          </p:nvSpPr>
          <p:spPr>
            <a:xfrm>
              <a:off x="-1475201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tx2"/>
            </a:solidFill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3" name="Прямоугольник: скругленные углы 56">
              <a:extLst>
                <a:ext uri="{FF2B5EF4-FFF2-40B4-BE49-F238E27FC236}">
                  <a16:creationId xmlns:a16="http://schemas.microsoft.com/office/drawing/2014/main" id="{BBC3A543-8AE3-0047-93A5-060D23112712}"/>
                </a:ext>
              </a:extLst>
            </p:cNvPr>
            <p:cNvSpPr/>
            <p:nvPr userDrawn="1"/>
          </p:nvSpPr>
          <p:spPr>
            <a:xfrm>
              <a:off x="-946163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18817645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8">
          <p15:clr>
            <a:srgbClr val="F26B43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final_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Группа 3">
            <a:extLst>
              <a:ext uri="{FF2B5EF4-FFF2-40B4-BE49-F238E27FC236}">
                <a16:creationId xmlns:a16="http://schemas.microsoft.com/office/drawing/2014/main" id="{ABC908F3-2C71-3587-E192-B523B037ECE4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549398" y="883609"/>
            <a:ext cx="2131200" cy="473348"/>
            <a:chOff x="8489504" y="910877"/>
            <a:chExt cx="2734509" cy="606592"/>
          </a:xfrm>
          <a:solidFill>
            <a:schemeClr val="bg1"/>
          </a:solidFill>
        </p:grpSpPr>
        <p:sp>
          <p:nvSpPr>
            <p:cNvPr id="5" name="Полилиния 4">
              <a:extLst>
                <a:ext uri="{FF2B5EF4-FFF2-40B4-BE49-F238E27FC236}">
                  <a16:creationId xmlns:a16="http://schemas.microsoft.com/office/drawing/2014/main" id="{54AF277A-3642-82A7-A095-454A4DF9E269}"/>
                </a:ext>
              </a:extLst>
            </p:cNvPr>
            <p:cNvSpPr/>
            <p:nvPr/>
          </p:nvSpPr>
          <p:spPr>
            <a:xfrm>
              <a:off x="10064626" y="910877"/>
              <a:ext cx="1159387" cy="606592"/>
            </a:xfrm>
            <a:custGeom>
              <a:avLst/>
              <a:gdLst>
                <a:gd name="connsiteX0" fmla="*/ 0 w 1159387"/>
                <a:gd name="connsiteY0" fmla="*/ 178242 h 606592"/>
                <a:gd name="connsiteX1" fmla="*/ 0 w 1159387"/>
                <a:gd name="connsiteY1" fmla="*/ 237024 h 606592"/>
                <a:gd name="connsiteX2" fmla="*/ 9135 w 1159387"/>
                <a:gd name="connsiteY2" fmla="*/ 246098 h 606592"/>
                <a:gd name="connsiteX3" fmla="*/ 30214 w 1159387"/>
                <a:gd name="connsiteY3" fmla="*/ 250009 h 606592"/>
                <a:gd name="connsiteX4" fmla="*/ 32261 w 1159387"/>
                <a:gd name="connsiteY4" fmla="*/ 250607 h 606592"/>
                <a:gd name="connsiteX5" fmla="*/ 85030 w 1159387"/>
                <a:gd name="connsiteY5" fmla="*/ 319338 h 606592"/>
                <a:gd name="connsiteX6" fmla="*/ 85030 w 1159387"/>
                <a:gd name="connsiteY6" fmla="*/ 483817 h 606592"/>
                <a:gd name="connsiteX7" fmla="*/ 120863 w 1159387"/>
                <a:gd name="connsiteY7" fmla="*/ 570989 h 606592"/>
                <a:gd name="connsiteX8" fmla="*/ 205874 w 1159387"/>
                <a:gd name="connsiteY8" fmla="*/ 606364 h 606592"/>
                <a:gd name="connsiteX9" fmla="*/ 207284 w 1159387"/>
                <a:gd name="connsiteY9" fmla="*/ 606364 h 606592"/>
                <a:gd name="connsiteX10" fmla="*/ 235964 w 1159387"/>
                <a:gd name="connsiteY10" fmla="*/ 606364 h 606592"/>
                <a:gd name="connsiteX11" fmla="*/ 247356 w 1159387"/>
                <a:gd name="connsiteY11" fmla="*/ 593268 h 606592"/>
                <a:gd name="connsiteX12" fmla="*/ 247337 w 1159387"/>
                <a:gd name="connsiteY12" fmla="*/ 563750 h 606592"/>
                <a:gd name="connsiteX13" fmla="*/ 247337 w 1159387"/>
                <a:gd name="connsiteY13" fmla="*/ 541928 h 606592"/>
                <a:gd name="connsiteX14" fmla="*/ 236802 w 1159387"/>
                <a:gd name="connsiteY14" fmla="*/ 530565 h 606592"/>
                <a:gd name="connsiteX15" fmla="*/ 197454 w 1159387"/>
                <a:gd name="connsiteY15" fmla="*/ 530527 h 606592"/>
                <a:gd name="connsiteX16" fmla="*/ 159506 w 1159387"/>
                <a:gd name="connsiteY16" fmla="*/ 492285 h 606592"/>
                <a:gd name="connsiteX17" fmla="*/ 159506 w 1159387"/>
                <a:gd name="connsiteY17" fmla="*/ 403084 h 606592"/>
                <a:gd name="connsiteX18" fmla="*/ 159506 w 1159387"/>
                <a:gd name="connsiteY18" fmla="*/ 316772 h 606592"/>
                <a:gd name="connsiteX19" fmla="*/ 100365 w 1159387"/>
                <a:gd name="connsiteY19" fmla="*/ 207274 h 606592"/>
                <a:gd name="connsiteX20" fmla="*/ 99080 w 1159387"/>
                <a:gd name="connsiteY20" fmla="*/ 206423 h 606592"/>
                <a:gd name="connsiteX21" fmla="*/ 100356 w 1159387"/>
                <a:gd name="connsiteY21" fmla="*/ 205547 h 606592"/>
                <a:gd name="connsiteX22" fmla="*/ 159506 w 1159387"/>
                <a:gd name="connsiteY22" fmla="*/ 90665 h 606592"/>
                <a:gd name="connsiteX23" fmla="*/ 159506 w 1159387"/>
                <a:gd name="connsiteY23" fmla="*/ 10992 h 606592"/>
                <a:gd name="connsiteX24" fmla="*/ 148962 w 1159387"/>
                <a:gd name="connsiteY24" fmla="*/ 0 h 606592"/>
                <a:gd name="connsiteX25" fmla="*/ 95565 w 1159387"/>
                <a:gd name="connsiteY25" fmla="*/ 0 h 606592"/>
                <a:gd name="connsiteX26" fmla="*/ 85030 w 1159387"/>
                <a:gd name="connsiteY26" fmla="*/ 10992 h 606592"/>
                <a:gd name="connsiteX27" fmla="*/ 85030 w 1159387"/>
                <a:gd name="connsiteY27" fmla="*/ 90665 h 606592"/>
                <a:gd name="connsiteX28" fmla="*/ 32366 w 1159387"/>
                <a:gd name="connsiteY28" fmla="*/ 162761 h 606592"/>
                <a:gd name="connsiteX29" fmla="*/ 30214 w 1159387"/>
                <a:gd name="connsiteY29" fmla="*/ 163402 h 606592"/>
                <a:gd name="connsiteX30" fmla="*/ 9135 w 1159387"/>
                <a:gd name="connsiteY30" fmla="*/ 167302 h 606592"/>
                <a:gd name="connsiteX31" fmla="*/ 0 w 1159387"/>
                <a:gd name="connsiteY31" fmla="*/ 178242 h 606592"/>
                <a:gd name="connsiteX32" fmla="*/ 933768 w 1159387"/>
                <a:gd name="connsiteY32" fmla="*/ 313343 h 606592"/>
                <a:gd name="connsiteX33" fmla="*/ 933768 w 1159387"/>
                <a:gd name="connsiteY33" fmla="*/ 468558 h 606592"/>
                <a:gd name="connsiteX34" fmla="*/ 930749 w 1159387"/>
                <a:gd name="connsiteY34" fmla="*/ 475902 h 606592"/>
                <a:gd name="connsiteX35" fmla="*/ 923472 w 1159387"/>
                <a:gd name="connsiteY35" fmla="*/ 478940 h 606592"/>
                <a:gd name="connsiteX36" fmla="*/ 869627 w 1159387"/>
                <a:gd name="connsiteY36" fmla="*/ 478902 h 606592"/>
                <a:gd name="connsiteX37" fmla="*/ 859349 w 1159387"/>
                <a:gd name="connsiteY37" fmla="*/ 468530 h 606592"/>
                <a:gd name="connsiteX38" fmla="*/ 859349 w 1159387"/>
                <a:gd name="connsiteY38" fmla="*/ 10375 h 606592"/>
                <a:gd name="connsiteX39" fmla="*/ 869636 w 1159387"/>
                <a:gd name="connsiteY39" fmla="*/ 0 h 606592"/>
                <a:gd name="connsiteX40" fmla="*/ 923472 w 1159387"/>
                <a:gd name="connsiteY40" fmla="*/ 0 h 606592"/>
                <a:gd name="connsiteX41" fmla="*/ 933768 w 1159387"/>
                <a:gd name="connsiteY41" fmla="*/ 10375 h 606592"/>
                <a:gd name="connsiteX42" fmla="*/ 933768 w 1159387"/>
                <a:gd name="connsiteY42" fmla="*/ 193355 h 606592"/>
                <a:gd name="connsiteX43" fmla="*/ 1159388 w 1159387"/>
                <a:gd name="connsiteY43" fmla="*/ 312995 h 606592"/>
                <a:gd name="connsiteX44" fmla="*/ 1159388 w 1159387"/>
                <a:gd name="connsiteY44" fmla="*/ 468520 h 606592"/>
                <a:gd name="connsiteX45" fmla="*/ 1156378 w 1159387"/>
                <a:gd name="connsiteY45" fmla="*/ 475854 h 606592"/>
                <a:gd name="connsiteX46" fmla="*/ 1149101 w 1159387"/>
                <a:gd name="connsiteY46" fmla="*/ 478893 h 606592"/>
                <a:gd name="connsiteX47" fmla="*/ 1095199 w 1159387"/>
                <a:gd name="connsiteY47" fmla="*/ 478893 h 606592"/>
                <a:gd name="connsiteX48" fmla="*/ 1087922 w 1159387"/>
                <a:gd name="connsiteY48" fmla="*/ 475854 h 606592"/>
                <a:gd name="connsiteX49" fmla="*/ 1084912 w 1159387"/>
                <a:gd name="connsiteY49" fmla="*/ 468520 h 606592"/>
                <a:gd name="connsiteX50" fmla="*/ 1084912 w 1159387"/>
                <a:gd name="connsiteY50" fmla="*/ 312995 h 606592"/>
                <a:gd name="connsiteX51" fmla="*/ 966868 w 1159387"/>
                <a:gd name="connsiteY51" fmla="*/ 246504 h 606592"/>
                <a:gd name="connsiteX52" fmla="*/ 933768 w 1159387"/>
                <a:gd name="connsiteY52" fmla="*/ 313343 h 606592"/>
                <a:gd name="connsiteX53" fmla="*/ 596563 w 1159387"/>
                <a:gd name="connsiteY53" fmla="*/ 207040 h 606592"/>
                <a:gd name="connsiteX54" fmla="*/ 549471 w 1159387"/>
                <a:gd name="connsiteY54" fmla="*/ 323084 h 606592"/>
                <a:gd name="connsiteX55" fmla="*/ 596563 w 1159387"/>
                <a:gd name="connsiteY55" fmla="*/ 439145 h 606592"/>
                <a:gd name="connsiteX56" fmla="*/ 797522 w 1159387"/>
                <a:gd name="connsiteY56" fmla="*/ 460995 h 606592"/>
                <a:gd name="connsiteX57" fmla="*/ 799923 w 1159387"/>
                <a:gd name="connsiteY57" fmla="*/ 459357 h 606592"/>
                <a:gd name="connsiteX58" fmla="*/ 805247 w 1159387"/>
                <a:gd name="connsiteY58" fmla="*/ 455385 h 606592"/>
                <a:gd name="connsiteX59" fmla="*/ 806018 w 1159387"/>
                <a:gd name="connsiteY59" fmla="*/ 438745 h 606592"/>
                <a:gd name="connsiteX60" fmla="*/ 790226 w 1159387"/>
                <a:gd name="connsiteY60" fmla="*/ 417067 h 606592"/>
                <a:gd name="connsiteX61" fmla="*/ 776110 w 1159387"/>
                <a:gd name="connsiteY61" fmla="*/ 397747 h 606592"/>
                <a:gd name="connsiteX62" fmla="*/ 760975 w 1159387"/>
                <a:gd name="connsiteY62" fmla="*/ 394585 h 606592"/>
                <a:gd name="connsiteX63" fmla="*/ 757003 w 1159387"/>
                <a:gd name="connsiteY63" fmla="*/ 397067 h 606592"/>
                <a:gd name="connsiteX64" fmla="*/ 619737 w 1159387"/>
                <a:gd name="connsiteY64" fmla="*/ 323084 h 606592"/>
                <a:gd name="connsiteX65" fmla="*/ 756945 w 1159387"/>
                <a:gd name="connsiteY65" fmla="*/ 249203 h 606592"/>
                <a:gd name="connsiteX66" fmla="*/ 760975 w 1159387"/>
                <a:gd name="connsiteY66" fmla="*/ 251591 h 606592"/>
                <a:gd name="connsiteX67" fmla="*/ 776148 w 1159387"/>
                <a:gd name="connsiteY67" fmla="*/ 248416 h 606592"/>
                <a:gd name="connsiteX68" fmla="*/ 790207 w 1159387"/>
                <a:gd name="connsiteY68" fmla="*/ 229138 h 606592"/>
                <a:gd name="connsiteX69" fmla="*/ 804618 w 1159387"/>
                <a:gd name="connsiteY69" fmla="*/ 209395 h 606592"/>
                <a:gd name="connsiteX70" fmla="*/ 799903 w 1159387"/>
                <a:gd name="connsiteY70" fmla="*/ 186809 h 606592"/>
                <a:gd name="connsiteX71" fmla="*/ 797522 w 1159387"/>
                <a:gd name="connsiteY71" fmla="*/ 185195 h 606592"/>
                <a:gd name="connsiteX72" fmla="*/ 596563 w 1159387"/>
                <a:gd name="connsiteY72" fmla="*/ 207040 h 606592"/>
                <a:gd name="connsiteX73" fmla="*/ 293714 w 1159387"/>
                <a:gd name="connsiteY73" fmla="*/ 350313 h 606592"/>
                <a:gd name="connsiteX74" fmla="*/ 469385 w 1159387"/>
                <a:gd name="connsiteY74" fmla="*/ 350313 h 606592"/>
                <a:gd name="connsiteX75" fmla="*/ 507323 w 1159387"/>
                <a:gd name="connsiteY75" fmla="*/ 312290 h 606592"/>
                <a:gd name="connsiteX76" fmla="*/ 472890 w 1159387"/>
                <a:gd name="connsiteY76" fmla="*/ 208836 h 606592"/>
                <a:gd name="connsiteX77" fmla="*/ 368190 w 1159387"/>
                <a:gd name="connsiteY77" fmla="*/ 159530 h 606592"/>
                <a:gd name="connsiteX78" fmla="*/ 219228 w 1159387"/>
                <a:gd name="connsiteY78" fmla="*/ 323103 h 606592"/>
                <a:gd name="connsiteX79" fmla="*/ 375915 w 1159387"/>
                <a:gd name="connsiteY79" fmla="*/ 486674 h 606592"/>
                <a:gd name="connsiteX80" fmla="*/ 502398 w 1159387"/>
                <a:gd name="connsiteY80" fmla="*/ 450623 h 606592"/>
                <a:gd name="connsiteX81" fmla="*/ 505913 w 1159387"/>
                <a:gd name="connsiteY81" fmla="*/ 435907 h 606592"/>
                <a:gd name="connsiteX82" fmla="*/ 504818 w 1159387"/>
                <a:gd name="connsiteY82" fmla="*/ 434088 h 606592"/>
                <a:gd name="connsiteX83" fmla="*/ 478519 w 1159387"/>
                <a:gd name="connsiteY83" fmla="*/ 391689 h 606592"/>
                <a:gd name="connsiteX84" fmla="*/ 464460 w 1159387"/>
                <a:gd name="connsiteY84" fmla="*/ 388476 h 606592"/>
                <a:gd name="connsiteX85" fmla="*/ 377335 w 1159387"/>
                <a:gd name="connsiteY85" fmla="*/ 414990 h 606592"/>
                <a:gd name="connsiteX86" fmla="*/ 293714 w 1159387"/>
                <a:gd name="connsiteY86" fmla="*/ 350313 h 606592"/>
                <a:gd name="connsiteX87" fmla="*/ 430732 w 1159387"/>
                <a:gd name="connsiteY87" fmla="*/ 287912 h 606592"/>
                <a:gd name="connsiteX88" fmla="*/ 368190 w 1159387"/>
                <a:gd name="connsiteY88" fmla="*/ 232071 h 606592"/>
                <a:gd name="connsiteX89" fmla="*/ 296524 w 1159387"/>
                <a:gd name="connsiteY89" fmla="*/ 287912 h 606592"/>
                <a:gd name="connsiteX90" fmla="*/ 430732 w 1159387"/>
                <a:gd name="connsiteY90" fmla="*/ 287912 h 606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</a:cxnLst>
              <a:rect l="l" t="t" r="r" b="b"/>
              <a:pathLst>
                <a:path w="1159387" h="606592">
                  <a:moveTo>
                    <a:pt x="0" y="178242"/>
                  </a:moveTo>
                  <a:lnTo>
                    <a:pt x="0" y="237024"/>
                  </a:lnTo>
                  <a:cubicBezTo>
                    <a:pt x="695" y="241577"/>
                    <a:pt x="4220" y="245266"/>
                    <a:pt x="9135" y="246098"/>
                  </a:cubicBezTo>
                  <a:cubicBezTo>
                    <a:pt x="16869" y="247387"/>
                    <a:pt x="27404" y="249197"/>
                    <a:pt x="30214" y="250009"/>
                  </a:cubicBezTo>
                  <a:cubicBezTo>
                    <a:pt x="30833" y="250193"/>
                    <a:pt x="31518" y="250390"/>
                    <a:pt x="32261" y="250607"/>
                  </a:cubicBezTo>
                  <a:cubicBezTo>
                    <a:pt x="46749" y="254784"/>
                    <a:pt x="83697" y="265433"/>
                    <a:pt x="85030" y="319338"/>
                  </a:cubicBezTo>
                  <a:lnTo>
                    <a:pt x="85030" y="483817"/>
                  </a:lnTo>
                  <a:cubicBezTo>
                    <a:pt x="85030" y="516573"/>
                    <a:pt x="97670" y="547958"/>
                    <a:pt x="120863" y="570989"/>
                  </a:cubicBezTo>
                  <a:cubicBezTo>
                    <a:pt x="143342" y="593696"/>
                    <a:pt x="174261" y="606402"/>
                    <a:pt x="205874" y="606364"/>
                  </a:cubicBezTo>
                  <a:lnTo>
                    <a:pt x="207284" y="606364"/>
                  </a:lnTo>
                  <a:cubicBezTo>
                    <a:pt x="207284" y="606364"/>
                    <a:pt x="207284" y="606879"/>
                    <a:pt x="235964" y="606364"/>
                  </a:cubicBezTo>
                  <a:cubicBezTo>
                    <a:pt x="243232" y="606231"/>
                    <a:pt x="247461" y="601383"/>
                    <a:pt x="247356" y="593268"/>
                  </a:cubicBezTo>
                  <a:cubicBezTo>
                    <a:pt x="247222" y="582028"/>
                    <a:pt x="247527" y="573246"/>
                    <a:pt x="247337" y="563750"/>
                  </a:cubicBezTo>
                  <a:cubicBezTo>
                    <a:pt x="247184" y="555816"/>
                    <a:pt x="247337" y="548520"/>
                    <a:pt x="247337" y="541928"/>
                  </a:cubicBezTo>
                  <a:cubicBezTo>
                    <a:pt x="247337" y="535804"/>
                    <a:pt x="242422" y="530794"/>
                    <a:pt x="236802" y="530565"/>
                  </a:cubicBezTo>
                  <a:cubicBezTo>
                    <a:pt x="226258" y="530527"/>
                    <a:pt x="211504" y="530527"/>
                    <a:pt x="197454" y="530527"/>
                  </a:cubicBezTo>
                  <a:cubicBezTo>
                    <a:pt x="177071" y="530527"/>
                    <a:pt x="159506" y="513401"/>
                    <a:pt x="159506" y="492285"/>
                  </a:cubicBezTo>
                  <a:lnTo>
                    <a:pt x="159506" y="403084"/>
                  </a:lnTo>
                  <a:cubicBezTo>
                    <a:pt x="160202" y="402874"/>
                    <a:pt x="159506" y="317750"/>
                    <a:pt x="159506" y="316772"/>
                  </a:cubicBezTo>
                  <a:cubicBezTo>
                    <a:pt x="157544" y="243958"/>
                    <a:pt x="109233" y="212964"/>
                    <a:pt x="100365" y="207274"/>
                  </a:cubicBezTo>
                  <a:cubicBezTo>
                    <a:pt x="99708" y="206855"/>
                    <a:pt x="99270" y="206569"/>
                    <a:pt x="99080" y="206423"/>
                  </a:cubicBezTo>
                  <a:cubicBezTo>
                    <a:pt x="99270" y="206264"/>
                    <a:pt x="99708" y="205979"/>
                    <a:pt x="100356" y="205547"/>
                  </a:cubicBezTo>
                  <a:cubicBezTo>
                    <a:pt x="109395" y="199604"/>
                    <a:pt x="159506" y="166622"/>
                    <a:pt x="159506" y="90665"/>
                  </a:cubicBezTo>
                  <a:lnTo>
                    <a:pt x="159506" y="10992"/>
                  </a:lnTo>
                  <a:cubicBezTo>
                    <a:pt x="159506" y="4922"/>
                    <a:pt x="155287" y="0"/>
                    <a:pt x="148962" y="0"/>
                  </a:cubicBezTo>
                  <a:lnTo>
                    <a:pt x="95565" y="0"/>
                  </a:lnTo>
                  <a:cubicBezTo>
                    <a:pt x="89945" y="0"/>
                    <a:pt x="85030" y="4922"/>
                    <a:pt x="85030" y="10992"/>
                  </a:cubicBezTo>
                  <a:lnTo>
                    <a:pt x="85030" y="90665"/>
                  </a:lnTo>
                  <a:cubicBezTo>
                    <a:pt x="85030" y="147350"/>
                    <a:pt x="47054" y="158469"/>
                    <a:pt x="32366" y="162761"/>
                  </a:cubicBezTo>
                  <a:cubicBezTo>
                    <a:pt x="31576" y="162997"/>
                    <a:pt x="30861" y="163206"/>
                    <a:pt x="30214" y="163402"/>
                  </a:cubicBezTo>
                  <a:cubicBezTo>
                    <a:pt x="27404" y="164209"/>
                    <a:pt x="16869" y="166026"/>
                    <a:pt x="9135" y="167302"/>
                  </a:cubicBezTo>
                  <a:cubicBezTo>
                    <a:pt x="3515" y="168248"/>
                    <a:pt x="0" y="172858"/>
                    <a:pt x="0" y="178242"/>
                  </a:cubicBezTo>
                  <a:close/>
                  <a:moveTo>
                    <a:pt x="933768" y="313343"/>
                  </a:moveTo>
                  <a:lnTo>
                    <a:pt x="933768" y="468558"/>
                  </a:lnTo>
                  <a:cubicBezTo>
                    <a:pt x="933768" y="471320"/>
                    <a:pt x="932682" y="473949"/>
                    <a:pt x="930749" y="475902"/>
                  </a:cubicBezTo>
                  <a:cubicBezTo>
                    <a:pt x="928825" y="477845"/>
                    <a:pt x="926206" y="478940"/>
                    <a:pt x="923472" y="478940"/>
                  </a:cubicBezTo>
                  <a:cubicBezTo>
                    <a:pt x="909270" y="478921"/>
                    <a:pt x="883819" y="478912"/>
                    <a:pt x="869627" y="478902"/>
                  </a:cubicBezTo>
                  <a:cubicBezTo>
                    <a:pt x="863950" y="478893"/>
                    <a:pt x="859349" y="474254"/>
                    <a:pt x="859349" y="468530"/>
                  </a:cubicBezTo>
                  <a:cubicBezTo>
                    <a:pt x="859349" y="405427"/>
                    <a:pt x="859349" y="73513"/>
                    <a:pt x="859349" y="10375"/>
                  </a:cubicBezTo>
                  <a:cubicBezTo>
                    <a:pt x="859349" y="4648"/>
                    <a:pt x="863959" y="0"/>
                    <a:pt x="869636" y="0"/>
                  </a:cubicBezTo>
                  <a:cubicBezTo>
                    <a:pt x="883838" y="0"/>
                    <a:pt x="909279" y="0"/>
                    <a:pt x="923472" y="0"/>
                  </a:cubicBezTo>
                  <a:cubicBezTo>
                    <a:pt x="929158" y="0"/>
                    <a:pt x="933768" y="4648"/>
                    <a:pt x="933768" y="10375"/>
                  </a:cubicBezTo>
                  <a:cubicBezTo>
                    <a:pt x="933768" y="50513"/>
                    <a:pt x="933768" y="193355"/>
                    <a:pt x="933768" y="193355"/>
                  </a:cubicBezTo>
                  <a:cubicBezTo>
                    <a:pt x="1013169" y="118433"/>
                    <a:pt x="1159388" y="172318"/>
                    <a:pt x="1159388" y="312995"/>
                  </a:cubicBezTo>
                  <a:lnTo>
                    <a:pt x="1159388" y="468520"/>
                  </a:lnTo>
                  <a:cubicBezTo>
                    <a:pt x="1159388" y="471273"/>
                    <a:pt x="1158302" y="473911"/>
                    <a:pt x="1156378" y="475854"/>
                  </a:cubicBezTo>
                  <a:cubicBezTo>
                    <a:pt x="1154445" y="477797"/>
                    <a:pt x="1151835" y="478893"/>
                    <a:pt x="1149101" y="478893"/>
                  </a:cubicBezTo>
                  <a:cubicBezTo>
                    <a:pt x="1134899" y="478893"/>
                    <a:pt x="1109401" y="478893"/>
                    <a:pt x="1095199" y="478893"/>
                  </a:cubicBezTo>
                  <a:cubicBezTo>
                    <a:pt x="1092465" y="478893"/>
                    <a:pt x="1089855" y="477797"/>
                    <a:pt x="1087922" y="475854"/>
                  </a:cubicBezTo>
                  <a:cubicBezTo>
                    <a:pt x="1085998" y="473911"/>
                    <a:pt x="1084912" y="471273"/>
                    <a:pt x="1084912" y="468520"/>
                  </a:cubicBezTo>
                  <a:cubicBezTo>
                    <a:pt x="1084912" y="432211"/>
                    <a:pt x="1084912" y="312995"/>
                    <a:pt x="1084912" y="312995"/>
                  </a:cubicBezTo>
                  <a:cubicBezTo>
                    <a:pt x="1084912" y="239513"/>
                    <a:pt x="1011121" y="217047"/>
                    <a:pt x="966868" y="246504"/>
                  </a:cubicBezTo>
                  <a:cubicBezTo>
                    <a:pt x="947885" y="259141"/>
                    <a:pt x="933768" y="281804"/>
                    <a:pt x="933768" y="313343"/>
                  </a:cubicBezTo>
                  <a:close/>
                  <a:moveTo>
                    <a:pt x="596563" y="207040"/>
                  </a:moveTo>
                  <a:cubicBezTo>
                    <a:pt x="564235" y="238922"/>
                    <a:pt x="549471" y="280953"/>
                    <a:pt x="549471" y="323084"/>
                  </a:cubicBezTo>
                  <a:cubicBezTo>
                    <a:pt x="549471" y="365223"/>
                    <a:pt x="564235" y="407246"/>
                    <a:pt x="596563" y="439145"/>
                  </a:cubicBezTo>
                  <a:cubicBezTo>
                    <a:pt x="650665" y="494085"/>
                    <a:pt x="734285" y="501400"/>
                    <a:pt x="797522" y="460995"/>
                  </a:cubicBezTo>
                  <a:cubicBezTo>
                    <a:pt x="798208" y="460481"/>
                    <a:pt x="799037" y="459938"/>
                    <a:pt x="799923" y="459357"/>
                  </a:cubicBezTo>
                  <a:cubicBezTo>
                    <a:pt x="801761" y="458147"/>
                    <a:pt x="803828" y="456795"/>
                    <a:pt x="805247" y="455385"/>
                  </a:cubicBezTo>
                  <a:cubicBezTo>
                    <a:pt x="808762" y="451909"/>
                    <a:pt x="810762" y="445470"/>
                    <a:pt x="806018" y="438745"/>
                  </a:cubicBezTo>
                  <a:cubicBezTo>
                    <a:pt x="801761" y="432697"/>
                    <a:pt x="796170" y="425153"/>
                    <a:pt x="790226" y="417067"/>
                  </a:cubicBezTo>
                  <a:cubicBezTo>
                    <a:pt x="785121" y="410132"/>
                    <a:pt x="780339" y="403665"/>
                    <a:pt x="776110" y="397747"/>
                  </a:cubicBezTo>
                  <a:cubicBezTo>
                    <a:pt x="772671" y="392947"/>
                    <a:pt x="765890" y="391664"/>
                    <a:pt x="760975" y="394585"/>
                  </a:cubicBezTo>
                  <a:cubicBezTo>
                    <a:pt x="759565" y="395461"/>
                    <a:pt x="758393" y="396172"/>
                    <a:pt x="757003" y="397067"/>
                  </a:cubicBezTo>
                  <a:cubicBezTo>
                    <a:pt x="686032" y="442936"/>
                    <a:pt x="619737" y="382374"/>
                    <a:pt x="619737" y="323084"/>
                  </a:cubicBezTo>
                  <a:cubicBezTo>
                    <a:pt x="619737" y="263795"/>
                    <a:pt x="687384" y="203573"/>
                    <a:pt x="756945" y="249203"/>
                  </a:cubicBezTo>
                  <a:cubicBezTo>
                    <a:pt x="758308" y="250105"/>
                    <a:pt x="759565" y="250708"/>
                    <a:pt x="760975" y="251591"/>
                  </a:cubicBezTo>
                  <a:cubicBezTo>
                    <a:pt x="765890" y="254512"/>
                    <a:pt x="772805" y="253115"/>
                    <a:pt x="776148" y="248416"/>
                  </a:cubicBezTo>
                  <a:cubicBezTo>
                    <a:pt x="780377" y="242497"/>
                    <a:pt x="785102" y="236065"/>
                    <a:pt x="790207" y="229138"/>
                  </a:cubicBezTo>
                  <a:cubicBezTo>
                    <a:pt x="795560" y="221854"/>
                    <a:pt x="800580" y="215072"/>
                    <a:pt x="804618" y="209395"/>
                  </a:cubicBezTo>
                  <a:cubicBezTo>
                    <a:pt x="811362" y="199928"/>
                    <a:pt x="809571" y="193191"/>
                    <a:pt x="799903" y="186809"/>
                  </a:cubicBezTo>
                  <a:cubicBezTo>
                    <a:pt x="799027" y="186231"/>
                    <a:pt x="798199" y="185691"/>
                    <a:pt x="797522" y="185195"/>
                  </a:cubicBezTo>
                  <a:cubicBezTo>
                    <a:pt x="734285" y="144778"/>
                    <a:pt x="650665" y="152087"/>
                    <a:pt x="596563" y="207040"/>
                  </a:cubicBezTo>
                  <a:close/>
                  <a:moveTo>
                    <a:pt x="293714" y="350313"/>
                  </a:moveTo>
                  <a:lnTo>
                    <a:pt x="469385" y="350313"/>
                  </a:lnTo>
                  <a:cubicBezTo>
                    <a:pt x="490463" y="350313"/>
                    <a:pt x="507323" y="333283"/>
                    <a:pt x="507323" y="312290"/>
                  </a:cubicBezTo>
                  <a:cubicBezTo>
                    <a:pt x="507323" y="265561"/>
                    <a:pt x="499588" y="240644"/>
                    <a:pt x="472890" y="208836"/>
                  </a:cubicBezTo>
                  <a:cubicBezTo>
                    <a:pt x="445486" y="176865"/>
                    <a:pt x="401919" y="159530"/>
                    <a:pt x="368190" y="159530"/>
                  </a:cubicBezTo>
                  <a:cubicBezTo>
                    <a:pt x="283875" y="159530"/>
                    <a:pt x="219228" y="231722"/>
                    <a:pt x="219228" y="323103"/>
                  </a:cubicBezTo>
                  <a:cubicBezTo>
                    <a:pt x="219228" y="435697"/>
                    <a:pt x="306354" y="486674"/>
                    <a:pt x="375915" y="486674"/>
                  </a:cubicBezTo>
                  <a:cubicBezTo>
                    <a:pt x="425807" y="486674"/>
                    <a:pt x="464460" y="474616"/>
                    <a:pt x="502398" y="450623"/>
                  </a:cubicBezTo>
                  <a:cubicBezTo>
                    <a:pt x="506618" y="447470"/>
                    <a:pt x="508723" y="441003"/>
                    <a:pt x="505913" y="435907"/>
                  </a:cubicBezTo>
                  <a:lnTo>
                    <a:pt x="504818" y="434088"/>
                  </a:lnTo>
                  <a:cubicBezTo>
                    <a:pt x="497150" y="421362"/>
                    <a:pt x="486558" y="403789"/>
                    <a:pt x="478519" y="391689"/>
                  </a:cubicBezTo>
                  <a:cubicBezTo>
                    <a:pt x="475709" y="386901"/>
                    <a:pt x="469385" y="385492"/>
                    <a:pt x="464460" y="388476"/>
                  </a:cubicBezTo>
                  <a:cubicBezTo>
                    <a:pt x="440571" y="402722"/>
                    <a:pt x="415273" y="415266"/>
                    <a:pt x="377335" y="414990"/>
                  </a:cubicBezTo>
                  <a:cubicBezTo>
                    <a:pt x="342197" y="414742"/>
                    <a:pt x="304954" y="392280"/>
                    <a:pt x="293714" y="350313"/>
                  </a:cubicBezTo>
                  <a:close/>
                  <a:moveTo>
                    <a:pt x="430732" y="287912"/>
                  </a:moveTo>
                  <a:cubicBezTo>
                    <a:pt x="424407" y="240694"/>
                    <a:pt x="392079" y="232071"/>
                    <a:pt x="368190" y="232071"/>
                  </a:cubicBezTo>
                  <a:cubicBezTo>
                    <a:pt x="335872" y="232071"/>
                    <a:pt x="308478" y="256182"/>
                    <a:pt x="296524" y="287912"/>
                  </a:cubicBezTo>
                  <a:lnTo>
                    <a:pt x="430732" y="287912"/>
                  </a:lnTo>
                  <a:close/>
                </a:path>
              </a:pathLst>
            </a:custGeom>
            <a:solidFill>
              <a:schemeClr val="accent2"/>
            </a:solidFill>
            <a:ln w="76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6" name="Полилиния 5">
              <a:extLst>
                <a:ext uri="{FF2B5EF4-FFF2-40B4-BE49-F238E27FC236}">
                  <a16:creationId xmlns:a16="http://schemas.microsoft.com/office/drawing/2014/main" id="{19B40B49-AB0A-4209-5890-243E9D6ECAA0}"/>
                </a:ext>
              </a:extLst>
            </p:cNvPr>
            <p:cNvSpPr/>
            <p:nvPr/>
          </p:nvSpPr>
          <p:spPr>
            <a:xfrm>
              <a:off x="8489504" y="1070894"/>
              <a:ext cx="1492273" cy="326563"/>
            </a:xfrm>
            <a:custGeom>
              <a:avLst/>
              <a:gdLst>
                <a:gd name="connsiteX0" fmla="*/ 180273 w 1492273"/>
                <a:gd name="connsiteY0" fmla="*/ 900 h 326563"/>
                <a:gd name="connsiteX1" fmla="*/ 83526 w 1492273"/>
                <a:gd name="connsiteY1" fmla="*/ 20775 h 326563"/>
                <a:gd name="connsiteX2" fmla="*/ 15954 w 1492273"/>
                <a:gd name="connsiteY2" fmla="*/ 92853 h 326563"/>
                <a:gd name="connsiteX3" fmla="*/ 2323 w 1492273"/>
                <a:gd name="connsiteY3" fmla="*/ 190737 h 326563"/>
                <a:gd name="connsiteX4" fmla="*/ 47618 w 1492273"/>
                <a:gd name="connsiteY4" fmla="*/ 278557 h 326563"/>
                <a:gd name="connsiteX5" fmla="*/ 135243 w 1492273"/>
                <a:gd name="connsiteY5" fmla="*/ 324153 h 326563"/>
                <a:gd name="connsiteX6" fmla="*/ 233098 w 1492273"/>
                <a:gd name="connsiteY6" fmla="*/ 310818 h 326563"/>
                <a:gd name="connsiteX7" fmla="*/ 305341 w 1492273"/>
                <a:gd name="connsiteY7" fmla="*/ 243429 h 326563"/>
                <a:gd name="connsiteX8" fmla="*/ 325507 w 1492273"/>
                <a:gd name="connsiteY8" fmla="*/ 146675 h 326563"/>
                <a:gd name="connsiteX9" fmla="*/ 278778 w 1492273"/>
                <a:gd name="connsiteY9" fmla="*/ 47965 h 326563"/>
                <a:gd name="connsiteX10" fmla="*/ 180273 w 1492273"/>
                <a:gd name="connsiteY10" fmla="*/ 900 h 326563"/>
                <a:gd name="connsiteX11" fmla="*/ 174984 w 1492273"/>
                <a:gd name="connsiteY11" fmla="*/ 249697 h 326563"/>
                <a:gd name="connsiteX12" fmla="*/ 122555 w 1492273"/>
                <a:gd name="connsiteY12" fmla="*/ 240277 h 326563"/>
                <a:gd name="connsiteX13" fmla="*/ 85427 w 1492273"/>
                <a:gd name="connsiteY13" fmla="*/ 202047 h 326563"/>
                <a:gd name="connsiteX14" fmla="*/ 77507 w 1492273"/>
                <a:gd name="connsiteY14" fmla="*/ 149329 h 326563"/>
                <a:gd name="connsiteX15" fmla="*/ 101766 w 1492273"/>
                <a:gd name="connsiteY15" fmla="*/ 101883 h 326563"/>
                <a:gd name="connsiteX16" fmla="*/ 149113 w 1492273"/>
                <a:gd name="connsiteY16" fmla="*/ 77461 h 326563"/>
                <a:gd name="connsiteX17" fmla="*/ 201825 w 1492273"/>
                <a:gd name="connsiteY17" fmla="*/ 85220 h 326563"/>
                <a:gd name="connsiteX18" fmla="*/ 240132 w 1492273"/>
                <a:gd name="connsiteY18" fmla="*/ 122247 h 326563"/>
                <a:gd name="connsiteX19" fmla="*/ 249714 w 1492273"/>
                <a:gd name="connsiteY19" fmla="*/ 174684 h 326563"/>
                <a:gd name="connsiteX20" fmla="*/ 225058 w 1492273"/>
                <a:gd name="connsiteY20" fmla="*/ 224868 h 326563"/>
                <a:gd name="connsiteX21" fmla="*/ 174984 w 1492273"/>
                <a:gd name="connsiteY21" fmla="*/ 249697 h 326563"/>
                <a:gd name="connsiteX22" fmla="*/ 412780 w 1492273"/>
                <a:gd name="connsiteY22" fmla="*/ 7358 h 326563"/>
                <a:gd name="connsiteX23" fmla="*/ 396435 w 1492273"/>
                <a:gd name="connsiteY23" fmla="*/ 11091 h 326563"/>
                <a:gd name="connsiteX24" fmla="*/ 383276 w 1492273"/>
                <a:gd name="connsiteY24" fmla="*/ 21498 h 326563"/>
                <a:gd name="connsiteX25" fmla="*/ 375859 w 1492273"/>
                <a:gd name="connsiteY25" fmla="*/ 36548 h 326563"/>
                <a:gd name="connsiteX26" fmla="*/ 375620 w 1492273"/>
                <a:gd name="connsiteY26" fmla="*/ 53325 h 326563"/>
                <a:gd name="connsiteX27" fmla="*/ 414209 w 1492273"/>
                <a:gd name="connsiteY27" fmla="*/ 83537 h 326563"/>
                <a:gd name="connsiteX28" fmla="*/ 520143 w 1492273"/>
                <a:gd name="connsiteY28" fmla="*/ 83537 h 326563"/>
                <a:gd name="connsiteX29" fmla="*/ 355289 w 1492273"/>
                <a:gd name="connsiteY29" fmla="*/ 301846 h 326563"/>
                <a:gd name="connsiteX30" fmla="*/ 353136 w 1492273"/>
                <a:gd name="connsiteY30" fmla="*/ 307389 h 326563"/>
                <a:gd name="connsiteX31" fmla="*/ 354212 w 1492273"/>
                <a:gd name="connsiteY31" fmla="*/ 313237 h 326563"/>
                <a:gd name="connsiteX32" fmla="*/ 358204 w 1492273"/>
                <a:gd name="connsiteY32" fmla="*/ 317647 h 326563"/>
                <a:gd name="connsiteX33" fmla="*/ 363921 w 1492273"/>
                <a:gd name="connsiteY33" fmla="*/ 319295 h 326563"/>
                <a:gd name="connsiteX34" fmla="*/ 622504 w 1492273"/>
                <a:gd name="connsiteY34" fmla="*/ 319295 h 326563"/>
                <a:gd name="connsiteX35" fmla="*/ 661099 w 1492273"/>
                <a:gd name="connsiteY35" fmla="*/ 289082 h 326563"/>
                <a:gd name="connsiteX36" fmla="*/ 660861 w 1492273"/>
                <a:gd name="connsiteY36" fmla="*/ 272299 h 326563"/>
                <a:gd name="connsiteX37" fmla="*/ 653451 w 1492273"/>
                <a:gd name="connsiteY37" fmla="*/ 257250 h 326563"/>
                <a:gd name="connsiteX38" fmla="*/ 640297 w 1492273"/>
                <a:gd name="connsiteY38" fmla="*/ 246849 h 326563"/>
                <a:gd name="connsiteX39" fmla="*/ 623952 w 1492273"/>
                <a:gd name="connsiteY39" fmla="*/ 243105 h 326563"/>
                <a:gd name="connsiteX40" fmla="*/ 494883 w 1492273"/>
                <a:gd name="connsiteY40" fmla="*/ 243105 h 326563"/>
                <a:gd name="connsiteX41" fmla="*/ 659613 w 1492273"/>
                <a:gd name="connsiteY41" fmla="*/ 24972 h 326563"/>
                <a:gd name="connsiteX42" fmla="*/ 661785 w 1492273"/>
                <a:gd name="connsiteY42" fmla="*/ 19371 h 326563"/>
                <a:gd name="connsiteX43" fmla="*/ 660690 w 1492273"/>
                <a:gd name="connsiteY43" fmla="*/ 13473 h 326563"/>
                <a:gd name="connsiteX44" fmla="*/ 656661 w 1492273"/>
                <a:gd name="connsiteY44" fmla="*/ 9021 h 326563"/>
                <a:gd name="connsiteX45" fmla="*/ 650888 w 1492273"/>
                <a:gd name="connsiteY45" fmla="*/ 7358 h 326563"/>
                <a:gd name="connsiteX46" fmla="*/ 412780 w 1492273"/>
                <a:gd name="connsiteY46" fmla="*/ 7358 h 326563"/>
                <a:gd name="connsiteX47" fmla="*/ 1446105 w 1492273"/>
                <a:gd name="connsiteY47" fmla="*/ 8240 h 326563"/>
                <a:gd name="connsiteX48" fmla="*/ 1424484 w 1492273"/>
                <a:gd name="connsiteY48" fmla="*/ 22127 h 326563"/>
                <a:gd name="connsiteX49" fmla="*/ 1416378 w 1492273"/>
                <a:gd name="connsiteY49" fmla="*/ 46473 h 326563"/>
                <a:gd name="connsiteX50" fmla="*/ 1416378 w 1492273"/>
                <a:gd name="connsiteY50" fmla="*/ 173313 h 326563"/>
                <a:gd name="connsiteX51" fmla="*/ 1210980 w 1492273"/>
                <a:gd name="connsiteY51" fmla="*/ 9758 h 326563"/>
                <a:gd name="connsiteX52" fmla="*/ 1205389 w 1492273"/>
                <a:gd name="connsiteY52" fmla="*/ 7453 h 326563"/>
                <a:gd name="connsiteX53" fmla="*/ 1199426 w 1492273"/>
                <a:gd name="connsiteY53" fmla="*/ 8482 h 326563"/>
                <a:gd name="connsiteX54" fmla="*/ 1194921 w 1492273"/>
                <a:gd name="connsiteY54" fmla="*/ 12520 h 326563"/>
                <a:gd name="connsiteX55" fmla="*/ 1193263 w 1492273"/>
                <a:gd name="connsiteY55" fmla="*/ 18343 h 326563"/>
                <a:gd name="connsiteX56" fmla="*/ 1193263 w 1492273"/>
                <a:gd name="connsiteY56" fmla="*/ 280243 h 326563"/>
                <a:gd name="connsiteX57" fmla="*/ 1201388 w 1492273"/>
                <a:gd name="connsiteY57" fmla="*/ 304589 h 326563"/>
                <a:gd name="connsiteX58" fmla="*/ 1222962 w 1492273"/>
                <a:gd name="connsiteY58" fmla="*/ 318486 h 326563"/>
                <a:gd name="connsiteX59" fmla="*/ 1239803 w 1492273"/>
                <a:gd name="connsiteY59" fmla="*/ 318362 h 326563"/>
                <a:gd name="connsiteX60" fmla="*/ 1254966 w 1492273"/>
                <a:gd name="connsiteY60" fmla="*/ 310961 h 326563"/>
                <a:gd name="connsiteX61" fmla="*/ 1265444 w 1492273"/>
                <a:gd name="connsiteY61" fmla="*/ 297721 h 326563"/>
                <a:gd name="connsiteX62" fmla="*/ 1269159 w 1492273"/>
                <a:gd name="connsiteY62" fmla="*/ 281272 h 326563"/>
                <a:gd name="connsiteX63" fmla="*/ 1269159 w 1492273"/>
                <a:gd name="connsiteY63" fmla="*/ 153323 h 326563"/>
                <a:gd name="connsiteX64" fmla="*/ 1474538 w 1492273"/>
                <a:gd name="connsiteY64" fmla="*/ 316885 h 326563"/>
                <a:gd name="connsiteX65" fmla="*/ 1480148 w 1492273"/>
                <a:gd name="connsiteY65" fmla="*/ 319190 h 326563"/>
                <a:gd name="connsiteX66" fmla="*/ 1486120 w 1492273"/>
                <a:gd name="connsiteY66" fmla="*/ 318162 h 326563"/>
                <a:gd name="connsiteX67" fmla="*/ 1490625 w 1492273"/>
                <a:gd name="connsiteY67" fmla="*/ 314123 h 326563"/>
                <a:gd name="connsiteX68" fmla="*/ 1492273 w 1492273"/>
                <a:gd name="connsiteY68" fmla="*/ 308303 h 326563"/>
                <a:gd name="connsiteX69" fmla="*/ 1492273 w 1492273"/>
                <a:gd name="connsiteY69" fmla="*/ 45444 h 326563"/>
                <a:gd name="connsiteX70" fmla="*/ 1488559 w 1492273"/>
                <a:gd name="connsiteY70" fmla="*/ 28985 h 326563"/>
                <a:gd name="connsiteX71" fmla="*/ 1478081 w 1492273"/>
                <a:gd name="connsiteY71" fmla="*/ 15759 h 326563"/>
                <a:gd name="connsiteX72" fmla="*/ 1462908 w 1492273"/>
                <a:gd name="connsiteY72" fmla="*/ 8354 h 326563"/>
                <a:gd name="connsiteX73" fmla="*/ 1446105 w 1492273"/>
                <a:gd name="connsiteY73" fmla="*/ 8240 h 326563"/>
                <a:gd name="connsiteX74" fmla="*/ 911265 w 1492273"/>
                <a:gd name="connsiteY74" fmla="*/ 76254 h 326563"/>
                <a:gd name="connsiteX75" fmla="*/ 1063066 w 1492273"/>
                <a:gd name="connsiteY75" fmla="*/ 163286 h 326563"/>
                <a:gd name="connsiteX76" fmla="*/ 911265 w 1492273"/>
                <a:gd name="connsiteY76" fmla="*/ 250325 h 326563"/>
                <a:gd name="connsiteX77" fmla="*/ 759483 w 1492273"/>
                <a:gd name="connsiteY77" fmla="*/ 163286 h 326563"/>
                <a:gd name="connsiteX78" fmla="*/ 911265 w 1492273"/>
                <a:gd name="connsiteY78" fmla="*/ 76254 h 326563"/>
                <a:gd name="connsiteX79" fmla="*/ 911265 w 1492273"/>
                <a:gd name="connsiteY79" fmla="*/ 67 h 326563"/>
                <a:gd name="connsiteX80" fmla="*/ 683578 w 1492273"/>
                <a:gd name="connsiteY80" fmla="*/ 163286 h 326563"/>
                <a:gd name="connsiteX81" fmla="*/ 911265 w 1492273"/>
                <a:gd name="connsiteY81" fmla="*/ 326506 h 326563"/>
                <a:gd name="connsiteX82" fmla="*/ 1138961 w 1492273"/>
                <a:gd name="connsiteY82" fmla="*/ 163286 h 326563"/>
                <a:gd name="connsiteX83" fmla="*/ 911265 w 1492273"/>
                <a:gd name="connsiteY83" fmla="*/ 67 h 3265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</a:cxnLst>
              <a:rect l="l" t="t" r="r" b="b"/>
              <a:pathLst>
                <a:path w="1492273" h="326563">
                  <a:moveTo>
                    <a:pt x="180273" y="900"/>
                  </a:moveTo>
                  <a:cubicBezTo>
                    <a:pt x="146739" y="-2638"/>
                    <a:pt x="112948" y="4310"/>
                    <a:pt x="83526" y="20775"/>
                  </a:cubicBezTo>
                  <a:cubicBezTo>
                    <a:pt x="54104" y="37240"/>
                    <a:pt x="30499" y="62424"/>
                    <a:pt x="15954" y="92853"/>
                  </a:cubicBezTo>
                  <a:cubicBezTo>
                    <a:pt x="1417" y="123295"/>
                    <a:pt x="-3344" y="157489"/>
                    <a:pt x="2323" y="190737"/>
                  </a:cubicBezTo>
                  <a:cubicBezTo>
                    <a:pt x="7990" y="223998"/>
                    <a:pt x="23812" y="254669"/>
                    <a:pt x="47618" y="278557"/>
                  </a:cubicBezTo>
                  <a:cubicBezTo>
                    <a:pt x="71412" y="302455"/>
                    <a:pt x="102030" y="318381"/>
                    <a:pt x="135243" y="324153"/>
                  </a:cubicBezTo>
                  <a:cubicBezTo>
                    <a:pt x="168455" y="329925"/>
                    <a:pt x="202644" y="325277"/>
                    <a:pt x="233098" y="310818"/>
                  </a:cubicBezTo>
                  <a:cubicBezTo>
                    <a:pt x="263559" y="296359"/>
                    <a:pt x="288801" y="272814"/>
                    <a:pt x="305341" y="243429"/>
                  </a:cubicBezTo>
                  <a:cubicBezTo>
                    <a:pt x="321894" y="214035"/>
                    <a:pt x="328933" y="180240"/>
                    <a:pt x="325507" y="146675"/>
                  </a:cubicBezTo>
                  <a:cubicBezTo>
                    <a:pt x="321736" y="109375"/>
                    <a:pt x="305234" y="74514"/>
                    <a:pt x="278778" y="47965"/>
                  </a:cubicBezTo>
                  <a:cubicBezTo>
                    <a:pt x="252327" y="21410"/>
                    <a:pt x="217534" y="4786"/>
                    <a:pt x="180273" y="900"/>
                  </a:cubicBezTo>
                  <a:close/>
                  <a:moveTo>
                    <a:pt x="174984" y="249697"/>
                  </a:moveTo>
                  <a:cubicBezTo>
                    <a:pt x="156946" y="252116"/>
                    <a:pt x="138617" y="248820"/>
                    <a:pt x="122555" y="240277"/>
                  </a:cubicBezTo>
                  <a:cubicBezTo>
                    <a:pt x="106488" y="231725"/>
                    <a:pt x="93505" y="218366"/>
                    <a:pt x="85427" y="202047"/>
                  </a:cubicBezTo>
                  <a:cubicBezTo>
                    <a:pt x="77349" y="185733"/>
                    <a:pt x="74579" y="167300"/>
                    <a:pt x="77507" y="149329"/>
                  </a:cubicBezTo>
                  <a:cubicBezTo>
                    <a:pt x="80440" y="131372"/>
                    <a:pt x="88922" y="114773"/>
                    <a:pt x="101766" y="101883"/>
                  </a:cubicBezTo>
                  <a:cubicBezTo>
                    <a:pt x="114610" y="88986"/>
                    <a:pt x="131176" y="80452"/>
                    <a:pt x="149113" y="77461"/>
                  </a:cubicBezTo>
                  <a:cubicBezTo>
                    <a:pt x="167057" y="74470"/>
                    <a:pt x="185493" y="77181"/>
                    <a:pt x="201825" y="85220"/>
                  </a:cubicBezTo>
                  <a:cubicBezTo>
                    <a:pt x="218145" y="93247"/>
                    <a:pt x="231543" y="106194"/>
                    <a:pt x="240132" y="122247"/>
                  </a:cubicBezTo>
                  <a:cubicBezTo>
                    <a:pt x="248725" y="138293"/>
                    <a:pt x="252068" y="156625"/>
                    <a:pt x="249714" y="174684"/>
                  </a:cubicBezTo>
                  <a:cubicBezTo>
                    <a:pt x="247233" y="193670"/>
                    <a:pt x="238569" y="211305"/>
                    <a:pt x="225058" y="224868"/>
                  </a:cubicBezTo>
                  <a:cubicBezTo>
                    <a:pt x="211546" y="238425"/>
                    <a:pt x="193948" y="247154"/>
                    <a:pt x="174984" y="249697"/>
                  </a:cubicBezTo>
                  <a:close/>
                  <a:moveTo>
                    <a:pt x="412780" y="7358"/>
                  </a:moveTo>
                  <a:cubicBezTo>
                    <a:pt x="407126" y="7370"/>
                    <a:pt x="401534" y="8646"/>
                    <a:pt x="396435" y="11091"/>
                  </a:cubicBezTo>
                  <a:cubicBezTo>
                    <a:pt x="391328" y="13536"/>
                    <a:pt x="386833" y="17092"/>
                    <a:pt x="383276" y="21498"/>
                  </a:cubicBezTo>
                  <a:cubicBezTo>
                    <a:pt x="379712" y="25899"/>
                    <a:pt x="377174" y="31042"/>
                    <a:pt x="375859" y="36548"/>
                  </a:cubicBezTo>
                  <a:cubicBezTo>
                    <a:pt x="374537" y="42053"/>
                    <a:pt x="374448" y="47787"/>
                    <a:pt x="375620" y="53325"/>
                  </a:cubicBezTo>
                  <a:cubicBezTo>
                    <a:pt x="379202" y="71282"/>
                    <a:pt x="395956" y="83537"/>
                    <a:pt x="414209" y="83537"/>
                  </a:cubicBezTo>
                  <a:lnTo>
                    <a:pt x="520143" y="83537"/>
                  </a:lnTo>
                  <a:lnTo>
                    <a:pt x="355289" y="301846"/>
                  </a:lnTo>
                  <a:cubicBezTo>
                    <a:pt x="354067" y="303455"/>
                    <a:pt x="353324" y="305379"/>
                    <a:pt x="353136" y="307389"/>
                  </a:cubicBezTo>
                  <a:cubicBezTo>
                    <a:pt x="352940" y="309399"/>
                    <a:pt x="353319" y="311428"/>
                    <a:pt x="354212" y="313237"/>
                  </a:cubicBezTo>
                  <a:cubicBezTo>
                    <a:pt x="355113" y="315047"/>
                    <a:pt x="356491" y="316581"/>
                    <a:pt x="358204" y="317647"/>
                  </a:cubicBezTo>
                  <a:cubicBezTo>
                    <a:pt x="359923" y="318714"/>
                    <a:pt x="361900" y="319286"/>
                    <a:pt x="363921" y="319295"/>
                  </a:cubicBezTo>
                  <a:lnTo>
                    <a:pt x="622504" y="319295"/>
                  </a:lnTo>
                  <a:cubicBezTo>
                    <a:pt x="640744" y="319295"/>
                    <a:pt x="657518" y="307037"/>
                    <a:pt x="661099" y="289082"/>
                  </a:cubicBezTo>
                  <a:cubicBezTo>
                    <a:pt x="662271" y="283539"/>
                    <a:pt x="662185" y="277805"/>
                    <a:pt x="660861" y="272299"/>
                  </a:cubicBezTo>
                  <a:cubicBezTo>
                    <a:pt x="659537" y="266794"/>
                    <a:pt x="657004" y="261650"/>
                    <a:pt x="653451" y="257250"/>
                  </a:cubicBezTo>
                  <a:cubicBezTo>
                    <a:pt x="649898" y="252849"/>
                    <a:pt x="645402" y="249297"/>
                    <a:pt x="640297" y="246849"/>
                  </a:cubicBezTo>
                  <a:cubicBezTo>
                    <a:pt x="635191" y="244391"/>
                    <a:pt x="629610" y="243115"/>
                    <a:pt x="623952" y="243105"/>
                  </a:cubicBezTo>
                  <a:lnTo>
                    <a:pt x="494883" y="243105"/>
                  </a:lnTo>
                  <a:lnTo>
                    <a:pt x="659613" y="24972"/>
                  </a:lnTo>
                  <a:cubicBezTo>
                    <a:pt x="660842" y="23340"/>
                    <a:pt x="661595" y="21403"/>
                    <a:pt x="661785" y="19371"/>
                  </a:cubicBezTo>
                  <a:cubicBezTo>
                    <a:pt x="661976" y="17340"/>
                    <a:pt x="661604" y="15295"/>
                    <a:pt x="660690" y="13473"/>
                  </a:cubicBezTo>
                  <a:cubicBezTo>
                    <a:pt x="659785" y="11637"/>
                    <a:pt x="658385" y="10101"/>
                    <a:pt x="656661" y="9021"/>
                  </a:cubicBezTo>
                  <a:cubicBezTo>
                    <a:pt x="654937" y="7942"/>
                    <a:pt x="652927" y="7363"/>
                    <a:pt x="650888" y="7358"/>
                  </a:cubicBezTo>
                  <a:lnTo>
                    <a:pt x="412780" y="7358"/>
                  </a:lnTo>
                  <a:close/>
                  <a:moveTo>
                    <a:pt x="1446105" y="8240"/>
                  </a:moveTo>
                  <a:cubicBezTo>
                    <a:pt x="1437514" y="10272"/>
                    <a:pt x="1429894" y="15174"/>
                    <a:pt x="1424484" y="22127"/>
                  </a:cubicBezTo>
                  <a:cubicBezTo>
                    <a:pt x="1419112" y="29080"/>
                    <a:pt x="1416254" y="37666"/>
                    <a:pt x="1416378" y="46473"/>
                  </a:cubicBezTo>
                  <a:lnTo>
                    <a:pt x="1416378" y="173313"/>
                  </a:lnTo>
                  <a:lnTo>
                    <a:pt x="1210980" y="9758"/>
                  </a:lnTo>
                  <a:cubicBezTo>
                    <a:pt x="1209361" y="8475"/>
                    <a:pt x="1207427" y="7675"/>
                    <a:pt x="1205389" y="7453"/>
                  </a:cubicBezTo>
                  <a:cubicBezTo>
                    <a:pt x="1203341" y="7230"/>
                    <a:pt x="1201274" y="7580"/>
                    <a:pt x="1199426" y="8482"/>
                  </a:cubicBezTo>
                  <a:cubicBezTo>
                    <a:pt x="1197569" y="9377"/>
                    <a:pt x="1196006" y="10773"/>
                    <a:pt x="1194921" y="12520"/>
                  </a:cubicBezTo>
                  <a:cubicBezTo>
                    <a:pt x="1193835" y="14273"/>
                    <a:pt x="1193254" y="16285"/>
                    <a:pt x="1193263" y="18343"/>
                  </a:cubicBezTo>
                  <a:lnTo>
                    <a:pt x="1193263" y="280243"/>
                  </a:lnTo>
                  <a:cubicBezTo>
                    <a:pt x="1193120" y="289054"/>
                    <a:pt x="1195987" y="297645"/>
                    <a:pt x="1201388" y="304589"/>
                  </a:cubicBezTo>
                  <a:cubicBezTo>
                    <a:pt x="1206789" y="311542"/>
                    <a:pt x="1214409" y="316447"/>
                    <a:pt x="1222962" y="318486"/>
                  </a:cubicBezTo>
                  <a:cubicBezTo>
                    <a:pt x="1228525" y="319714"/>
                    <a:pt x="1234288" y="319667"/>
                    <a:pt x="1239803" y="318362"/>
                  </a:cubicBezTo>
                  <a:cubicBezTo>
                    <a:pt x="1245346" y="317066"/>
                    <a:pt x="1250518" y="314533"/>
                    <a:pt x="1254966" y="310961"/>
                  </a:cubicBezTo>
                  <a:cubicBezTo>
                    <a:pt x="1259415" y="307389"/>
                    <a:pt x="1263006" y="302874"/>
                    <a:pt x="1265444" y="297721"/>
                  </a:cubicBezTo>
                  <a:cubicBezTo>
                    <a:pt x="1267882" y="292587"/>
                    <a:pt x="1269159" y="286958"/>
                    <a:pt x="1269159" y="281272"/>
                  </a:cubicBezTo>
                  <a:lnTo>
                    <a:pt x="1269159" y="153323"/>
                  </a:lnTo>
                  <a:lnTo>
                    <a:pt x="1474538" y="316885"/>
                  </a:lnTo>
                  <a:cubicBezTo>
                    <a:pt x="1476195" y="318171"/>
                    <a:pt x="1478138" y="318962"/>
                    <a:pt x="1480148" y="319190"/>
                  </a:cubicBezTo>
                  <a:cubicBezTo>
                    <a:pt x="1482224" y="319419"/>
                    <a:pt x="1484291" y="319057"/>
                    <a:pt x="1486120" y="318162"/>
                  </a:cubicBezTo>
                  <a:cubicBezTo>
                    <a:pt x="1487949" y="317266"/>
                    <a:pt x="1489530" y="315866"/>
                    <a:pt x="1490625" y="314123"/>
                  </a:cubicBezTo>
                  <a:cubicBezTo>
                    <a:pt x="1491721" y="312380"/>
                    <a:pt x="1492273" y="310361"/>
                    <a:pt x="1492273" y="308303"/>
                  </a:cubicBezTo>
                  <a:lnTo>
                    <a:pt x="1492273" y="45444"/>
                  </a:lnTo>
                  <a:cubicBezTo>
                    <a:pt x="1492273" y="39748"/>
                    <a:pt x="1490997" y="34123"/>
                    <a:pt x="1488559" y="28985"/>
                  </a:cubicBezTo>
                  <a:cubicBezTo>
                    <a:pt x="1486120" y="23848"/>
                    <a:pt x="1482529" y="19327"/>
                    <a:pt x="1478081" y="15759"/>
                  </a:cubicBezTo>
                  <a:cubicBezTo>
                    <a:pt x="1473633" y="12190"/>
                    <a:pt x="1468461" y="9656"/>
                    <a:pt x="1462908" y="8354"/>
                  </a:cubicBezTo>
                  <a:cubicBezTo>
                    <a:pt x="1457364" y="7059"/>
                    <a:pt x="1451649" y="7015"/>
                    <a:pt x="1446105" y="8240"/>
                  </a:cubicBezTo>
                  <a:close/>
                  <a:moveTo>
                    <a:pt x="911265" y="76254"/>
                  </a:moveTo>
                  <a:cubicBezTo>
                    <a:pt x="998152" y="76254"/>
                    <a:pt x="1063066" y="122196"/>
                    <a:pt x="1063066" y="163286"/>
                  </a:cubicBezTo>
                  <a:cubicBezTo>
                    <a:pt x="1063066" y="204383"/>
                    <a:pt x="998152" y="250325"/>
                    <a:pt x="911265" y="250325"/>
                  </a:cubicBezTo>
                  <a:cubicBezTo>
                    <a:pt x="824397" y="250325"/>
                    <a:pt x="759483" y="204383"/>
                    <a:pt x="759483" y="163286"/>
                  </a:cubicBezTo>
                  <a:cubicBezTo>
                    <a:pt x="759483" y="122196"/>
                    <a:pt x="824397" y="76254"/>
                    <a:pt x="911265" y="76254"/>
                  </a:cubicBezTo>
                  <a:close/>
                  <a:moveTo>
                    <a:pt x="911265" y="67"/>
                  </a:moveTo>
                  <a:cubicBezTo>
                    <a:pt x="785515" y="67"/>
                    <a:pt x="683578" y="73142"/>
                    <a:pt x="683578" y="163286"/>
                  </a:cubicBezTo>
                  <a:cubicBezTo>
                    <a:pt x="683578" y="253421"/>
                    <a:pt x="785515" y="326506"/>
                    <a:pt x="911265" y="326506"/>
                  </a:cubicBezTo>
                  <a:cubicBezTo>
                    <a:pt x="1037024" y="326506"/>
                    <a:pt x="1138961" y="253421"/>
                    <a:pt x="1138961" y="163286"/>
                  </a:cubicBezTo>
                  <a:cubicBezTo>
                    <a:pt x="1138961" y="73142"/>
                    <a:pt x="1037024" y="67"/>
                    <a:pt x="911265" y="67"/>
                  </a:cubicBezTo>
                  <a:close/>
                </a:path>
              </a:pathLst>
            </a:custGeom>
            <a:grpFill/>
            <a:ln w="76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2E22186C-4B12-E0C1-79B2-480F2CD086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441150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33" imgH="233" progId="TCLayout.ActiveDocument.1">
                  <p:embed/>
                </p:oleObj>
              </mc:Choice>
              <mc:Fallback>
                <p:oleObj name="Слайд think-cell" r:id="rId3" imgW="233" imgH="233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id="{2E22186C-4B12-E0C1-79B2-480F2CD086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6E1F914-6E31-3D8A-0729-94C84B17961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55808" y="1931435"/>
            <a:ext cx="6340418" cy="2123348"/>
          </a:xfrm>
        </p:spPr>
        <p:txBody>
          <a:bodyPr vert="horz" anchor="b">
            <a:noAutofit/>
          </a:bodyPr>
          <a:lstStyle>
            <a:lvl1pPr algn="l">
              <a:lnSpc>
                <a:spcPct val="87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ru-RU"/>
              <a:t>Напиши призыв </a:t>
            </a:r>
            <a:br>
              <a:rPr lang="ru-RU"/>
            </a:br>
            <a:r>
              <a:rPr lang="ru-RU"/>
              <a:t>к действию</a:t>
            </a:r>
            <a:r>
              <a:rPr lang="en-US"/>
              <a:t> </a:t>
            </a:r>
            <a:r>
              <a:rPr lang="ru-RU"/>
              <a:t>в 2–3 строки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EF11FA05-DC06-B340-2031-0DB23FEF24A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49400" y="5194112"/>
            <a:ext cx="3867020" cy="590868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Имя и фамилия спикера, контакты </a:t>
            </a:r>
            <a:br>
              <a:rPr lang="ru-RU"/>
            </a:br>
            <a:r>
              <a:rPr lang="ru-RU"/>
              <a:t>или другая информация</a:t>
            </a:r>
          </a:p>
        </p:txBody>
      </p:sp>
    </p:spTree>
    <p:extLst>
      <p:ext uri="{BB962C8B-B14F-4D97-AF65-F5344CB8AC3E}">
        <p14:creationId xmlns:p14="http://schemas.microsoft.com/office/powerpoint/2010/main" val="4464788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3" orient="horz" pos="216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sic_colo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9C6A208F-2A8F-8640-1889-7EF3989875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6547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33" imgH="233" progId="TCLayout.ActiveDocument.1">
                  <p:embed/>
                </p:oleObj>
              </mc:Choice>
              <mc:Fallback>
                <p:oleObj name="Слайд think-cell" r:id="rId3" imgW="233" imgH="233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9C6A208F-2A8F-8640-1889-7EF3989875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Заголовок 1">
            <a:extLst>
              <a:ext uri="{FF2B5EF4-FFF2-40B4-BE49-F238E27FC236}">
                <a16:creationId xmlns:a16="http://schemas.microsoft.com/office/drawing/2014/main" id="{1E7388FD-D149-4D25-0D53-8FD5721832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9764" y="411163"/>
            <a:ext cx="10910888" cy="68446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7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ru-RU"/>
              <a:t>Сформулируй заголовок </a:t>
            </a:r>
            <a:br>
              <a:rPr lang="ru-RU"/>
            </a:br>
            <a:r>
              <a:rPr lang="ru-RU"/>
              <a:t>слайда в 1–2 строки</a:t>
            </a:r>
          </a:p>
        </p:txBody>
      </p:sp>
      <p:sp>
        <p:nvSpPr>
          <p:cNvPr id="15" name="Объект 2">
            <a:extLst>
              <a:ext uri="{FF2B5EF4-FFF2-40B4-BE49-F238E27FC236}">
                <a16:creationId xmlns:a16="http://schemas.microsoft.com/office/drawing/2014/main" id="{00E81AAF-ABDB-4D08-7BE3-C7B407E68E1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763" y="1520824"/>
            <a:ext cx="10910887" cy="47418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5">
            <a:extLst>
              <a:ext uri="{FF2B5EF4-FFF2-40B4-BE49-F238E27FC236}">
                <a16:creationId xmlns:a16="http://schemas.microsoft.com/office/drawing/2014/main" id="{371F2FD1-0E8C-A36C-3CEF-FF20A77F36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57744" y="6430370"/>
            <a:ext cx="908050" cy="216000"/>
          </a:xfrm>
        </p:spPr>
        <p:txBody>
          <a:bodyPr/>
          <a:lstStyle>
            <a:lvl1pPr>
              <a:defRPr>
                <a:solidFill>
                  <a:schemeClr val="accent6">
                    <a:lumMod val="40000"/>
                    <a:lumOff val="60000"/>
                  </a:schemeClr>
                </a:solidFill>
              </a:defRPr>
            </a:lvl1pPr>
          </a:lstStyle>
          <a:p>
            <a:fld id="{EB5249F5-0093-48B0-B996-C4E44A87EAFB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35" name="Прямоугольник: скругленные углы 34">
            <a:extLst>
              <a:ext uri="{FF2B5EF4-FFF2-40B4-BE49-F238E27FC236}">
                <a16:creationId xmlns:a16="http://schemas.microsoft.com/office/drawing/2014/main" id="{C9800CF7-ABC5-B2F5-0454-607E6375863B}"/>
              </a:ext>
            </a:extLst>
          </p:cNvPr>
          <p:cNvSpPr/>
          <p:nvPr/>
        </p:nvSpPr>
        <p:spPr>
          <a:xfrm>
            <a:off x="-2138458" y="54865"/>
            <a:ext cx="1928241" cy="2826069"/>
          </a:xfrm>
          <a:prstGeom prst="roundRect">
            <a:avLst>
              <a:gd name="adj" fmla="val 5926"/>
            </a:avLst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" name="Прямоугольник: скругленные верхние углы 35">
            <a:extLst>
              <a:ext uri="{FF2B5EF4-FFF2-40B4-BE49-F238E27FC236}">
                <a16:creationId xmlns:a16="http://schemas.microsoft.com/office/drawing/2014/main" id="{C2940C45-7EC6-0986-B020-2D94E4C01F25}"/>
              </a:ext>
            </a:extLst>
          </p:cNvPr>
          <p:cNvSpPr/>
          <p:nvPr/>
        </p:nvSpPr>
        <p:spPr>
          <a:xfrm>
            <a:off x="-2136930" y="0"/>
            <a:ext cx="1926713" cy="2880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36000" rtlCol="0" anchor="ctr"/>
          <a:lstStyle/>
          <a:p>
            <a:pPr algn="ctr"/>
            <a:r>
              <a:rPr lang="ru-RU" sz="1100" b="1">
                <a:solidFill>
                  <a:schemeClr val="tx1"/>
                </a:solidFill>
              </a:rPr>
              <a:t>Размеры текста</a:t>
            </a:r>
          </a:p>
        </p:txBody>
      </p:sp>
      <p:graphicFrame>
        <p:nvGraphicFramePr>
          <p:cNvPr id="37" name="Таблица 46">
            <a:extLst>
              <a:ext uri="{FF2B5EF4-FFF2-40B4-BE49-F238E27FC236}">
                <a16:creationId xmlns:a16="http://schemas.microsoft.com/office/drawing/2014/main" id="{22E21D68-4F58-F199-36D3-C10450C366F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20574792"/>
              </p:ext>
            </p:extLst>
          </p:nvPr>
        </p:nvGraphicFramePr>
        <p:xfrm>
          <a:off x="-2046114" y="312643"/>
          <a:ext cx="1958731" cy="2142000"/>
        </p:xfrm>
        <a:graphic>
          <a:graphicData uri="http://schemas.openxmlformats.org/drawingml/2006/table">
            <a:tbl>
              <a:tblPr/>
              <a:tblGrid>
                <a:gridCol w="532517">
                  <a:extLst>
                    <a:ext uri="{9D8B030D-6E8A-4147-A177-3AD203B41FA5}">
                      <a16:colId xmlns:a16="http://schemas.microsoft.com/office/drawing/2014/main" val="2594385797"/>
                    </a:ext>
                  </a:extLst>
                </a:gridCol>
                <a:gridCol w="1426214">
                  <a:extLst>
                    <a:ext uri="{9D8B030D-6E8A-4147-A177-3AD203B41FA5}">
                      <a16:colId xmlns:a16="http://schemas.microsoft.com/office/drawing/2014/main" val="1017723076"/>
                    </a:ext>
                  </a:extLst>
                </a:gridCol>
              </a:tblGrid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44+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0" spc="-40" baseline="0"/>
                        <a:t>акцентные цифр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8329665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32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заголовки и самые </a:t>
                      </a:r>
                      <a:br>
                        <a:rPr lang="ru-RU" sz="1000" spc="-40" baseline="0"/>
                      </a:br>
                      <a:r>
                        <a:rPr lang="ru-RU" sz="1000" spc="-40" baseline="0"/>
                        <a:t>важные данные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17697917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24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8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подзаголовки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72780009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18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4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основной текст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0685745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4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2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торой уровень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текста (менее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ажная информация)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1997433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0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сноски, пояснения, </a:t>
                      </a:r>
                      <a:br>
                        <a:rPr lang="en-US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большие таблиц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76660845"/>
                  </a:ext>
                </a:extLst>
              </a:tr>
            </a:tbl>
          </a:graphicData>
        </a:graphic>
      </p:graphicFrame>
      <p:sp>
        <p:nvSpPr>
          <p:cNvPr id="38" name="Полилиния: фигура 37">
            <a:extLst>
              <a:ext uri="{FF2B5EF4-FFF2-40B4-BE49-F238E27FC236}">
                <a16:creationId xmlns:a16="http://schemas.microsoft.com/office/drawing/2014/main" id="{84FF97CD-0431-AB46-37C2-E699CA989913}"/>
              </a:ext>
            </a:extLst>
          </p:cNvPr>
          <p:cNvSpPr/>
          <p:nvPr/>
        </p:nvSpPr>
        <p:spPr>
          <a:xfrm>
            <a:off x="-2004344" y="2488864"/>
            <a:ext cx="216624" cy="228657"/>
          </a:xfrm>
          <a:custGeom>
            <a:avLst/>
            <a:gdLst>
              <a:gd name="connsiteX0" fmla="*/ 72536 w 171450"/>
              <a:gd name="connsiteY0" fmla="*/ 162210 h 180974"/>
              <a:gd name="connsiteX1" fmla="*/ 98923 w 171450"/>
              <a:gd name="connsiteY1" fmla="*/ 162210 h 180974"/>
              <a:gd name="connsiteX2" fmla="*/ 103600 w 171450"/>
              <a:gd name="connsiteY2" fmla="*/ 172160 h 180974"/>
              <a:gd name="connsiteX3" fmla="*/ 85726 w 171450"/>
              <a:gd name="connsiteY3" fmla="*/ 180974 h 180974"/>
              <a:gd name="connsiteX4" fmla="*/ 67852 w 171450"/>
              <a:gd name="connsiteY4" fmla="*/ 172160 h 180974"/>
              <a:gd name="connsiteX5" fmla="*/ 72536 w 171450"/>
              <a:gd name="connsiteY5" fmla="*/ 162210 h 180974"/>
              <a:gd name="connsiteX6" fmla="*/ 152400 w 171450"/>
              <a:gd name="connsiteY6" fmla="*/ 76200 h 180974"/>
              <a:gd name="connsiteX7" fmla="*/ 161925 w 171450"/>
              <a:gd name="connsiteY7" fmla="*/ 76200 h 180974"/>
              <a:gd name="connsiteX8" fmla="*/ 171450 w 171450"/>
              <a:gd name="connsiteY8" fmla="*/ 85725 h 180974"/>
              <a:gd name="connsiteX9" fmla="*/ 161925 w 171450"/>
              <a:gd name="connsiteY9" fmla="*/ 95250 h 180974"/>
              <a:gd name="connsiteX10" fmla="*/ 152400 w 171450"/>
              <a:gd name="connsiteY10" fmla="*/ 95250 h 180974"/>
              <a:gd name="connsiteX11" fmla="*/ 142875 w 171450"/>
              <a:gd name="connsiteY11" fmla="*/ 85725 h 180974"/>
              <a:gd name="connsiteX12" fmla="*/ 152400 w 171450"/>
              <a:gd name="connsiteY12" fmla="*/ 76200 h 180974"/>
              <a:gd name="connsiteX13" fmla="*/ 9525 w 171450"/>
              <a:gd name="connsiteY13" fmla="*/ 76200 h 180974"/>
              <a:gd name="connsiteX14" fmla="*/ 19050 w 171450"/>
              <a:gd name="connsiteY14" fmla="*/ 76200 h 180974"/>
              <a:gd name="connsiteX15" fmla="*/ 28575 w 171450"/>
              <a:gd name="connsiteY15" fmla="*/ 85725 h 180974"/>
              <a:gd name="connsiteX16" fmla="*/ 19050 w 171450"/>
              <a:gd name="connsiteY16" fmla="*/ 95250 h 180974"/>
              <a:gd name="connsiteX17" fmla="*/ 9525 w 171450"/>
              <a:gd name="connsiteY17" fmla="*/ 95250 h 180974"/>
              <a:gd name="connsiteX18" fmla="*/ 0 w 171450"/>
              <a:gd name="connsiteY18" fmla="*/ 85725 h 180974"/>
              <a:gd name="connsiteX19" fmla="*/ 9525 w 171450"/>
              <a:gd name="connsiteY19" fmla="*/ 76200 h 180974"/>
              <a:gd name="connsiteX20" fmla="*/ 85725 w 171450"/>
              <a:gd name="connsiteY20" fmla="*/ 38100 h 180974"/>
              <a:gd name="connsiteX21" fmla="*/ 133350 w 171450"/>
              <a:gd name="connsiteY21" fmla="*/ 85725 h 180974"/>
              <a:gd name="connsiteX22" fmla="*/ 123174 w 171450"/>
              <a:gd name="connsiteY22" fmla="*/ 114596 h 180974"/>
              <a:gd name="connsiteX23" fmla="*/ 114300 w 171450"/>
              <a:gd name="connsiteY23" fmla="*/ 138113 h 180974"/>
              <a:gd name="connsiteX24" fmla="*/ 85725 w 171450"/>
              <a:gd name="connsiteY24" fmla="*/ 152400 h 180974"/>
              <a:gd name="connsiteX25" fmla="*/ 57150 w 171450"/>
              <a:gd name="connsiteY25" fmla="*/ 138113 h 180974"/>
              <a:gd name="connsiteX26" fmla="*/ 48275 w 171450"/>
              <a:gd name="connsiteY26" fmla="*/ 114596 h 180974"/>
              <a:gd name="connsiteX27" fmla="*/ 38100 w 171450"/>
              <a:gd name="connsiteY27" fmla="*/ 85725 h 180974"/>
              <a:gd name="connsiteX28" fmla="*/ 85725 w 171450"/>
              <a:gd name="connsiteY28" fmla="*/ 38100 h 180974"/>
              <a:gd name="connsiteX29" fmla="*/ 136141 w 171450"/>
              <a:gd name="connsiteY29" fmla="*/ 21840 h 180974"/>
              <a:gd name="connsiteX30" fmla="*/ 149611 w 171450"/>
              <a:gd name="connsiteY30" fmla="*/ 21840 h 180974"/>
              <a:gd name="connsiteX31" fmla="*/ 149611 w 171450"/>
              <a:gd name="connsiteY31" fmla="*/ 35310 h 180974"/>
              <a:gd name="connsiteX32" fmla="*/ 140086 w 171450"/>
              <a:gd name="connsiteY32" fmla="*/ 44835 h 180974"/>
              <a:gd name="connsiteX33" fmla="*/ 126616 w 171450"/>
              <a:gd name="connsiteY33" fmla="*/ 44835 h 180974"/>
              <a:gd name="connsiteX34" fmla="*/ 126616 w 171450"/>
              <a:gd name="connsiteY34" fmla="*/ 31365 h 180974"/>
              <a:gd name="connsiteX35" fmla="*/ 21840 w 171450"/>
              <a:gd name="connsiteY35" fmla="*/ 21840 h 180974"/>
              <a:gd name="connsiteX36" fmla="*/ 35310 w 171450"/>
              <a:gd name="connsiteY36" fmla="*/ 21840 h 180974"/>
              <a:gd name="connsiteX37" fmla="*/ 44835 w 171450"/>
              <a:gd name="connsiteY37" fmla="*/ 31365 h 180974"/>
              <a:gd name="connsiteX38" fmla="*/ 44835 w 171450"/>
              <a:gd name="connsiteY38" fmla="*/ 44835 h 180974"/>
              <a:gd name="connsiteX39" fmla="*/ 31365 w 171450"/>
              <a:gd name="connsiteY39" fmla="*/ 44835 h 180974"/>
              <a:gd name="connsiteX40" fmla="*/ 21840 w 171450"/>
              <a:gd name="connsiteY40" fmla="*/ 35310 h 180974"/>
              <a:gd name="connsiteX41" fmla="*/ 21840 w 171450"/>
              <a:gd name="connsiteY41" fmla="*/ 21840 h 180974"/>
              <a:gd name="connsiteX42" fmla="*/ 85725 w 171450"/>
              <a:gd name="connsiteY42" fmla="*/ 0 h 180974"/>
              <a:gd name="connsiteX43" fmla="*/ 95250 w 171450"/>
              <a:gd name="connsiteY43" fmla="*/ 9525 h 180974"/>
              <a:gd name="connsiteX44" fmla="*/ 95250 w 171450"/>
              <a:gd name="connsiteY44" fmla="*/ 19050 h 180974"/>
              <a:gd name="connsiteX45" fmla="*/ 85725 w 171450"/>
              <a:gd name="connsiteY45" fmla="*/ 28575 h 180974"/>
              <a:gd name="connsiteX46" fmla="*/ 76200 w 171450"/>
              <a:gd name="connsiteY46" fmla="*/ 19050 h 180974"/>
              <a:gd name="connsiteX47" fmla="*/ 76200 w 171450"/>
              <a:gd name="connsiteY47" fmla="*/ 9525 h 180974"/>
              <a:gd name="connsiteX48" fmla="*/ 85725 w 171450"/>
              <a:gd name="connsiteY48" fmla="*/ 0 h 18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1450" h="180974">
                <a:moveTo>
                  <a:pt x="72536" y="162210"/>
                </a:moveTo>
                <a:cubicBezTo>
                  <a:pt x="80449" y="164140"/>
                  <a:pt x="90933" y="164211"/>
                  <a:pt x="98923" y="162210"/>
                </a:cubicBezTo>
                <a:cubicBezTo>
                  <a:pt x="105617" y="160534"/>
                  <a:pt x="105617" y="166533"/>
                  <a:pt x="103600" y="172160"/>
                </a:cubicBezTo>
                <a:cubicBezTo>
                  <a:pt x="100950" y="179549"/>
                  <a:pt x="95451" y="180974"/>
                  <a:pt x="85726" y="180974"/>
                </a:cubicBezTo>
                <a:cubicBezTo>
                  <a:pt x="76000" y="180974"/>
                  <a:pt x="70501" y="179549"/>
                  <a:pt x="67852" y="172160"/>
                </a:cubicBezTo>
                <a:cubicBezTo>
                  <a:pt x="65835" y="166534"/>
                  <a:pt x="65835" y="160576"/>
                  <a:pt x="72536" y="162210"/>
                </a:cubicBezTo>
                <a:close/>
                <a:moveTo>
                  <a:pt x="152400" y="76200"/>
                </a:moveTo>
                <a:lnTo>
                  <a:pt x="161925" y="76200"/>
                </a:lnTo>
                <a:cubicBezTo>
                  <a:pt x="167186" y="76200"/>
                  <a:pt x="171450" y="80464"/>
                  <a:pt x="171450" y="85725"/>
                </a:cubicBezTo>
                <a:cubicBezTo>
                  <a:pt x="171450" y="90986"/>
                  <a:pt x="167186" y="95250"/>
                  <a:pt x="161925" y="95250"/>
                </a:cubicBezTo>
                <a:lnTo>
                  <a:pt x="152400" y="95250"/>
                </a:lnTo>
                <a:cubicBezTo>
                  <a:pt x="147139" y="95250"/>
                  <a:pt x="142875" y="90986"/>
                  <a:pt x="142875" y="85725"/>
                </a:cubicBezTo>
                <a:cubicBezTo>
                  <a:pt x="142875" y="80464"/>
                  <a:pt x="147139" y="76200"/>
                  <a:pt x="152400" y="76200"/>
                </a:cubicBezTo>
                <a:close/>
                <a:moveTo>
                  <a:pt x="9525" y="76200"/>
                </a:moveTo>
                <a:lnTo>
                  <a:pt x="19050" y="76200"/>
                </a:lnTo>
                <a:cubicBezTo>
                  <a:pt x="24310" y="76200"/>
                  <a:pt x="28575" y="80464"/>
                  <a:pt x="28575" y="85725"/>
                </a:cubicBezTo>
                <a:cubicBezTo>
                  <a:pt x="28575" y="90986"/>
                  <a:pt x="24310" y="95250"/>
                  <a:pt x="19050" y="95250"/>
                </a:cubicBezTo>
                <a:lnTo>
                  <a:pt x="9525" y="95250"/>
                </a:lnTo>
                <a:cubicBezTo>
                  <a:pt x="4265" y="95250"/>
                  <a:pt x="0" y="90986"/>
                  <a:pt x="0" y="85725"/>
                </a:cubicBezTo>
                <a:cubicBezTo>
                  <a:pt x="0" y="80464"/>
                  <a:pt x="4265" y="76200"/>
                  <a:pt x="9525" y="76200"/>
                </a:cubicBezTo>
                <a:close/>
                <a:moveTo>
                  <a:pt x="85725" y="38100"/>
                </a:moveTo>
                <a:cubicBezTo>
                  <a:pt x="112027" y="38100"/>
                  <a:pt x="133350" y="58671"/>
                  <a:pt x="133350" y="85725"/>
                </a:cubicBezTo>
                <a:cubicBezTo>
                  <a:pt x="133350" y="100663"/>
                  <a:pt x="128144" y="107793"/>
                  <a:pt x="123174" y="114596"/>
                </a:cubicBezTo>
                <a:cubicBezTo>
                  <a:pt x="118639" y="120807"/>
                  <a:pt x="114300" y="126748"/>
                  <a:pt x="114300" y="138113"/>
                </a:cubicBezTo>
                <a:cubicBezTo>
                  <a:pt x="114300" y="147638"/>
                  <a:pt x="104775" y="152400"/>
                  <a:pt x="85725" y="152400"/>
                </a:cubicBezTo>
                <a:cubicBezTo>
                  <a:pt x="66675" y="152400"/>
                  <a:pt x="57150" y="147638"/>
                  <a:pt x="57150" y="138113"/>
                </a:cubicBezTo>
                <a:cubicBezTo>
                  <a:pt x="57150" y="126748"/>
                  <a:pt x="52811" y="120807"/>
                  <a:pt x="48275" y="114596"/>
                </a:cubicBezTo>
                <a:cubicBezTo>
                  <a:pt x="43306" y="107793"/>
                  <a:pt x="38100" y="100663"/>
                  <a:pt x="38100" y="85725"/>
                </a:cubicBezTo>
                <a:cubicBezTo>
                  <a:pt x="38100" y="57150"/>
                  <a:pt x="59422" y="38100"/>
                  <a:pt x="85725" y="38100"/>
                </a:cubicBezTo>
                <a:close/>
                <a:moveTo>
                  <a:pt x="136141" y="21840"/>
                </a:moveTo>
                <a:cubicBezTo>
                  <a:pt x="139860" y="18120"/>
                  <a:pt x="145891" y="18120"/>
                  <a:pt x="149611" y="21840"/>
                </a:cubicBezTo>
                <a:cubicBezTo>
                  <a:pt x="153330" y="25560"/>
                  <a:pt x="153330" y="31590"/>
                  <a:pt x="149611" y="35310"/>
                </a:cubicBezTo>
                <a:lnTo>
                  <a:pt x="140086" y="44835"/>
                </a:lnTo>
                <a:cubicBezTo>
                  <a:pt x="136366" y="48555"/>
                  <a:pt x="130335" y="48555"/>
                  <a:pt x="126616" y="44835"/>
                </a:cubicBezTo>
                <a:cubicBezTo>
                  <a:pt x="122896" y="41115"/>
                  <a:pt x="122896" y="35085"/>
                  <a:pt x="126616" y="31365"/>
                </a:cubicBezTo>
                <a:close/>
                <a:moveTo>
                  <a:pt x="21840" y="21840"/>
                </a:moveTo>
                <a:cubicBezTo>
                  <a:pt x="25560" y="18120"/>
                  <a:pt x="31590" y="18120"/>
                  <a:pt x="35310" y="21840"/>
                </a:cubicBezTo>
                <a:lnTo>
                  <a:pt x="44835" y="31365"/>
                </a:lnTo>
                <a:cubicBezTo>
                  <a:pt x="48555" y="35085"/>
                  <a:pt x="48555" y="41115"/>
                  <a:pt x="44835" y="44835"/>
                </a:cubicBezTo>
                <a:cubicBezTo>
                  <a:pt x="41115" y="48555"/>
                  <a:pt x="35085" y="48555"/>
                  <a:pt x="31365" y="44835"/>
                </a:cubicBezTo>
                <a:lnTo>
                  <a:pt x="21840" y="35310"/>
                </a:lnTo>
                <a:cubicBezTo>
                  <a:pt x="18120" y="31590"/>
                  <a:pt x="18120" y="25560"/>
                  <a:pt x="21840" y="21840"/>
                </a:cubicBezTo>
                <a:close/>
                <a:moveTo>
                  <a:pt x="85725" y="0"/>
                </a:moveTo>
                <a:cubicBezTo>
                  <a:pt x="90986" y="0"/>
                  <a:pt x="95250" y="4265"/>
                  <a:pt x="95250" y="9525"/>
                </a:cubicBezTo>
                <a:lnTo>
                  <a:pt x="95250" y="19050"/>
                </a:lnTo>
                <a:cubicBezTo>
                  <a:pt x="95250" y="24310"/>
                  <a:pt x="90986" y="28575"/>
                  <a:pt x="85725" y="28575"/>
                </a:cubicBezTo>
                <a:cubicBezTo>
                  <a:pt x="80464" y="28575"/>
                  <a:pt x="76200" y="24310"/>
                  <a:pt x="76200" y="19050"/>
                </a:cubicBezTo>
                <a:lnTo>
                  <a:pt x="76200" y="9525"/>
                </a:lnTo>
                <a:cubicBezTo>
                  <a:pt x="76200" y="4265"/>
                  <a:pt x="80464" y="0"/>
                  <a:pt x="85725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2" name="Полилиния: фигура 61">
            <a:extLst>
              <a:ext uri="{FF2B5EF4-FFF2-40B4-BE49-F238E27FC236}">
                <a16:creationId xmlns:a16="http://schemas.microsoft.com/office/drawing/2014/main" id="{A7B63E7B-62B1-B63D-8185-8BE47CB66443}"/>
              </a:ext>
            </a:extLst>
          </p:cNvPr>
          <p:cNvSpPr/>
          <p:nvPr/>
        </p:nvSpPr>
        <p:spPr>
          <a:xfrm>
            <a:off x="-2004344" y="2488864"/>
            <a:ext cx="216624" cy="228657"/>
          </a:xfrm>
          <a:custGeom>
            <a:avLst/>
            <a:gdLst>
              <a:gd name="connsiteX0" fmla="*/ 72536 w 171450"/>
              <a:gd name="connsiteY0" fmla="*/ 162210 h 180974"/>
              <a:gd name="connsiteX1" fmla="*/ 98923 w 171450"/>
              <a:gd name="connsiteY1" fmla="*/ 162210 h 180974"/>
              <a:gd name="connsiteX2" fmla="*/ 103600 w 171450"/>
              <a:gd name="connsiteY2" fmla="*/ 172160 h 180974"/>
              <a:gd name="connsiteX3" fmla="*/ 85726 w 171450"/>
              <a:gd name="connsiteY3" fmla="*/ 180974 h 180974"/>
              <a:gd name="connsiteX4" fmla="*/ 67852 w 171450"/>
              <a:gd name="connsiteY4" fmla="*/ 172160 h 180974"/>
              <a:gd name="connsiteX5" fmla="*/ 72536 w 171450"/>
              <a:gd name="connsiteY5" fmla="*/ 162210 h 180974"/>
              <a:gd name="connsiteX6" fmla="*/ 152400 w 171450"/>
              <a:gd name="connsiteY6" fmla="*/ 76200 h 180974"/>
              <a:gd name="connsiteX7" fmla="*/ 161925 w 171450"/>
              <a:gd name="connsiteY7" fmla="*/ 76200 h 180974"/>
              <a:gd name="connsiteX8" fmla="*/ 171450 w 171450"/>
              <a:gd name="connsiteY8" fmla="*/ 85725 h 180974"/>
              <a:gd name="connsiteX9" fmla="*/ 161925 w 171450"/>
              <a:gd name="connsiteY9" fmla="*/ 95250 h 180974"/>
              <a:gd name="connsiteX10" fmla="*/ 152400 w 171450"/>
              <a:gd name="connsiteY10" fmla="*/ 95250 h 180974"/>
              <a:gd name="connsiteX11" fmla="*/ 142875 w 171450"/>
              <a:gd name="connsiteY11" fmla="*/ 85725 h 180974"/>
              <a:gd name="connsiteX12" fmla="*/ 152400 w 171450"/>
              <a:gd name="connsiteY12" fmla="*/ 76200 h 180974"/>
              <a:gd name="connsiteX13" fmla="*/ 9525 w 171450"/>
              <a:gd name="connsiteY13" fmla="*/ 76200 h 180974"/>
              <a:gd name="connsiteX14" fmla="*/ 19050 w 171450"/>
              <a:gd name="connsiteY14" fmla="*/ 76200 h 180974"/>
              <a:gd name="connsiteX15" fmla="*/ 28575 w 171450"/>
              <a:gd name="connsiteY15" fmla="*/ 85725 h 180974"/>
              <a:gd name="connsiteX16" fmla="*/ 19050 w 171450"/>
              <a:gd name="connsiteY16" fmla="*/ 95250 h 180974"/>
              <a:gd name="connsiteX17" fmla="*/ 9525 w 171450"/>
              <a:gd name="connsiteY17" fmla="*/ 95250 h 180974"/>
              <a:gd name="connsiteX18" fmla="*/ 0 w 171450"/>
              <a:gd name="connsiteY18" fmla="*/ 85725 h 180974"/>
              <a:gd name="connsiteX19" fmla="*/ 9525 w 171450"/>
              <a:gd name="connsiteY19" fmla="*/ 76200 h 180974"/>
              <a:gd name="connsiteX20" fmla="*/ 85725 w 171450"/>
              <a:gd name="connsiteY20" fmla="*/ 38100 h 180974"/>
              <a:gd name="connsiteX21" fmla="*/ 133350 w 171450"/>
              <a:gd name="connsiteY21" fmla="*/ 85725 h 180974"/>
              <a:gd name="connsiteX22" fmla="*/ 123174 w 171450"/>
              <a:gd name="connsiteY22" fmla="*/ 114596 h 180974"/>
              <a:gd name="connsiteX23" fmla="*/ 114300 w 171450"/>
              <a:gd name="connsiteY23" fmla="*/ 138113 h 180974"/>
              <a:gd name="connsiteX24" fmla="*/ 85725 w 171450"/>
              <a:gd name="connsiteY24" fmla="*/ 152400 h 180974"/>
              <a:gd name="connsiteX25" fmla="*/ 57150 w 171450"/>
              <a:gd name="connsiteY25" fmla="*/ 138113 h 180974"/>
              <a:gd name="connsiteX26" fmla="*/ 48275 w 171450"/>
              <a:gd name="connsiteY26" fmla="*/ 114596 h 180974"/>
              <a:gd name="connsiteX27" fmla="*/ 38100 w 171450"/>
              <a:gd name="connsiteY27" fmla="*/ 85725 h 180974"/>
              <a:gd name="connsiteX28" fmla="*/ 85725 w 171450"/>
              <a:gd name="connsiteY28" fmla="*/ 38100 h 180974"/>
              <a:gd name="connsiteX29" fmla="*/ 136141 w 171450"/>
              <a:gd name="connsiteY29" fmla="*/ 21840 h 180974"/>
              <a:gd name="connsiteX30" fmla="*/ 149611 w 171450"/>
              <a:gd name="connsiteY30" fmla="*/ 21840 h 180974"/>
              <a:gd name="connsiteX31" fmla="*/ 149611 w 171450"/>
              <a:gd name="connsiteY31" fmla="*/ 35310 h 180974"/>
              <a:gd name="connsiteX32" fmla="*/ 140086 w 171450"/>
              <a:gd name="connsiteY32" fmla="*/ 44835 h 180974"/>
              <a:gd name="connsiteX33" fmla="*/ 126616 w 171450"/>
              <a:gd name="connsiteY33" fmla="*/ 44835 h 180974"/>
              <a:gd name="connsiteX34" fmla="*/ 126616 w 171450"/>
              <a:gd name="connsiteY34" fmla="*/ 31365 h 180974"/>
              <a:gd name="connsiteX35" fmla="*/ 21840 w 171450"/>
              <a:gd name="connsiteY35" fmla="*/ 21840 h 180974"/>
              <a:gd name="connsiteX36" fmla="*/ 35310 w 171450"/>
              <a:gd name="connsiteY36" fmla="*/ 21840 h 180974"/>
              <a:gd name="connsiteX37" fmla="*/ 44835 w 171450"/>
              <a:gd name="connsiteY37" fmla="*/ 31365 h 180974"/>
              <a:gd name="connsiteX38" fmla="*/ 44835 w 171450"/>
              <a:gd name="connsiteY38" fmla="*/ 44835 h 180974"/>
              <a:gd name="connsiteX39" fmla="*/ 31365 w 171450"/>
              <a:gd name="connsiteY39" fmla="*/ 44835 h 180974"/>
              <a:gd name="connsiteX40" fmla="*/ 21840 w 171450"/>
              <a:gd name="connsiteY40" fmla="*/ 35310 h 180974"/>
              <a:gd name="connsiteX41" fmla="*/ 21840 w 171450"/>
              <a:gd name="connsiteY41" fmla="*/ 21840 h 180974"/>
              <a:gd name="connsiteX42" fmla="*/ 85725 w 171450"/>
              <a:gd name="connsiteY42" fmla="*/ 0 h 180974"/>
              <a:gd name="connsiteX43" fmla="*/ 95250 w 171450"/>
              <a:gd name="connsiteY43" fmla="*/ 9525 h 180974"/>
              <a:gd name="connsiteX44" fmla="*/ 95250 w 171450"/>
              <a:gd name="connsiteY44" fmla="*/ 19050 h 180974"/>
              <a:gd name="connsiteX45" fmla="*/ 85725 w 171450"/>
              <a:gd name="connsiteY45" fmla="*/ 28575 h 180974"/>
              <a:gd name="connsiteX46" fmla="*/ 76200 w 171450"/>
              <a:gd name="connsiteY46" fmla="*/ 19050 h 180974"/>
              <a:gd name="connsiteX47" fmla="*/ 76200 w 171450"/>
              <a:gd name="connsiteY47" fmla="*/ 9525 h 180974"/>
              <a:gd name="connsiteX48" fmla="*/ 85725 w 171450"/>
              <a:gd name="connsiteY48" fmla="*/ 0 h 18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1450" h="180974">
                <a:moveTo>
                  <a:pt x="72536" y="162210"/>
                </a:moveTo>
                <a:cubicBezTo>
                  <a:pt x="80449" y="164140"/>
                  <a:pt x="90933" y="164211"/>
                  <a:pt x="98923" y="162210"/>
                </a:cubicBezTo>
                <a:cubicBezTo>
                  <a:pt x="105617" y="160534"/>
                  <a:pt x="105617" y="166533"/>
                  <a:pt x="103600" y="172160"/>
                </a:cubicBezTo>
                <a:cubicBezTo>
                  <a:pt x="100950" y="179549"/>
                  <a:pt x="95451" y="180974"/>
                  <a:pt x="85726" y="180974"/>
                </a:cubicBezTo>
                <a:cubicBezTo>
                  <a:pt x="76000" y="180974"/>
                  <a:pt x="70501" y="179549"/>
                  <a:pt x="67852" y="172160"/>
                </a:cubicBezTo>
                <a:cubicBezTo>
                  <a:pt x="65835" y="166534"/>
                  <a:pt x="65835" y="160576"/>
                  <a:pt x="72536" y="162210"/>
                </a:cubicBezTo>
                <a:close/>
                <a:moveTo>
                  <a:pt x="152400" y="76200"/>
                </a:moveTo>
                <a:lnTo>
                  <a:pt x="161925" y="76200"/>
                </a:lnTo>
                <a:cubicBezTo>
                  <a:pt x="167186" y="76200"/>
                  <a:pt x="171450" y="80464"/>
                  <a:pt x="171450" y="85725"/>
                </a:cubicBezTo>
                <a:cubicBezTo>
                  <a:pt x="171450" y="90986"/>
                  <a:pt x="167186" y="95250"/>
                  <a:pt x="161925" y="95250"/>
                </a:cubicBezTo>
                <a:lnTo>
                  <a:pt x="152400" y="95250"/>
                </a:lnTo>
                <a:cubicBezTo>
                  <a:pt x="147139" y="95250"/>
                  <a:pt x="142875" y="90986"/>
                  <a:pt x="142875" y="85725"/>
                </a:cubicBezTo>
                <a:cubicBezTo>
                  <a:pt x="142875" y="80464"/>
                  <a:pt x="147139" y="76200"/>
                  <a:pt x="152400" y="76200"/>
                </a:cubicBezTo>
                <a:close/>
                <a:moveTo>
                  <a:pt x="9525" y="76200"/>
                </a:moveTo>
                <a:lnTo>
                  <a:pt x="19050" y="76200"/>
                </a:lnTo>
                <a:cubicBezTo>
                  <a:pt x="24310" y="76200"/>
                  <a:pt x="28575" y="80464"/>
                  <a:pt x="28575" y="85725"/>
                </a:cubicBezTo>
                <a:cubicBezTo>
                  <a:pt x="28575" y="90986"/>
                  <a:pt x="24310" y="95250"/>
                  <a:pt x="19050" y="95250"/>
                </a:cubicBezTo>
                <a:lnTo>
                  <a:pt x="9525" y="95250"/>
                </a:lnTo>
                <a:cubicBezTo>
                  <a:pt x="4265" y="95250"/>
                  <a:pt x="0" y="90986"/>
                  <a:pt x="0" y="85725"/>
                </a:cubicBezTo>
                <a:cubicBezTo>
                  <a:pt x="0" y="80464"/>
                  <a:pt x="4265" y="76200"/>
                  <a:pt x="9525" y="76200"/>
                </a:cubicBezTo>
                <a:close/>
                <a:moveTo>
                  <a:pt x="85725" y="38100"/>
                </a:moveTo>
                <a:cubicBezTo>
                  <a:pt x="112027" y="38100"/>
                  <a:pt x="133350" y="58671"/>
                  <a:pt x="133350" y="85725"/>
                </a:cubicBezTo>
                <a:cubicBezTo>
                  <a:pt x="133350" y="100663"/>
                  <a:pt x="128144" y="107793"/>
                  <a:pt x="123174" y="114596"/>
                </a:cubicBezTo>
                <a:cubicBezTo>
                  <a:pt x="118639" y="120807"/>
                  <a:pt x="114300" y="126748"/>
                  <a:pt x="114300" y="138113"/>
                </a:cubicBezTo>
                <a:cubicBezTo>
                  <a:pt x="114300" y="147638"/>
                  <a:pt x="104775" y="152400"/>
                  <a:pt x="85725" y="152400"/>
                </a:cubicBezTo>
                <a:cubicBezTo>
                  <a:pt x="66675" y="152400"/>
                  <a:pt x="57150" y="147638"/>
                  <a:pt x="57150" y="138113"/>
                </a:cubicBezTo>
                <a:cubicBezTo>
                  <a:pt x="57150" y="126748"/>
                  <a:pt x="52811" y="120807"/>
                  <a:pt x="48275" y="114596"/>
                </a:cubicBezTo>
                <a:cubicBezTo>
                  <a:pt x="43306" y="107793"/>
                  <a:pt x="38100" y="100663"/>
                  <a:pt x="38100" y="85725"/>
                </a:cubicBezTo>
                <a:cubicBezTo>
                  <a:pt x="38100" y="57150"/>
                  <a:pt x="59422" y="38100"/>
                  <a:pt x="85725" y="38100"/>
                </a:cubicBezTo>
                <a:close/>
                <a:moveTo>
                  <a:pt x="136141" y="21840"/>
                </a:moveTo>
                <a:cubicBezTo>
                  <a:pt x="139860" y="18120"/>
                  <a:pt x="145891" y="18120"/>
                  <a:pt x="149611" y="21840"/>
                </a:cubicBezTo>
                <a:cubicBezTo>
                  <a:pt x="153330" y="25560"/>
                  <a:pt x="153330" y="31590"/>
                  <a:pt x="149611" y="35310"/>
                </a:cubicBezTo>
                <a:lnTo>
                  <a:pt x="140086" y="44835"/>
                </a:lnTo>
                <a:cubicBezTo>
                  <a:pt x="136366" y="48555"/>
                  <a:pt x="130335" y="48555"/>
                  <a:pt x="126616" y="44835"/>
                </a:cubicBezTo>
                <a:cubicBezTo>
                  <a:pt x="122896" y="41115"/>
                  <a:pt x="122896" y="35085"/>
                  <a:pt x="126616" y="31365"/>
                </a:cubicBezTo>
                <a:close/>
                <a:moveTo>
                  <a:pt x="21840" y="21840"/>
                </a:moveTo>
                <a:cubicBezTo>
                  <a:pt x="25560" y="18120"/>
                  <a:pt x="31590" y="18120"/>
                  <a:pt x="35310" y="21840"/>
                </a:cubicBezTo>
                <a:lnTo>
                  <a:pt x="44835" y="31365"/>
                </a:lnTo>
                <a:cubicBezTo>
                  <a:pt x="48555" y="35085"/>
                  <a:pt x="48555" y="41115"/>
                  <a:pt x="44835" y="44835"/>
                </a:cubicBezTo>
                <a:cubicBezTo>
                  <a:pt x="41115" y="48555"/>
                  <a:pt x="35085" y="48555"/>
                  <a:pt x="31365" y="44835"/>
                </a:cubicBezTo>
                <a:lnTo>
                  <a:pt x="21840" y="35310"/>
                </a:lnTo>
                <a:cubicBezTo>
                  <a:pt x="18120" y="31590"/>
                  <a:pt x="18120" y="25560"/>
                  <a:pt x="21840" y="21840"/>
                </a:cubicBezTo>
                <a:close/>
                <a:moveTo>
                  <a:pt x="85725" y="0"/>
                </a:moveTo>
                <a:cubicBezTo>
                  <a:pt x="90986" y="0"/>
                  <a:pt x="95250" y="4265"/>
                  <a:pt x="95250" y="9525"/>
                </a:cubicBezTo>
                <a:lnTo>
                  <a:pt x="95250" y="19050"/>
                </a:lnTo>
                <a:cubicBezTo>
                  <a:pt x="95250" y="24310"/>
                  <a:pt x="90986" y="28575"/>
                  <a:pt x="85725" y="28575"/>
                </a:cubicBezTo>
                <a:cubicBezTo>
                  <a:pt x="80464" y="28575"/>
                  <a:pt x="76200" y="24310"/>
                  <a:pt x="76200" y="19050"/>
                </a:cubicBezTo>
                <a:lnTo>
                  <a:pt x="76200" y="9525"/>
                </a:lnTo>
                <a:cubicBezTo>
                  <a:pt x="76200" y="4265"/>
                  <a:pt x="80464" y="0"/>
                  <a:pt x="85725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EC11CE47-F2DE-CA1C-5C0F-C21FAC0B5671}"/>
              </a:ext>
            </a:extLst>
          </p:cNvPr>
          <p:cNvSpPr txBox="1"/>
          <p:nvPr/>
        </p:nvSpPr>
        <p:spPr>
          <a:xfrm>
            <a:off x="-1691344" y="2506490"/>
            <a:ext cx="1373969" cy="2428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</a:pPr>
            <a:r>
              <a:rPr lang="ru-RU" sz="900" b="0">
                <a:solidFill>
                  <a:schemeClr val="accent1"/>
                </a:solidFill>
              </a:rPr>
              <a:t>Используй эти размеры </a:t>
            </a:r>
            <a:br>
              <a:rPr lang="ru-RU" sz="900" b="0">
                <a:solidFill>
                  <a:schemeClr val="accent1"/>
                </a:solidFill>
              </a:rPr>
            </a:br>
            <a:r>
              <a:rPr lang="ru-RU" sz="900" b="0">
                <a:solidFill>
                  <a:schemeClr val="accent1"/>
                </a:solidFill>
              </a:rPr>
              <a:t>по всей презентации</a:t>
            </a:r>
          </a:p>
        </p:txBody>
      </p:sp>
      <p:sp>
        <p:nvSpPr>
          <p:cNvPr id="6" name="Прямоугольник: скругленные верхние углы 5">
            <a:extLst>
              <a:ext uri="{FF2B5EF4-FFF2-40B4-BE49-F238E27FC236}">
                <a16:creationId xmlns:a16="http://schemas.microsoft.com/office/drawing/2014/main" id="{2A7065C9-92E3-6B9B-9ACA-AEB5C23862DE}"/>
              </a:ext>
            </a:extLst>
          </p:cNvPr>
          <p:cNvSpPr/>
          <p:nvPr/>
        </p:nvSpPr>
        <p:spPr>
          <a:xfrm>
            <a:off x="-2136930" y="0"/>
            <a:ext cx="1926713" cy="2880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36000" rtlCol="0" anchor="ctr"/>
          <a:lstStyle/>
          <a:p>
            <a:pPr algn="ctr"/>
            <a:r>
              <a:rPr lang="ru-RU" sz="1100" b="1">
                <a:solidFill>
                  <a:schemeClr val="tx1"/>
                </a:solidFill>
              </a:rPr>
              <a:t>Размеры текста</a:t>
            </a:r>
          </a:p>
        </p:txBody>
      </p:sp>
      <p:sp>
        <p:nvSpPr>
          <p:cNvPr id="9" name="Полилиния: фигура 8">
            <a:extLst>
              <a:ext uri="{FF2B5EF4-FFF2-40B4-BE49-F238E27FC236}">
                <a16:creationId xmlns:a16="http://schemas.microsoft.com/office/drawing/2014/main" id="{0832DE9F-07AB-D3EB-D833-C1DC910E0CE8}"/>
              </a:ext>
            </a:extLst>
          </p:cNvPr>
          <p:cNvSpPr/>
          <p:nvPr/>
        </p:nvSpPr>
        <p:spPr>
          <a:xfrm>
            <a:off x="-2004344" y="2488864"/>
            <a:ext cx="216624" cy="228657"/>
          </a:xfrm>
          <a:custGeom>
            <a:avLst/>
            <a:gdLst>
              <a:gd name="connsiteX0" fmla="*/ 72536 w 171450"/>
              <a:gd name="connsiteY0" fmla="*/ 162210 h 180974"/>
              <a:gd name="connsiteX1" fmla="*/ 98923 w 171450"/>
              <a:gd name="connsiteY1" fmla="*/ 162210 h 180974"/>
              <a:gd name="connsiteX2" fmla="*/ 103600 w 171450"/>
              <a:gd name="connsiteY2" fmla="*/ 172160 h 180974"/>
              <a:gd name="connsiteX3" fmla="*/ 85726 w 171450"/>
              <a:gd name="connsiteY3" fmla="*/ 180974 h 180974"/>
              <a:gd name="connsiteX4" fmla="*/ 67852 w 171450"/>
              <a:gd name="connsiteY4" fmla="*/ 172160 h 180974"/>
              <a:gd name="connsiteX5" fmla="*/ 72536 w 171450"/>
              <a:gd name="connsiteY5" fmla="*/ 162210 h 180974"/>
              <a:gd name="connsiteX6" fmla="*/ 152400 w 171450"/>
              <a:gd name="connsiteY6" fmla="*/ 76200 h 180974"/>
              <a:gd name="connsiteX7" fmla="*/ 161925 w 171450"/>
              <a:gd name="connsiteY7" fmla="*/ 76200 h 180974"/>
              <a:gd name="connsiteX8" fmla="*/ 171450 w 171450"/>
              <a:gd name="connsiteY8" fmla="*/ 85725 h 180974"/>
              <a:gd name="connsiteX9" fmla="*/ 161925 w 171450"/>
              <a:gd name="connsiteY9" fmla="*/ 95250 h 180974"/>
              <a:gd name="connsiteX10" fmla="*/ 152400 w 171450"/>
              <a:gd name="connsiteY10" fmla="*/ 95250 h 180974"/>
              <a:gd name="connsiteX11" fmla="*/ 142875 w 171450"/>
              <a:gd name="connsiteY11" fmla="*/ 85725 h 180974"/>
              <a:gd name="connsiteX12" fmla="*/ 152400 w 171450"/>
              <a:gd name="connsiteY12" fmla="*/ 76200 h 180974"/>
              <a:gd name="connsiteX13" fmla="*/ 9525 w 171450"/>
              <a:gd name="connsiteY13" fmla="*/ 76200 h 180974"/>
              <a:gd name="connsiteX14" fmla="*/ 19050 w 171450"/>
              <a:gd name="connsiteY14" fmla="*/ 76200 h 180974"/>
              <a:gd name="connsiteX15" fmla="*/ 28575 w 171450"/>
              <a:gd name="connsiteY15" fmla="*/ 85725 h 180974"/>
              <a:gd name="connsiteX16" fmla="*/ 19050 w 171450"/>
              <a:gd name="connsiteY16" fmla="*/ 95250 h 180974"/>
              <a:gd name="connsiteX17" fmla="*/ 9525 w 171450"/>
              <a:gd name="connsiteY17" fmla="*/ 95250 h 180974"/>
              <a:gd name="connsiteX18" fmla="*/ 0 w 171450"/>
              <a:gd name="connsiteY18" fmla="*/ 85725 h 180974"/>
              <a:gd name="connsiteX19" fmla="*/ 9525 w 171450"/>
              <a:gd name="connsiteY19" fmla="*/ 76200 h 180974"/>
              <a:gd name="connsiteX20" fmla="*/ 85725 w 171450"/>
              <a:gd name="connsiteY20" fmla="*/ 38100 h 180974"/>
              <a:gd name="connsiteX21" fmla="*/ 133350 w 171450"/>
              <a:gd name="connsiteY21" fmla="*/ 85725 h 180974"/>
              <a:gd name="connsiteX22" fmla="*/ 123174 w 171450"/>
              <a:gd name="connsiteY22" fmla="*/ 114596 h 180974"/>
              <a:gd name="connsiteX23" fmla="*/ 114300 w 171450"/>
              <a:gd name="connsiteY23" fmla="*/ 138113 h 180974"/>
              <a:gd name="connsiteX24" fmla="*/ 85725 w 171450"/>
              <a:gd name="connsiteY24" fmla="*/ 152400 h 180974"/>
              <a:gd name="connsiteX25" fmla="*/ 57150 w 171450"/>
              <a:gd name="connsiteY25" fmla="*/ 138113 h 180974"/>
              <a:gd name="connsiteX26" fmla="*/ 48275 w 171450"/>
              <a:gd name="connsiteY26" fmla="*/ 114596 h 180974"/>
              <a:gd name="connsiteX27" fmla="*/ 38100 w 171450"/>
              <a:gd name="connsiteY27" fmla="*/ 85725 h 180974"/>
              <a:gd name="connsiteX28" fmla="*/ 85725 w 171450"/>
              <a:gd name="connsiteY28" fmla="*/ 38100 h 180974"/>
              <a:gd name="connsiteX29" fmla="*/ 136141 w 171450"/>
              <a:gd name="connsiteY29" fmla="*/ 21840 h 180974"/>
              <a:gd name="connsiteX30" fmla="*/ 149611 w 171450"/>
              <a:gd name="connsiteY30" fmla="*/ 21840 h 180974"/>
              <a:gd name="connsiteX31" fmla="*/ 149611 w 171450"/>
              <a:gd name="connsiteY31" fmla="*/ 35310 h 180974"/>
              <a:gd name="connsiteX32" fmla="*/ 140086 w 171450"/>
              <a:gd name="connsiteY32" fmla="*/ 44835 h 180974"/>
              <a:gd name="connsiteX33" fmla="*/ 126616 w 171450"/>
              <a:gd name="connsiteY33" fmla="*/ 44835 h 180974"/>
              <a:gd name="connsiteX34" fmla="*/ 126616 w 171450"/>
              <a:gd name="connsiteY34" fmla="*/ 31365 h 180974"/>
              <a:gd name="connsiteX35" fmla="*/ 21840 w 171450"/>
              <a:gd name="connsiteY35" fmla="*/ 21840 h 180974"/>
              <a:gd name="connsiteX36" fmla="*/ 35310 w 171450"/>
              <a:gd name="connsiteY36" fmla="*/ 21840 h 180974"/>
              <a:gd name="connsiteX37" fmla="*/ 44835 w 171450"/>
              <a:gd name="connsiteY37" fmla="*/ 31365 h 180974"/>
              <a:gd name="connsiteX38" fmla="*/ 44835 w 171450"/>
              <a:gd name="connsiteY38" fmla="*/ 44835 h 180974"/>
              <a:gd name="connsiteX39" fmla="*/ 31365 w 171450"/>
              <a:gd name="connsiteY39" fmla="*/ 44835 h 180974"/>
              <a:gd name="connsiteX40" fmla="*/ 21840 w 171450"/>
              <a:gd name="connsiteY40" fmla="*/ 35310 h 180974"/>
              <a:gd name="connsiteX41" fmla="*/ 21840 w 171450"/>
              <a:gd name="connsiteY41" fmla="*/ 21840 h 180974"/>
              <a:gd name="connsiteX42" fmla="*/ 85725 w 171450"/>
              <a:gd name="connsiteY42" fmla="*/ 0 h 180974"/>
              <a:gd name="connsiteX43" fmla="*/ 95250 w 171450"/>
              <a:gd name="connsiteY43" fmla="*/ 9525 h 180974"/>
              <a:gd name="connsiteX44" fmla="*/ 95250 w 171450"/>
              <a:gd name="connsiteY44" fmla="*/ 19050 h 180974"/>
              <a:gd name="connsiteX45" fmla="*/ 85725 w 171450"/>
              <a:gd name="connsiteY45" fmla="*/ 28575 h 180974"/>
              <a:gd name="connsiteX46" fmla="*/ 76200 w 171450"/>
              <a:gd name="connsiteY46" fmla="*/ 19050 h 180974"/>
              <a:gd name="connsiteX47" fmla="*/ 76200 w 171450"/>
              <a:gd name="connsiteY47" fmla="*/ 9525 h 180974"/>
              <a:gd name="connsiteX48" fmla="*/ 85725 w 171450"/>
              <a:gd name="connsiteY48" fmla="*/ 0 h 18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1450" h="180974">
                <a:moveTo>
                  <a:pt x="72536" y="162210"/>
                </a:moveTo>
                <a:cubicBezTo>
                  <a:pt x="80449" y="164140"/>
                  <a:pt x="90933" y="164211"/>
                  <a:pt x="98923" y="162210"/>
                </a:cubicBezTo>
                <a:cubicBezTo>
                  <a:pt x="105617" y="160534"/>
                  <a:pt x="105617" y="166533"/>
                  <a:pt x="103600" y="172160"/>
                </a:cubicBezTo>
                <a:cubicBezTo>
                  <a:pt x="100950" y="179549"/>
                  <a:pt x="95451" y="180974"/>
                  <a:pt x="85726" y="180974"/>
                </a:cubicBezTo>
                <a:cubicBezTo>
                  <a:pt x="76000" y="180974"/>
                  <a:pt x="70501" y="179549"/>
                  <a:pt x="67852" y="172160"/>
                </a:cubicBezTo>
                <a:cubicBezTo>
                  <a:pt x="65835" y="166534"/>
                  <a:pt x="65835" y="160576"/>
                  <a:pt x="72536" y="162210"/>
                </a:cubicBezTo>
                <a:close/>
                <a:moveTo>
                  <a:pt x="152400" y="76200"/>
                </a:moveTo>
                <a:lnTo>
                  <a:pt x="161925" y="76200"/>
                </a:lnTo>
                <a:cubicBezTo>
                  <a:pt x="167186" y="76200"/>
                  <a:pt x="171450" y="80464"/>
                  <a:pt x="171450" y="85725"/>
                </a:cubicBezTo>
                <a:cubicBezTo>
                  <a:pt x="171450" y="90986"/>
                  <a:pt x="167186" y="95250"/>
                  <a:pt x="161925" y="95250"/>
                </a:cubicBezTo>
                <a:lnTo>
                  <a:pt x="152400" y="95250"/>
                </a:lnTo>
                <a:cubicBezTo>
                  <a:pt x="147139" y="95250"/>
                  <a:pt x="142875" y="90986"/>
                  <a:pt x="142875" y="85725"/>
                </a:cubicBezTo>
                <a:cubicBezTo>
                  <a:pt x="142875" y="80464"/>
                  <a:pt x="147139" y="76200"/>
                  <a:pt x="152400" y="76200"/>
                </a:cubicBezTo>
                <a:close/>
                <a:moveTo>
                  <a:pt x="9525" y="76200"/>
                </a:moveTo>
                <a:lnTo>
                  <a:pt x="19050" y="76200"/>
                </a:lnTo>
                <a:cubicBezTo>
                  <a:pt x="24310" y="76200"/>
                  <a:pt x="28575" y="80464"/>
                  <a:pt x="28575" y="85725"/>
                </a:cubicBezTo>
                <a:cubicBezTo>
                  <a:pt x="28575" y="90986"/>
                  <a:pt x="24310" y="95250"/>
                  <a:pt x="19050" y="95250"/>
                </a:cubicBezTo>
                <a:lnTo>
                  <a:pt x="9525" y="95250"/>
                </a:lnTo>
                <a:cubicBezTo>
                  <a:pt x="4265" y="95250"/>
                  <a:pt x="0" y="90986"/>
                  <a:pt x="0" y="85725"/>
                </a:cubicBezTo>
                <a:cubicBezTo>
                  <a:pt x="0" y="80464"/>
                  <a:pt x="4265" y="76200"/>
                  <a:pt x="9525" y="76200"/>
                </a:cubicBezTo>
                <a:close/>
                <a:moveTo>
                  <a:pt x="85725" y="38100"/>
                </a:moveTo>
                <a:cubicBezTo>
                  <a:pt x="112027" y="38100"/>
                  <a:pt x="133350" y="58671"/>
                  <a:pt x="133350" y="85725"/>
                </a:cubicBezTo>
                <a:cubicBezTo>
                  <a:pt x="133350" y="100663"/>
                  <a:pt x="128144" y="107793"/>
                  <a:pt x="123174" y="114596"/>
                </a:cubicBezTo>
                <a:cubicBezTo>
                  <a:pt x="118639" y="120807"/>
                  <a:pt x="114300" y="126748"/>
                  <a:pt x="114300" y="138113"/>
                </a:cubicBezTo>
                <a:cubicBezTo>
                  <a:pt x="114300" y="147638"/>
                  <a:pt x="104775" y="152400"/>
                  <a:pt x="85725" y="152400"/>
                </a:cubicBezTo>
                <a:cubicBezTo>
                  <a:pt x="66675" y="152400"/>
                  <a:pt x="57150" y="147638"/>
                  <a:pt x="57150" y="138113"/>
                </a:cubicBezTo>
                <a:cubicBezTo>
                  <a:pt x="57150" y="126748"/>
                  <a:pt x="52811" y="120807"/>
                  <a:pt x="48275" y="114596"/>
                </a:cubicBezTo>
                <a:cubicBezTo>
                  <a:pt x="43306" y="107793"/>
                  <a:pt x="38100" y="100663"/>
                  <a:pt x="38100" y="85725"/>
                </a:cubicBezTo>
                <a:cubicBezTo>
                  <a:pt x="38100" y="57150"/>
                  <a:pt x="59422" y="38100"/>
                  <a:pt x="85725" y="38100"/>
                </a:cubicBezTo>
                <a:close/>
                <a:moveTo>
                  <a:pt x="136141" y="21840"/>
                </a:moveTo>
                <a:cubicBezTo>
                  <a:pt x="139860" y="18120"/>
                  <a:pt x="145891" y="18120"/>
                  <a:pt x="149611" y="21840"/>
                </a:cubicBezTo>
                <a:cubicBezTo>
                  <a:pt x="153330" y="25560"/>
                  <a:pt x="153330" y="31590"/>
                  <a:pt x="149611" y="35310"/>
                </a:cubicBezTo>
                <a:lnTo>
                  <a:pt x="140086" y="44835"/>
                </a:lnTo>
                <a:cubicBezTo>
                  <a:pt x="136366" y="48555"/>
                  <a:pt x="130335" y="48555"/>
                  <a:pt x="126616" y="44835"/>
                </a:cubicBezTo>
                <a:cubicBezTo>
                  <a:pt x="122896" y="41115"/>
                  <a:pt x="122896" y="35085"/>
                  <a:pt x="126616" y="31365"/>
                </a:cubicBezTo>
                <a:close/>
                <a:moveTo>
                  <a:pt x="21840" y="21840"/>
                </a:moveTo>
                <a:cubicBezTo>
                  <a:pt x="25560" y="18120"/>
                  <a:pt x="31590" y="18120"/>
                  <a:pt x="35310" y="21840"/>
                </a:cubicBezTo>
                <a:lnTo>
                  <a:pt x="44835" y="31365"/>
                </a:lnTo>
                <a:cubicBezTo>
                  <a:pt x="48555" y="35085"/>
                  <a:pt x="48555" y="41115"/>
                  <a:pt x="44835" y="44835"/>
                </a:cubicBezTo>
                <a:cubicBezTo>
                  <a:pt x="41115" y="48555"/>
                  <a:pt x="35085" y="48555"/>
                  <a:pt x="31365" y="44835"/>
                </a:cubicBezTo>
                <a:lnTo>
                  <a:pt x="21840" y="35310"/>
                </a:lnTo>
                <a:cubicBezTo>
                  <a:pt x="18120" y="31590"/>
                  <a:pt x="18120" y="25560"/>
                  <a:pt x="21840" y="21840"/>
                </a:cubicBezTo>
                <a:close/>
                <a:moveTo>
                  <a:pt x="85725" y="0"/>
                </a:moveTo>
                <a:cubicBezTo>
                  <a:pt x="90986" y="0"/>
                  <a:pt x="95250" y="4265"/>
                  <a:pt x="95250" y="9525"/>
                </a:cubicBezTo>
                <a:lnTo>
                  <a:pt x="95250" y="19050"/>
                </a:lnTo>
                <a:cubicBezTo>
                  <a:pt x="95250" y="24310"/>
                  <a:pt x="90986" y="28575"/>
                  <a:pt x="85725" y="28575"/>
                </a:cubicBezTo>
                <a:cubicBezTo>
                  <a:pt x="80464" y="28575"/>
                  <a:pt x="76200" y="24310"/>
                  <a:pt x="76200" y="19050"/>
                </a:cubicBezTo>
                <a:lnTo>
                  <a:pt x="76200" y="9525"/>
                </a:lnTo>
                <a:cubicBezTo>
                  <a:pt x="76200" y="4265"/>
                  <a:pt x="80464" y="0"/>
                  <a:pt x="85725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721549CC-0872-1288-C1D5-BD89CF9450AC}"/>
              </a:ext>
            </a:extLst>
          </p:cNvPr>
          <p:cNvGrpSpPr/>
          <p:nvPr userDrawn="1"/>
        </p:nvGrpSpPr>
        <p:grpSpPr>
          <a:xfrm>
            <a:off x="-2138458" y="3070447"/>
            <a:ext cx="1935384" cy="3787553"/>
            <a:chOff x="-2138458" y="3070447"/>
            <a:chExt cx="1935384" cy="3787553"/>
          </a:xfrm>
        </p:grpSpPr>
        <p:sp>
          <p:nvSpPr>
            <p:cNvPr id="39" name="Прямоугольник: скругленные углы 38">
              <a:extLst>
                <a:ext uri="{FF2B5EF4-FFF2-40B4-BE49-F238E27FC236}">
                  <a16:creationId xmlns:a16="http://schemas.microsoft.com/office/drawing/2014/main" id="{26561D24-BBBB-253A-7A51-A96C57F40E5B}"/>
                </a:ext>
              </a:extLst>
            </p:cNvPr>
            <p:cNvSpPr/>
            <p:nvPr userDrawn="1"/>
          </p:nvSpPr>
          <p:spPr>
            <a:xfrm>
              <a:off x="-2138458" y="3125312"/>
              <a:ext cx="1928241" cy="2468818"/>
            </a:xfrm>
            <a:prstGeom prst="roundRect">
              <a:avLst>
                <a:gd name="adj" fmla="val 5926"/>
              </a:avLst>
            </a:prstGeom>
            <a:solidFill>
              <a:schemeClr val="bg1"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0" name="Прямоугольник: скругленные верхние углы 39">
              <a:extLst>
                <a:ext uri="{FF2B5EF4-FFF2-40B4-BE49-F238E27FC236}">
                  <a16:creationId xmlns:a16="http://schemas.microsoft.com/office/drawing/2014/main" id="{A2B8DFB7-79B0-0439-C360-6941BF32E4D7}"/>
                </a:ext>
              </a:extLst>
            </p:cNvPr>
            <p:cNvSpPr/>
            <p:nvPr/>
          </p:nvSpPr>
          <p:spPr>
            <a:xfrm>
              <a:off x="-2136930" y="3070447"/>
              <a:ext cx="1926713" cy="28800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36000" rtlCol="0" anchor="ctr"/>
            <a:lstStyle/>
            <a:p>
              <a:pPr algn="ctr"/>
              <a:r>
                <a:rPr lang="ru-RU" sz="1100" b="1">
                  <a:solidFill>
                    <a:schemeClr val="tx1"/>
                  </a:solidFill>
                </a:rPr>
                <a:t>Цвета </a:t>
              </a:r>
              <a:r>
                <a:rPr lang="en-US" sz="1100" b="1">
                  <a:solidFill>
                    <a:schemeClr val="tx1"/>
                  </a:solidFill>
                </a:rPr>
                <a:t>Ozon</a:t>
              </a:r>
              <a:endParaRPr lang="ru-RU" sz="1100" b="1">
                <a:solidFill>
                  <a:schemeClr val="tx1"/>
                </a:solidFill>
              </a:endParaRP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69298A01-26D5-77F0-1B44-28C8BBA32B5A}"/>
                </a:ext>
              </a:extLst>
            </p:cNvPr>
            <p:cNvSpPr txBox="1"/>
            <p:nvPr/>
          </p:nvSpPr>
          <p:spPr>
            <a:xfrm>
              <a:off x="-2003446" y="3412239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текста </a:t>
              </a:r>
            </a:p>
          </p:txBody>
        </p:sp>
        <p:sp>
          <p:nvSpPr>
            <p:cNvPr id="42" name="Прямоугольник: скругленные углы 41">
              <a:extLst>
                <a:ext uri="{FF2B5EF4-FFF2-40B4-BE49-F238E27FC236}">
                  <a16:creationId xmlns:a16="http://schemas.microsoft.com/office/drawing/2014/main" id="{21EA26B0-23BA-7A00-892D-A1F326878E52}"/>
                </a:ext>
              </a:extLst>
            </p:cNvPr>
            <p:cNvSpPr/>
            <p:nvPr/>
          </p:nvSpPr>
          <p:spPr>
            <a:xfrm>
              <a:off x="-2004344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3" name="Прямоугольник: скругленные углы 42">
              <a:extLst>
                <a:ext uri="{FF2B5EF4-FFF2-40B4-BE49-F238E27FC236}">
                  <a16:creationId xmlns:a16="http://schemas.microsoft.com/office/drawing/2014/main" id="{A5D3FC7E-9D3D-EB60-5F4A-AB0976EFEC60}"/>
                </a:ext>
              </a:extLst>
            </p:cNvPr>
            <p:cNvSpPr/>
            <p:nvPr/>
          </p:nvSpPr>
          <p:spPr>
            <a:xfrm>
              <a:off x="-1738339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6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9068336B-339F-1776-3C0F-78C717AA59C8}"/>
                </a:ext>
              </a:extLst>
            </p:cNvPr>
            <p:cNvSpPr txBox="1"/>
            <p:nvPr/>
          </p:nvSpPr>
          <p:spPr>
            <a:xfrm>
              <a:off x="-2003446" y="3935644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больших плашек</a:t>
              </a:r>
            </a:p>
          </p:txBody>
        </p:sp>
        <p:sp>
          <p:nvSpPr>
            <p:cNvPr id="49" name="Прямоугольник: скругленные углы 48">
              <a:extLst>
                <a:ext uri="{FF2B5EF4-FFF2-40B4-BE49-F238E27FC236}">
                  <a16:creationId xmlns:a16="http://schemas.microsoft.com/office/drawing/2014/main" id="{48ABCE10-7A7F-1324-4D1D-7AD10D1042B1}"/>
                </a:ext>
              </a:extLst>
            </p:cNvPr>
            <p:cNvSpPr/>
            <p:nvPr userDrawn="1"/>
          </p:nvSpPr>
          <p:spPr>
            <a:xfrm>
              <a:off x="-2004963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3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0FA92F67-A433-8731-5914-B14989A94311}"/>
                </a:ext>
              </a:extLst>
            </p:cNvPr>
            <p:cNvSpPr txBox="1"/>
            <p:nvPr/>
          </p:nvSpPr>
          <p:spPr>
            <a:xfrm>
              <a:off x="-2003446" y="4451492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а маленьких плашек</a:t>
              </a:r>
            </a:p>
          </p:txBody>
        </p:sp>
        <p:sp>
          <p:nvSpPr>
            <p:cNvPr id="53" name="Прямоугольник: скругленные углы 52">
              <a:extLst>
                <a:ext uri="{FF2B5EF4-FFF2-40B4-BE49-F238E27FC236}">
                  <a16:creationId xmlns:a16="http://schemas.microsoft.com/office/drawing/2014/main" id="{504D71D0-6847-ADE8-467F-77206D5DE761}"/>
                </a:ext>
              </a:extLst>
            </p:cNvPr>
            <p:cNvSpPr/>
            <p:nvPr/>
          </p:nvSpPr>
          <p:spPr>
            <a:xfrm>
              <a:off x="-1739900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B7EDC9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4" name="Прямоугольник: скругленные углы 53">
              <a:extLst>
                <a:ext uri="{FF2B5EF4-FFF2-40B4-BE49-F238E27FC236}">
                  <a16:creationId xmlns:a16="http://schemas.microsoft.com/office/drawing/2014/main" id="{AB17545C-2653-11B9-6AAD-F2414CA88813}"/>
                </a:ext>
              </a:extLst>
            </p:cNvPr>
            <p:cNvSpPr/>
            <p:nvPr/>
          </p:nvSpPr>
          <p:spPr>
            <a:xfrm>
              <a:off x="-1474837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FA800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5" name="Прямоугольник: скругленные углы 54">
              <a:extLst>
                <a:ext uri="{FF2B5EF4-FFF2-40B4-BE49-F238E27FC236}">
                  <a16:creationId xmlns:a16="http://schemas.microsoft.com/office/drawing/2014/main" id="{1D454EF4-1099-5940-A5D4-5F82D3172AE1}"/>
                </a:ext>
              </a:extLst>
            </p:cNvPr>
            <p:cNvSpPr/>
            <p:nvPr/>
          </p:nvSpPr>
          <p:spPr>
            <a:xfrm>
              <a:off x="-2004963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10C44C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FAB6D7EE-DAF5-E7EF-6D1E-0891469BD32B}"/>
                </a:ext>
              </a:extLst>
            </p:cNvPr>
            <p:cNvSpPr txBox="1"/>
            <p:nvPr/>
          </p:nvSpPr>
          <p:spPr>
            <a:xfrm>
              <a:off x="-2003446" y="4973480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900"/>
                <a:t>Рост / падение показателей</a:t>
              </a:r>
            </a:p>
          </p:txBody>
        </p:sp>
        <p:sp>
          <p:nvSpPr>
            <p:cNvPr id="44" name="Прямоугольник: скругленные углы 43">
              <a:extLst>
                <a:ext uri="{FF2B5EF4-FFF2-40B4-BE49-F238E27FC236}">
                  <a16:creationId xmlns:a16="http://schemas.microsoft.com/office/drawing/2014/main" id="{E6DA982A-4819-86A4-B3E3-3820BE19C0E0}"/>
                </a:ext>
              </a:extLst>
            </p:cNvPr>
            <p:cNvSpPr/>
            <p:nvPr/>
          </p:nvSpPr>
          <p:spPr>
            <a:xfrm>
              <a:off x="-2004963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3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2" name="Прямоугольник: скругленные углы 51">
              <a:extLst>
                <a:ext uri="{FF2B5EF4-FFF2-40B4-BE49-F238E27FC236}">
                  <a16:creationId xmlns:a16="http://schemas.microsoft.com/office/drawing/2014/main" id="{4C7A1397-7A11-591D-AA68-55A9039699E9}"/>
                </a:ext>
              </a:extLst>
            </p:cNvPr>
            <p:cNvSpPr/>
            <p:nvPr/>
          </p:nvSpPr>
          <p:spPr>
            <a:xfrm>
              <a:off x="-1740264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2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7" name="Прямоугольник: скругленные углы 56">
              <a:extLst>
                <a:ext uri="{FF2B5EF4-FFF2-40B4-BE49-F238E27FC236}">
                  <a16:creationId xmlns:a16="http://schemas.microsoft.com/office/drawing/2014/main" id="{64568EE7-F81D-84C3-5AE6-8B77C2134C94}"/>
                </a:ext>
              </a:extLst>
            </p:cNvPr>
            <p:cNvSpPr/>
            <p:nvPr/>
          </p:nvSpPr>
          <p:spPr>
            <a:xfrm>
              <a:off x="-1474837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8" name="Прямоугольник: скругленные углы 57">
              <a:extLst>
                <a:ext uri="{FF2B5EF4-FFF2-40B4-BE49-F238E27FC236}">
                  <a16:creationId xmlns:a16="http://schemas.microsoft.com/office/drawing/2014/main" id="{0BC0B63B-AFDA-54FE-3829-EC8AA6CFBAEB}"/>
                </a:ext>
              </a:extLst>
            </p:cNvPr>
            <p:cNvSpPr/>
            <p:nvPr/>
          </p:nvSpPr>
          <p:spPr>
            <a:xfrm>
              <a:off x="-2131314" y="5782119"/>
              <a:ext cx="1928240" cy="1075881"/>
            </a:xfrm>
            <a:prstGeom prst="roundRect">
              <a:avLst>
                <a:gd name="adj" fmla="val 12985"/>
              </a:avLst>
            </a:prstGeom>
            <a:solidFill>
              <a:schemeClr val="bg1"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72FE7B29-A123-EF1E-09DB-12AADC874FA6}"/>
                </a:ext>
              </a:extLst>
            </p:cNvPr>
            <p:cNvSpPr txBox="1"/>
            <p:nvPr/>
          </p:nvSpPr>
          <p:spPr>
            <a:xfrm>
              <a:off x="-1788338" y="5868204"/>
              <a:ext cx="1155882" cy="15109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l">
                <a:lnSpc>
                  <a:spcPct val="90000"/>
                </a:lnSpc>
              </a:pPr>
              <a:r>
                <a:rPr lang="ru-RU" sz="1000" b="1">
                  <a:solidFill>
                    <a:schemeClr val="accent1"/>
                  </a:solidFill>
                </a:rPr>
                <a:t>Шаблон </a:t>
              </a:r>
              <a:r>
                <a:rPr lang="en-US" sz="1000" b="1">
                  <a:solidFill>
                    <a:schemeClr val="accent1"/>
                  </a:solidFill>
                </a:rPr>
                <a:t>Ozon</a:t>
              </a:r>
              <a:endParaRPr lang="ru-RU" sz="1000" b="1">
                <a:solidFill>
                  <a:schemeClr val="accent1"/>
                </a:solidFill>
              </a:endParaRPr>
            </a:p>
          </p:txBody>
        </p:sp>
        <p:sp>
          <p:nvSpPr>
            <p:cNvPr id="60" name="Рисунок 93">
              <a:extLst>
                <a:ext uri="{FF2B5EF4-FFF2-40B4-BE49-F238E27FC236}">
                  <a16:creationId xmlns:a16="http://schemas.microsoft.com/office/drawing/2014/main" id="{AA53B632-DD94-4453-746B-3AC3CCA27D0B}"/>
                </a:ext>
              </a:extLst>
            </p:cNvPr>
            <p:cNvSpPr/>
            <p:nvPr/>
          </p:nvSpPr>
          <p:spPr>
            <a:xfrm>
              <a:off x="-2004963" y="5853908"/>
              <a:ext cx="161099" cy="161099"/>
            </a:xfrm>
            <a:custGeom>
              <a:avLst/>
              <a:gdLst>
                <a:gd name="connsiteX0" fmla="*/ 85725 w 171450"/>
                <a:gd name="connsiteY0" fmla="*/ 171450 h 171450"/>
                <a:gd name="connsiteX1" fmla="*/ 171450 w 171450"/>
                <a:gd name="connsiteY1" fmla="*/ 85725 h 171450"/>
                <a:gd name="connsiteX2" fmla="*/ 85725 w 171450"/>
                <a:gd name="connsiteY2" fmla="*/ 0 h 171450"/>
                <a:gd name="connsiteX3" fmla="*/ 0 w 171450"/>
                <a:gd name="connsiteY3" fmla="*/ 85725 h 171450"/>
                <a:gd name="connsiteX4" fmla="*/ 85725 w 171450"/>
                <a:gd name="connsiteY4" fmla="*/ 171450 h 171450"/>
                <a:gd name="connsiteX5" fmla="*/ 130560 w 171450"/>
                <a:gd name="connsiteY5" fmla="*/ 73410 h 171450"/>
                <a:gd name="connsiteX6" fmla="*/ 82935 w 171450"/>
                <a:gd name="connsiteY6" fmla="*/ 121035 h 171450"/>
                <a:gd name="connsiteX7" fmla="*/ 69465 w 171450"/>
                <a:gd name="connsiteY7" fmla="*/ 121035 h 171450"/>
                <a:gd name="connsiteX8" fmla="*/ 40890 w 171450"/>
                <a:gd name="connsiteY8" fmla="*/ 92460 h 171450"/>
                <a:gd name="connsiteX9" fmla="*/ 40890 w 171450"/>
                <a:gd name="connsiteY9" fmla="*/ 78990 h 171450"/>
                <a:gd name="connsiteX10" fmla="*/ 54360 w 171450"/>
                <a:gd name="connsiteY10" fmla="*/ 78990 h 171450"/>
                <a:gd name="connsiteX11" fmla="*/ 76200 w 171450"/>
                <a:gd name="connsiteY11" fmla="*/ 100830 h 171450"/>
                <a:gd name="connsiteX12" fmla="*/ 117090 w 171450"/>
                <a:gd name="connsiteY12" fmla="*/ 59940 h 171450"/>
                <a:gd name="connsiteX13" fmla="*/ 130560 w 171450"/>
                <a:gd name="connsiteY13" fmla="*/ 59940 h 171450"/>
                <a:gd name="connsiteX14" fmla="*/ 130560 w 171450"/>
                <a:gd name="connsiteY14" fmla="*/ 7341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71450" h="171450">
                  <a:moveTo>
                    <a:pt x="85725" y="171450"/>
                  </a:moveTo>
                  <a:cubicBezTo>
                    <a:pt x="138915" y="171450"/>
                    <a:pt x="171450" y="138915"/>
                    <a:pt x="171450" y="85725"/>
                  </a:cubicBezTo>
                  <a:cubicBezTo>
                    <a:pt x="171450" y="32535"/>
                    <a:pt x="138915" y="0"/>
                    <a:pt x="85725" y="0"/>
                  </a:cubicBezTo>
                  <a:cubicBezTo>
                    <a:pt x="32535" y="0"/>
                    <a:pt x="0" y="32535"/>
                    <a:pt x="0" y="85725"/>
                  </a:cubicBezTo>
                  <a:cubicBezTo>
                    <a:pt x="0" y="138915"/>
                    <a:pt x="32535" y="171450"/>
                    <a:pt x="85725" y="171450"/>
                  </a:cubicBezTo>
                  <a:close/>
                  <a:moveTo>
                    <a:pt x="130560" y="73410"/>
                  </a:moveTo>
                  <a:lnTo>
                    <a:pt x="82935" y="121035"/>
                  </a:lnTo>
                  <a:cubicBezTo>
                    <a:pt x="79216" y="124755"/>
                    <a:pt x="73184" y="124755"/>
                    <a:pt x="69465" y="121035"/>
                  </a:cubicBezTo>
                  <a:lnTo>
                    <a:pt x="40890" y="92460"/>
                  </a:lnTo>
                  <a:cubicBezTo>
                    <a:pt x="37170" y="88741"/>
                    <a:pt x="37170" y="82709"/>
                    <a:pt x="40890" y="78990"/>
                  </a:cubicBezTo>
                  <a:cubicBezTo>
                    <a:pt x="44610" y="75270"/>
                    <a:pt x="50640" y="75270"/>
                    <a:pt x="54360" y="78990"/>
                  </a:cubicBezTo>
                  <a:lnTo>
                    <a:pt x="76200" y="100830"/>
                  </a:lnTo>
                  <a:lnTo>
                    <a:pt x="117090" y="59940"/>
                  </a:lnTo>
                  <a:cubicBezTo>
                    <a:pt x="120809" y="56220"/>
                    <a:pt x="126841" y="56220"/>
                    <a:pt x="130560" y="59940"/>
                  </a:cubicBezTo>
                  <a:cubicBezTo>
                    <a:pt x="134280" y="63660"/>
                    <a:pt x="134280" y="69691"/>
                    <a:pt x="130560" y="7341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8DE6F264-2180-A77B-E487-478DC7F970C2}"/>
                </a:ext>
              </a:extLst>
            </p:cNvPr>
            <p:cNvSpPr txBox="1"/>
            <p:nvPr userDrawn="1"/>
          </p:nvSpPr>
          <p:spPr>
            <a:xfrm>
              <a:off x="-2004962" y="6072106"/>
              <a:ext cx="1687587" cy="60024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>
                <a:lnSpc>
                  <a:spcPct val="110000"/>
                </a:lnSpc>
              </a:pPr>
              <a:r>
                <a:rPr lang="ru-RU" sz="900" spc="-30" baseline="0">
                  <a:solidFill>
                    <a:schemeClr val="tx2"/>
                  </a:solidFill>
                </a:rPr>
                <a:t>Если нужно больше материалов: </a:t>
              </a:r>
              <a:r>
                <a:rPr lang="ru-RU" sz="900" b="1" spc="-30" baseline="0">
                  <a:solidFill>
                    <a:schemeClr val="tx2"/>
                  </a:solidFill>
                </a:rPr>
                <a:t>правое меню </a:t>
              </a:r>
              <a:r>
                <a:rPr lang="en-US" sz="900" b="1" spc="-30" baseline="0">
                  <a:solidFill>
                    <a:schemeClr val="tx2"/>
                  </a:solidFill>
                </a:rPr>
                <a:t>Staff — Brand </a:t>
              </a:r>
              <a:r>
                <a:rPr lang="ru-RU" sz="900" b="1" spc="-30" baseline="0">
                  <a:solidFill>
                    <a:schemeClr val="tx2"/>
                  </a:solidFill>
                </a:rPr>
                <a:t>— Всё для презентаций. </a:t>
              </a:r>
              <a:r>
                <a:rPr lang="ru-RU" sz="900" b="0" spc="-30" baseline="0">
                  <a:solidFill>
                    <a:schemeClr val="tx2"/>
                  </a:solidFill>
                </a:rPr>
                <a:t>Или пиши нам на </a:t>
              </a:r>
              <a:r>
                <a:rPr lang="en-US" sz="900" b="0" spc="-30" baseline="0">
                  <a:solidFill>
                    <a:schemeClr val="tx2"/>
                  </a:solidFill>
                </a:rPr>
                <a:t>presentations@ozon.ru.</a:t>
              </a:r>
              <a:r>
                <a:rPr lang="ru-RU" sz="900" b="0" spc="-30" baseline="0">
                  <a:solidFill>
                    <a:schemeClr val="tx2"/>
                  </a:solidFill>
                </a:rPr>
                <a:t> </a:t>
              </a:r>
            </a:p>
          </p:txBody>
        </p:sp>
        <p:sp>
          <p:nvSpPr>
            <p:cNvPr id="64" name="Прямоугольник: скругленные углы 63">
              <a:extLst>
                <a:ext uri="{FF2B5EF4-FFF2-40B4-BE49-F238E27FC236}">
                  <a16:creationId xmlns:a16="http://schemas.microsoft.com/office/drawing/2014/main" id="{2B9BFCAF-86CA-1244-E85A-F30E4AC766F2}"/>
                </a:ext>
              </a:extLst>
            </p:cNvPr>
            <p:cNvSpPr/>
            <p:nvPr/>
          </p:nvSpPr>
          <p:spPr>
            <a:xfrm>
              <a:off x="-944711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53C14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5" name="Прямоугольник: скругленные углы 64">
              <a:extLst>
                <a:ext uri="{FF2B5EF4-FFF2-40B4-BE49-F238E27FC236}">
                  <a16:creationId xmlns:a16="http://schemas.microsoft.com/office/drawing/2014/main" id="{860A63BB-781E-AEA8-4E5D-D35214A49880}"/>
                </a:ext>
              </a:extLst>
            </p:cNvPr>
            <p:cNvSpPr/>
            <p:nvPr/>
          </p:nvSpPr>
          <p:spPr>
            <a:xfrm>
              <a:off x="-679648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CC4B8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6" name="Прямоугольник: скругленные углы 65">
              <a:extLst>
                <a:ext uri="{FF2B5EF4-FFF2-40B4-BE49-F238E27FC236}">
                  <a16:creationId xmlns:a16="http://schemas.microsoft.com/office/drawing/2014/main" id="{09CABE96-EC03-3157-B363-C0896B3891CC}"/>
                </a:ext>
              </a:extLst>
            </p:cNvPr>
            <p:cNvSpPr/>
            <p:nvPr/>
          </p:nvSpPr>
          <p:spPr>
            <a:xfrm>
              <a:off x="-1209774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FE5B2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3" name="Прямоугольник: скругленные верхние углы 12">
              <a:extLst>
                <a:ext uri="{FF2B5EF4-FFF2-40B4-BE49-F238E27FC236}">
                  <a16:creationId xmlns:a16="http://schemas.microsoft.com/office/drawing/2014/main" id="{EF4B2147-300C-3BFA-81C6-8712BD20BD73}"/>
                </a:ext>
              </a:extLst>
            </p:cNvPr>
            <p:cNvSpPr/>
            <p:nvPr/>
          </p:nvSpPr>
          <p:spPr>
            <a:xfrm>
              <a:off x="-2136930" y="3070447"/>
              <a:ext cx="1926713" cy="28800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36000" rtlCol="0" anchor="ctr"/>
            <a:lstStyle/>
            <a:p>
              <a:pPr algn="ctr"/>
              <a:r>
                <a:rPr lang="ru-RU" sz="1100" b="1">
                  <a:solidFill>
                    <a:schemeClr val="tx1"/>
                  </a:solidFill>
                </a:rPr>
                <a:t>Цвета </a:t>
              </a:r>
              <a:r>
                <a:rPr lang="en-US" sz="1100" b="1">
                  <a:solidFill>
                    <a:schemeClr val="tx1"/>
                  </a:solidFill>
                </a:rPr>
                <a:t>Ozon</a:t>
              </a:r>
              <a:endParaRPr lang="ru-RU" sz="1100" b="1">
                <a:solidFill>
                  <a:schemeClr val="tx1"/>
                </a:solidFill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34EE10FC-9DA3-93DA-C40F-EE6AAC1DA6AC}"/>
                </a:ext>
              </a:extLst>
            </p:cNvPr>
            <p:cNvSpPr txBox="1"/>
            <p:nvPr/>
          </p:nvSpPr>
          <p:spPr>
            <a:xfrm>
              <a:off x="-2003446" y="3412239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текста </a:t>
              </a:r>
            </a:p>
          </p:txBody>
        </p:sp>
        <p:sp>
          <p:nvSpPr>
            <p:cNvPr id="16" name="Прямоугольник: скругленные углы 15">
              <a:extLst>
                <a:ext uri="{FF2B5EF4-FFF2-40B4-BE49-F238E27FC236}">
                  <a16:creationId xmlns:a16="http://schemas.microsoft.com/office/drawing/2014/main" id="{580B6A99-E717-2740-36C4-A72DCF75745A}"/>
                </a:ext>
              </a:extLst>
            </p:cNvPr>
            <p:cNvSpPr/>
            <p:nvPr/>
          </p:nvSpPr>
          <p:spPr>
            <a:xfrm>
              <a:off x="-2004344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7" name="Прямоугольник: скругленные углы 16">
              <a:extLst>
                <a:ext uri="{FF2B5EF4-FFF2-40B4-BE49-F238E27FC236}">
                  <a16:creationId xmlns:a16="http://schemas.microsoft.com/office/drawing/2014/main" id="{8CC18F95-EA8B-20E0-9AED-F6279027B331}"/>
                </a:ext>
              </a:extLst>
            </p:cNvPr>
            <p:cNvSpPr/>
            <p:nvPr/>
          </p:nvSpPr>
          <p:spPr>
            <a:xfrm>
              <a:off x="-1738339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6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6D236EB0-0368-AF7A-C5FA-BA1C74876D58}"/>
                </a:ext>
              </a:extLst>
            </p:cNvPr>
            <p:cNvSpPr txBox="1"/>
            <p:nvPr/>
          </p:nvSpPr>
          <p:spPr>
            <a:xfrm>
              <a:off x="-1788338" y="5868204"/>
              <a:ext cx="1155882" cy="15109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l">
                <a:lnSpc>
                  <a:spcPct val="90000"/>
                </a:lnSpc>
              </a:pPr>
              <a:r>
                <a:rPr lang="ru-RU" sz="1000" b="1">
                  <a:solidFill>
                    <a:schemeClr val="accent1"/>
                  </a:solidFill>
                </a:rPr>
                <a:t>Шаблон </a:t>
              </a:r>
              <a:r>
                <a:rPr lang="en-US" sz="1000" b="1">
                  <a:solidFill>
                    <a:schemeClr val="accent1"/>
                  </a:solidFill>
                </a:rPr>
                <a:t>Ozon</a:t>
              </a:r>
              <a:endParaRPr lang="ru-RU" sz="1000" b="1">
                <a:solidFill>
                  <a:schemeClr val="accent1"/>
                </a:solidFill>
              </a:endParaRPr>
            </a:p>
          </p:txBody>
        </p:sp>
        <p:sp>
          <p:nvSpPr>
            <p:cNvPr id="45" name="Прямоугольник: скругленные углы 48">
              <a:extLst>
                <a:ext uri="{FF2B5EF4-FFF2-40B4-BE49-F238E27FC236}">
                  <a16:creationId xmlns:a16="http://schemas.microsoft.com/office/drawing/2014/main" id="{EB6594F7-A0D8-4F43-B230-20852203C3E3}"/>
                </a:ext>
              </a:extLst>
            </p:cNvPr>
            <p:cNvSpPr/>
            <p:nvPr userDrawn="1"/>
          </p:nvSpPr>
          <p:spPr>
            <a:xfrm>
              <a:off x="-1741352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1">
                <a:lumMod val="75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47" name="Нижний колонтитул 4">
            <a:extLst>
              <a:ext uri="{FF2B5EF4-FFF2-40B4-BE49-F238E27FC236}">
                <a16:creationId xmlns:a16="http://schemas.microsoft.com/office/drawing/2014/main" id="{1F4D90A4-5598-394F-84A2-9557098B6C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458800" y="6465600"/>
            <a:ext cx="7274114" cy="144500"/>
          </a:xfrm>
        </p:spPr>
        <p:txBody>
          <a:bodyPr anchor="b"/>
          <a:lstStyle>
            <a:lvl1pPr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endParaRPr lang="ru-RU" dirty="0"/>
          </a:p>
        </p:txBody>
      </p:sp>
      <p:pic>
        <p:nvPicPr>
          <p:cNvPr id="48" name="Рисунок 47">
            <a:extLst>
              <a:ext uri="{FF2B5EF4-FFF2-40B4-BE49-F238E27FC236}">
                <a16:creationId xmlns:a16="http://schemas.microsoft.com/office/drawing/2014/main" id="{B04A9133-D2FA-FF49-BA0E-2BDDFFCCEC3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l="9468" t="30431" r="9932" b="30861"/>
          <a:stretch/>
        </p:blipFill>
        <p:spPr>
          <a:xfrm>
            <a:off x="635000" y="6403975"/>
            <a:ext cx="1044575" cy="2508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44608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8">
          <p15:clr>
            <a:srgbClr val="F26B43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title_colo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9C6A208F-2A8F-8640-1889-7EF3989875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6547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33" imgH="233" progId="TCLayout.ActiveDocument.1">
                  <p:embed/>
                </p:oleObj>
              </mc:Choice>
              <mc:Fallback>
                <p:oleObj name="Слайд think-cell" r:id="rId3" imgW="233" imgH="233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9C6A208F-2A8F-8640-1889-7EF3989875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Объект 2">
            <a:extLst>
              <a:ext uri="{FF2B5EF4-FFF2-40B4-BE49-F238E27FC236}">
                <a16:creationId xmlns:a16="http://schemas.microsoft.com/office/drawing/2014/main" id="{00E81AAF-ABDB-4D08-7BE3-C7B407E68E1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763" y="1520824"/>
            <a:ext cx="10910887" cy="47418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5">
            <a:extLst>
              <a:ext uri="{FF2B5EF4-FFF2-40B4-BE49-F238E27FC236}">
                <a16:creationId xmlns:a16="http://schemas.microsoft.com/office/drawing/2014/main" id="{371F2FD1-0E8C-A36C-3CEF-FF20A77F36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57744" y="6430370"/>
            <a:ext cx="908050" cy="216000"/>
          </a:xfrm>
        </p:spPr>
        <p:txBody>
          <a:bodyPr/>
          <a:lstStyle>
            <a:lvl1pPr>
              <a:defRPr>
                <a:solidFill>
                  <a:schemeClr val="accent6">
                    <a:lumMod val="40000"/>
                    <a:lumOff val="60000"/>
                  </a:schemeClr>
                </a:solidFill>
              </a:defRPr>
            </a:lvl1pPr>
          </a:lstStyle>
          <a:p>
            <a:fld id="{EB5249F5-0093-48B0-B996-C4E44A87EAFB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35" name="Прямоугольник: скругленные углы 34">
            <a:extLst>
              <a:ext uri="{FF2B5EF4-FFF2-40B4-BE49-F238E27FC236}">
                <a16:creationId xmlns:a16="http://schemas.microsoft.com/office/drawing/2014/main" id="{C9800CF7-ABC5-B2F5-0454-607E6375863B}"/>
              </a:ext>
            </a:extLst>
          </p:cNvPr>
          <p:cNvSpPr/>
          <p:nvPr/>
        </p:nvSpPr>
        <p:spPr>
          <a:xfrm>
            <a:off x="-2138458" y="54865"/>
            <a:ext cx="1928241" cy="2826069"/>
          </a:xfrm>
          <a:prstGeom prst="roundRect">
            <a:avLst>
              <a:gd name="adj" fmla="val 5926"/>
            </a:avLst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" name="Прямоугольник: скругленные верхние углы 35">
            <a:extLst>
              <a:ext uri="{FF2B5EF4-FFF2-40B4-BE49-F238E27FC236}">
                <a16:creationId xmlns:a16="http://schemas.microsoft.com/office/drawing/2014/main" id="{C2940C45-7EC6-0986-B020-2D94E4C01F25}"/>
              </a:ext>
            </a:extLst>
          </p:cNvPr>
          <p:cNvSpPr/>
          <p:nvPr/>
        </p:nvSpPr>
        <p:spPr>
          <a:xfrm>
            <a:off x="-2136930" y="0"/>
            <a:ext cx="1926713" cy="2880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36000" rtlCol="0" anchor="ctr"/>
          <a:lstStyle/>
          <a:p>
            <a:pPr algn="ctr"/>
            <a:r>
              <a:rPr lang="ru-RU" sz="1100" b="1">
                <a:solidFill>
                  <a:schemeClr val="tx1"/>
                </a:solidFill>
              </a:rPr>
              <a:t>Размеры текста</a:t>
            </a:r>
          </a:p>
        </p:txBody>
      </p:sp>
      <p:graphicFrame>
        <p:nvGraphicFramePr>
          <p:cNvPr id="37" name="Таблица 46">
            <a:extLst>
              <a:ext uri="{FF2B5EF4-FFF2-40B4-BE49-F238E27FC236}">
                <a16:creationId xmlns:a16="http://schemas.microsoft.com/office/drawing/2014/main" id="{22E21D68-4F58-F199-36D3-C10450C366F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20574792"/>
              </p:ext>
            </p:extLst>
          </p:nvPr>
        </p:nvGraphicFramePr>
        <p:xfrm>
          <a:off x="-2046114" y="312643"/>
          <a:ext cx="1958731" cy="2142000"/>
        </p:xfrm>
        <a:graphic>
          <a:graphicData uri="http://schemas.openxmlformats.org/drawingml/2006/table">
            <a:tbl>
              <a:tblPr/>
              <a:tblGrid>
                <a:gridCol w="532517">
                  <a:extLst>
                    <a:ext uri="{9D8B030D-6E8A-4147-A177-3AD203B41FA5}">
                      <a16:colId xmlns:a16="http://schemas.microsoft.com/office/drawing/2014/main" val="2594385797"/>
                    </a:ext>
                  </a:extLst>
                </a:gridCol>
                <a:gridCol w="1426214">
                  <a:extLst>
                    <a:ext uri="{9D8B030D-6E8A-4147-A177-3AD203B41FA5}">
                      <a16:colId xmlns:a16="http://schemas.microsoft.com/office/drawing/2014/main" val="1017723076"/>
                    </a:ext>
                  </a:extLst>
                </a:gridCol>
              </a:tblGrid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44+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0" spc="-40" baseline="0"/>
                        <a:t>акцентные цифр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8329665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32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заголовки и самые </a:t>
                      </a:r>
                      <a:br>
                        <a:rPr lang="ru-RU" sz="1000" spc="-40" baseline="0"/>
                      </a:br>
                      <a:r>
                        <a:rPr lang="ru-RU" sz="1000" spc="-40" baseline="0"/>
                        <a:t>важные данные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17697917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24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8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подзаголовки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72780009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18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4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основной текст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0685745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4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2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торой уровень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текста (менее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ажная информация)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1997433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0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сноски, пояснения, </a:t>
                      </a:r>
                      <a:br>
                        <a:rPr lang="en-US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большие таблиц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76660845"/>
                  </a:ext>
                </a:extLst>
              </a:tr>
            </a:tbl>
          </a:graphicData>
        </a:graphic>
      </p:graphicFrame>
      <p:sp>
        <p:nvSpPr>
          <p:cNvPr id="38" name="Полилиния: фигура 37">
            <a:extLst>
              <a:ext uri="{FF2B5EF4-FFF2-40B4-BE49-F238E27FC236}">
                <a16:creationId xmlns:a16="http://schemas.microsoft.com/office/drawing/2014/main" id="{84FF97CD-0431-AB46-37C2-E699CA989913}"/>
              </a:ext>
            </a:extLst>
          </p:cNvPr>
          <p:cNvSpPr/>
          <p:nvPr/>
        </p:nvSpPr>
        <p:spPr>
          <a:xfrm>
            <a:off x="-2004344" y="2488864"/>
            <a:ext cx="216624" cy="228657"/>
          </a:xfrm>
          <a:custGeom>
            <a:avLst/>
            <a:gdLst>
              <a:gd name="connsiteX0" fmla="*/ 72536 w 171450"/>
              <a:gd name="connsiteY0" fmla="*/ 162210 h 180974"/>
              <a:gd name="connsiteX1" fmla="*/ 98923 w 171450"/>
              <a:gd name="connsiteY1" fmla="*/ 162210 h 180974"/>
              <a:gd name="connsiteX2" fmla="*/ 103600 w 171450"/>
              <a:gd name="connsiteY2" fmla="*/ 172160 h 180974"/>
              <a:gd name="connsiteX3" fmla="*/ 85726 w 171450"/>
              <a:gd name="connsiteY3" fmla="*/ 180974 h 180974"/>
              <a:gd name="connsiteX4" fmla="*/ 67852 w 171450"/>
              <a:gd name="connsiteY4" fmla="*/ 172160 h 180974"/>
              <a:gd name="connsiteX5" fmla="*/ 72536 w 171450"/>
              <a:gd name="connsiteY5" fmla="*/ 162210 h 180974"/>
              <a:gd name="connsiteX6" fmla="*/ 152400 w 171450"/>
              <a:gd name="connsiteY6" fmla="*/ 76200 h 180974"/>
              <a:gd name="connsiteX7" fmla="*/ 161925 w 171450"/>
              <a:gd name="connsiteY7" fmla="*/ 76200 h 180974"/>
              <a:gd name="connsiteX8" fmla="*/ 171450 w 171450"/>
              <a:gd name="connsiteY8" fmla="*/ 85725 h 180974"/>
              <a:gd name="connsiteX9" fmla="*/ 161925 w 171450"/>
              <a:gd name="connsiteY9" fmla="*/ 95250 h 180974"/>
              <a:gd name="connsiteX10" fmla="*/ 152400 w 171450"/>
              <a:gd name="connsiteY10" fmla="*/ 95250 h 180974"/>
              <a:gd name="connsiteX11" fmla="*/ 142875 w 171450"/>
              <a:gd name="connsiteY11" fmla="*/ 85725 h 180974"/>
              <a:gd name="connsiteX12" fmla="*/ 152400 w 171450"/>
              <a:gd name="connsiteY12" fmla="*/ 76200 h 180974"/>
              <a:gd name="connsiteX13" fmla="*/ 9525 w 171450"/>
              <a:gd name="connsiteY13" fmla="*/ 76200 h 180974"/>
              <a:gd name="connsiteX14" fmla="*/ 19050 w 171450"/>
              <a:gd name="connsiteY14" fmla="*/ 76200 h 180974"/>
              <a:gd name="connsiteX15" fmla="*/ 28575 w 171450"/>
              <a:gd name="connsiteY15" fmla="*/ 85725 h 180974"/>
              <a:gd name="connsiteX16" fmla="*/ 19050 w 171450"/>
              <a:gd name="connsiteY16" fmla="*/ 95250 h 180974"/>
              <a:gd name="connsiteX17" fmla="*/ 9525 w 171450"/>
              <a:gd name="connsiteY17" fmla="*/ 95250 h 180974"/>
              <a:gd name="connsiteX18" fmla="*/ 0 w 171450"/>
              <a:gd name="connsiteY18" fmla="*/ 85725 h 180974"/>
              <a:gd name="connsiteX19" fmla="*/ 9525 w 171450"/>
              <a:gd name="connsiteY19" fmla="*/ 76200 h 180974"/>
              <a:gd name="connsiteX20" fmla="*/ 85725 w 171450"/>
              <a:gd name="connsiteY20" fmla="*/ 38100 h 180974"/>
              <a:gd name="connsiteX21" fmla="*/ 133350 w 171450"/>
              <a:gd name="connsiteY21" fmla="*/ 85725 h 180974"/>
              <a:gd name="connsiteX22" fmla="*/ 123174 w 171450"/>
              <a:gd name="connsiteY22" fmla="*/ 114596 h 180974"/>
              <a:gd name="connsiteX23" fmla="*/ 114300 w 171450"/>
              <a:gd name="connsiteY23" fmla="*/ 138113 h 180974"/>
              <a:gd name="connsiteX24" fmla="*/ 85725 w 171450"/>
              <a:gd name="connsiteY24" fmla="*/ 152400 h 180974"/>
              <a:gd name="connsiteX25" fmla="*/ 57150 w 171450"/>
              <a:gd name="connsiteY25" fmla="*/ 138113 h 180974"/>
              <a:gd name="connsiteX26" fmla="*/ 48275 w 171450"/>
              <a:gd name="connsiteY26" fmla="*/ 114596 h 180974"/>
              <a:gd name="connsiteX27" fmla="*/ 38100 w 171450"/>
              <a:gd name="connsiteY27" fmla="*/ 85725 h 180974"/>
              <a:gd name="connsiteX28" fmla="*/ 85725 w 171450"/>
              <a:gd name="connsiteY28" fmla="*/ 38100 h 180974"/>
              <a:gd name="connsiteX29" fmla="*/ 136141 w 171450"/>
              <a:gd name="connsiteY29" fmla="*/ 21840 h 180974"/>
              <a:gd name="connsiteX30" fmla="*/ 149611 w 171450"/>
              <a:gd name="connsiteY30" fmla="*/ 21840 h 180974"/>
              <a:gd name="connsiteX31" fmla="*/ 149611 w 171450"/>
              <a:gd name="connsiteY31" fmla="*/ 35310 h 180974"/>
              <a:gd name="connsiteX32" fmla="*/ 140086 w 171450"/>
              <a:gd name="connsiteY32" fmla="*/ 44835 h 180974"/>
              <a:gd name="connsiteX33" fmla="*/ 126616 w 171450"/>
              <a:gd name="connsiteY33" fmla="*/ 44835 h 180974"/>
              <a:gd name="connsiteX34" fmla="*/ 126616 w 171450"/>
              <a:gd name="connsiteY34" fmla="*/ 31365 h 180974"/>
              <a:gd name="connsiteX35" fmla="*/ 21840 w 171450"/>
              <a:gd name="connsiteY35" fmla="*/ 21840 h 180974"/>
              <a:gd name="connsiteX36" fmla="*/ 35310 w 171450"/>
              <a:gd name="connsiteY36" fmla="*/ 21840 h 180974"/>
              <a:gd name="connsiteX37" fmla="*/ 44835 w 171450"/>
              <a:gd name="connsiteY37" fmla="*/ 31365 h 180974"/>
              <a:gd name="connsiteX38" fmla="*/ 44835 w 171450"/>
              <a:gd name="connsiteY38" fmla="*/ 44835 h 180974"/>
              <a:gd name="connsiteX39" fmla="*/ 31365 w 171450"/>
              <a:gd name="connsiteY39" fmla="*/ 44835 h 180974"/>
              <a:gd name="connsiteX40" fmla="*/ 21840 w 171450"/>
              <a:gd name="connsiteY40" fmla="*/ 35310 h 180974"/>
              <a:gd name="connsiteX41" fmla="*/ 21840 w 171450"/>
              <a:gd name="connsiteY41" fmla="*/ 21840 h 180974"/>
              <a:gd name="connsiteX42" fmla="*/ 85725 w 171450"/>
              <a:gd name="connsiteY42" fmla="*/ 0 h 180974"/>
              <a:gd name="connsiteX43" fmla="*/ 95250 w 171450"/>
              <a:gd name="connsiteY43" fmla="*/ 9525 h 180974"/>
              <a:gd name="connsiteX44" fmla="*/ 95250 w 171450"/>
              <a:gd name="connsiteY44" fmla="*/ 19050 h 180974"/>
              <a:gd name="connsiteX45" fmla="*/ 85725 w 171450"/>
              <a:gd name="connsiteY45" fmla="*/ 28575 h 180974"/>
              <a:gd name="connsiteX46" fmla="*/ 76200 w 171450"/>
              <a:gd name="connsiteY46" fmla="*/ 19050 h 180974"/>
              <a:gd name="connsiteX47" fmla="*/ 76200 w 171450"/>
              <a:gd name="connsiteY47" fmla="*/ 9525 h 180974"/>
              <a:gd name="connsiteX48" fmla="*/ 85725 w 171450"/>
              <a:gd name="connsiteY48" fmla="*/ 0 h 18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1450" h="180974">
                <a:moveTo>
                  <a:pt x="72536" y="162210"/>
                </a:moveTo>
                <a:cubicBezTo>
                  <a:pt x="80449" y="164140"/>
                  <a:pt x="90933" y="164211"/>
                  <a:pt x="98923" y="162210"/>
                </a:cubicBezTo>
                <a:cubicBezTo>
                  <a:pt x="105617" y="160534"/>
                  <a:pt x="105617" y="166533"/>
                  <a:pt x="103600" y="172160"/>
                </a:cubicBezTo>
                <a:cubicBezTo>
                  <a:pt x="100950" y="179549"/>
                  <a:pt x="95451" y="180974"/>
                  <a:pt x="85726" y="180974"/>
                </a:cubicBezTo>
                <a:cubicBezTo>
                  <a:pt x="76000" y="180974"/>
                  <a:pt x="70501" y="179549"/>
                  <a:pt x="67852" y="172160"/>
                </a:cubicBezTo>
                <a:cubicBezTo>
                  <a:pt x="65835" y="166534"/>
                  <a:pt x="65835" y="160576"/>
                  <a:pt x="72536" y="162210"/>
                </a:cubicBezTo>
                <a:close/>
                <a:moveTo>
                  <a:pt x="152400" y="76200"/>
                </a:moveTo>
                <a:lnTo>
                  <a:pt x="161925" y="76200"/>
                </a:lnTo>
                <a:cubicBezTo>
                  <a:pt x="167186" y="76200"/>
                  <a:pt x="171450" y="80464"/>
                  <a:pt x="171450" y="85725"/>
                </a:cubicBezTo>
                <a:cubicBezTo>
                  <a:pt x="171450" y="90986"/>
                  <a:pt x="167186" y="95250"/>
                  <a:pt x="161925" y="95250"/>
                </a:cubicBezTo>
                <a:lnTo>
                  <a:pt x="152400" y="95250"/>
                </a:lnTo>
                <a:cubicBezTo>
                  <a:pt x="147139" y="95250"/>
                  <a:pt x="142875" y="90986"/>
                  <a:pt x="142875" y="85725"/>
                </a:cubicBezTo>
                <a:cubicBezTo>
                  <a:pt x="142875" y="80464"/>
                  <a:pt x="147139" y="76200"/>
                  <a:pt x="152400" y="76200"/>
                </a:cubicBezTo>
                <a:close/>
                <a:moveTo>
                  <a:pt x="9525" y="76200"/>
                </a:moveTo>
                <a:lnTo>
                  <a:pt x="19050" y="76200"/>
                </a:lnTo>
                <a:cubicBezTo>
                  <a:pt x="24310" y="76200"/>
                  <a:pt x="28575" y="80464"/>
                  <a:pt x="28575" y="85725"/>
                </a:cubicBezTo>
                <a:cubicBezTo>
                  <a:pt x="28575" y="90986"/>
                  <a:pt x="24310" y="95250"/>
                  <a:pt x="19050" y="95250"/>
                </a:cubicBezTo>
                <a:lnTo>
                  <a:pt x="9525" y="95250"/>
                </a:lnTo>
                <a:cubicBezTo>
                  <a:pt x="4265" y="95250"/>
                  <a:pt x="0" y="90986"/>
                  <a:pt x="0" y="85725"/>
                </a:cubicBezTo>
                <a:cubicBezTo>
                  <a:pt x="0" y="80464"/>
                  <a:pt x="4265" y="76200"/>
                  <a:pt x="9525" y="76200"/>
                </a:cubicBezTo>
                <a:close/>
                <a:moveTo>
                  <a:pt x="85725" y="38100"/>
                </a:moveTo>
                <a:cubicBezTo>
                  <a:pt x="112027" y="38100"/>
                  <a:pt x="133350" y="58671"/>
                  <a:pt x="133350" y="85725"/>
                </a:cubicBezTo>
                <a:cubicBezTo>
                  <a:pt x="133350" y="100663"/>
                  <a:pt x="128144" y="107793"/>
                  <a:pt x="123174" y="114596"/>
                </a:cubicBezTo>
                <a:cubicBezTo>
                  <a:pt x="118639" y="120807"/>
                  <a:pt x="114300" y="126748"/>
                  <a:pt x="114300" y="138113"/>
                </a:cubicBezTo>
                <a:cubicBezTo>
                  <a:pt x="114300" y="147638"/>
                  <a:pt x="104775" y="152400"/>
                  <a:pt x="85725" y="152400"/>
                </a:cubicBezTo>
                <a:cubicBezTo>
                  <a:pt x="66675" y="152400"/>
                  <a:pt x="57150" y="147638"/>
                  <a:pt x="57150" y="138113"/>
                </a:cubicBezTo>
                <a:cubicBezTo>
                  <a:pt x="57150" y="126748"/>
                  <a:pt x="52811" y="120807"/>
                  <a:pt x="48275" y="114596"/>
                </a:cubicBezTo>
                <a:cubicBezTo>
                  <a:pt x="43306" y="107793"/>
                  <a:pt x="38100" y="100663"/>
                  <a:pt x="38100" y="85725"/>
                </a:cubicBezTo>
                <a:cubicBezTo>
                  <a:pt x="38100" y="57150"/>
                  <a:pt x="59422" y="38100"/>
                  <a:pt x="85725" y="38100"/>
                </a:cubicBezTo>
                <a:close/>
                <a:moveTo>
                  <a:pt x="136141" y="21840"/>
                </a:moveTo>
                <a:cubicBezTo>
                  <a:pt x="139860" y="18120"/>
                  <a:pt x="145891" y="18120"/>
                  <a:pt x="149611" y="21840"/>
                </a:cubicBezTo>
                <a:cubicBezTo>
                  <a:pt x="153330" y="25560"/>
                  <a:pt x="153330" y="31590"/>
                  <a:pt x="149611" y="35310"/>
                </a:cubicBezTo>
                <a:lnTo>
                  <a:pt x="140086" y="44835"/>
                </a:lnTo>
                <a:cubicBezTo>
                  <a:pt x="136366" y="48555"/>
                  <a:pt x="130335" y="48555"/>
                  <a:pt x="126616" y="44835"/>
                </a:cubicBezTo>
                <a:cubicBezTo>
                  <a:pt x="122896" y="41115"/>
                  <a:pt x="122896" y="35085"/>
                  <a:pt x="126616" y="31365"/>
                </a:cubicBezTo>
                <a:close/>
                <a:moveTo>
                  <a:pt x="21840" y="21840"/>
                </a:moveTo>
                <a:cubicBezTo>
                  <a:pt x="25560" y="18120"/>
                  <a:pt x="31590" y="18120"/>
                  <a:pt x="35310" y="21840"/>
                </a:cubicBezTo>
                <a:lnTo>
                  <a:pt x="44835" y="31365"/>
                </a:lnTo>
                <a:cubicBezTo>
                  <a:pt x="48555" y="35085"/>
                  <a:pt x="48555" y="41115"/>
                  <a:pt x="44835" y="44835"/>
                </a:cubicBezTo>
                <a:cubicBezTo>
                  <a:pt x="41115" y="48555"/>
                  <a:pt x="35085" y="48555"/>
                  <a:pt x="31365" y="44835"/>
                </a:cubicBezTo>
                <a:lnTo>
                  <a:pt x="21840" y="35310"/>
                </a:lnTo>
                <a:cubicBezTo>
                  <a:pt x="18120" y="31590"/>
                  <a:pt x="18120" y="25560"/>
                  <a:pt x="21840" y="21840"/>
                </a:cubicBezTo>
                <a:close/>
                <a:moveTo>
                  <a:pt x="85725" y="0"/>
                </a:moveTo>
                <a:cubicBezTo>
                  <a:pt x="90986" y="0"/>
                  <a:pt x="95250" y="4265"/>
                  <a:pt x="95250" y="9525"/>
                </a:cubicBezTo>
                <a:lnTo>
                  <a:pt x="95250" y="19050"/>
                </a:lnTo>
                <a:cubicBezTo>
                  <a:pt x="95250" y="24310"/>
                  <a:pt x="90986" y="28575"/>
                  <a:pt x="85725" y="28575"/>
                </a:cubicBezTo>
                <a:cubicBezTo>
                  <a:pt x="80464" y="28575"/>
                  <a:pt x="76200" y="24310"/>
                  <a:pt x="76200" y="19050"/>
                </a:cubicBezTo>
                <a:lnTo>
                  <a:pt x="76200" y="9525"/>
                </a:lnTo>
                <a:cubicBezTo>
                  <a:pt x="76200" y="4265"/>
                  <a:pt x="80464" y="0"/>
                  <a:pt x="85725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2" name="Полилиния: фигура 61">
            <a:extLst>
              <a:ext uri="{FF2B5EF4-FFF2-40B4-BE49-F238E27FC236}">
                <a16:creationId xmlns:a16="http://schemas.microsoft.com/office/drawing/2014/main" id="{A7B63E7B-62B1-B63D-8185-8BE47CB66443}"/>
              </a:ext>
            </a:extLst>
          </p:cNvPr>
          <p:cNvSpPr/>
          <p:nvPr/>
        </p:nvSpPr>
        <p:spPr>
          <a:xfrm>
            <a:off x="-2004344" y="2488864"/>
            <a:ext cx="216624" cy="228657"/>
          </a:xfrm>
          <a:custGeom>
            <a:avLst/>
            <a:gdLst>
              <a:gd name="connsiteX0" fmla="*/ 72536 w 171450"/>
              <a:gd name="connsiteY0" fmla="*/ 162210 h 180974"/>
              <a:gd name="connsiteX1" fmla="*/ 98923 w 171450"/>
              <a:gd name="connsiteY1" fmla="*/ 162210 h 180974"/>
              <a:gd name="connsiteX2" fmla="*/ 103600 w 171450"/>
              <a:gd name="connsiteY2" fmla="*/ 172160 h 180974"/>
              <a:gd name="connsiteX3" fmla="*/ 85726 w 171450"/>
              <a:gd name="connsiteY3" fmla="*/ 180974 h 180974"/>
              <a:gd name="connsiteX4" fmla="*/ 67852 w 171450"/>
              <a:gd name="connsiteY4" fmla="*/ 172160 h 180974"/>
              <a:gd name="connsiteX5" fmla="*/ 72536 w 171450"/>
              <a:gd name="connsiteY5" fmla="*/ 162210 h 180974"/>
              <a:gd name="connsiteX6" fmla="*/ 152400 w 171450"/>
              <a:gd name="connsiteY6" fmla="*/ 76200 h 180974"/>
              <a:gd name="connsiteX7" fmla="*/ 161925 w 171450"/>
              <a:gd name="connsiteY7" fmla="*/ 76200 h 180974"/>
              <a:gd name="connsiteX8" fmla="*/ 171450 w 171450"/>
              <a:gd name="connsiteY8" fmla="*/ 85725 h 180974"/>
              <a:gd name="connsiteX9" fmla="*/ 161925 w 171450"/>
              <a:gd name="connsiteY9" fmla="*/ 95250 h 180974"/>
              <a:gd name="connsiteX10" fmla="*/ 152400 w 171450"/>
              <a:gd name="connsiteY10" fmla="*/ 95250 h 180974"/>
              <a:gd name="connsiteX11" fmla="*/ 142875 w 171450"/>
              <a:gd name="connsiteY11" fmla="*/ 85725 h 180974"/>
              <a:gd name="connsiteX12" fmla="*/ 152400 w 171450"/>
              <a:gd name="connsiteY12" fmla="*/ 76200 h 180974"/>
              <a:gd name="connsiteX13" fmla="*/ 9525 w 171450"/>
              <a:gd name="connsiteY13" fmla="*/ 76200 h 180974"/>
              <a:gd name="connsiteX14" fmla="*/ 19050 w 171450"/>
              <a:gd name="connsiteY14" fmla="*/ 76200 h 180974"/>
              <a:gd name="connsiteX15" fmla="*/ 28575 w 171450"/>
              <a:gd name="connsiteY15" fmla="*/ 85725 h 180974"/>
              <a:gd name="connsiteX16" fmla="*/ 19050 w 171450"/>
              <a:gd name="connsiteY16" fmla="*/ 95250 h 180974"/>
              <a:gd name="connsiteX17" fmla="*/ 9525 w 171450"/>
              <a:gd name="connsiteY17" fmla="*/ 95250 h 180974"/>
              <a:gd name="connsiteX18" fmla="*/ 0 w 171450"/>
              <a:gd name="connsiteY18" fmla="*/ 85725 h 180974"/>
              <a:gd name="connsiteX19" fmla="*/ 9525 w 171450"/>
              <a:gd name="connsiteY19" fmla="*/ 76200 h 180974"/>
              <a:gd name="connsiteX20" fmla="*/ 85725 w 171450"/>
              <a:gd name="connsiteY20" fmla="*/ 38100 h 180974"/>
              <a:gd name="connsiteX21" fmla="*/ 133350 w 171450"/>
              <a:gd name="connsiteY21" fmla="*/ 85725 h 180974"/>
              <a:gd name="connsiteX22" fmla="*/ 123174 w 171450"/>
              <a:gd name="connsiteY22" fmla="*/ 114596 h 180974"/>
              <a:gd name="connsiteX23" fmla="*/ 114300 w 171450"/>
              <a:gd name="connsiteY23" fmla="*/ 138113 h 180974"/>
              <a:gd name="connsiteX24" fmla="*/ 85725 w 171450"/>
              <a:gd name="connsiteY24" fmla="*/ 152400 h 180974"/>
              <a:gd name="connsiteX25" fmla="*/ 57150 w 171450"/>
              <a:gd name="connsiteY25" fmla="*/ 138113 h 180974"/>
              <a:gd name="connsiteX26" fmla="*/ 48275 w 171450"/>
              <a:gd name="connsiteY26" fmla="*/ 114596 h 180974"/>
              <a:gd name="connsiteX27" fmla="*/ 38100 w 171450"/>
              <a:gd name="connsiteY27" fmla="*/ 85725 h 180974"/>
              <a:gd name="connsiteX28" fmla="*/ 85725 w 171450"/>
              <a:gd name="connsiteY28" fmla="*/ 38100 h 180974"/>
              <a:gd name="connsiteX29" fmla="*/ 136141 w 171450"/>
              <a:gd name="connsiteY29" fmla="*/ 21840 h 180974"/>
              <a:gd name="connsiteX30" fmla="*/ 149611 w 171450"/>
              <a:gd name="connsiteY30" fmla="*/ 21840 h 180974"/>
              <a:gd name="connsiteX31" fmla="*/ 149611 w 171450"/>
              <a:gd name="connsiteY31" fmla="*/ 35310 h 180974"/>
              <a:gd name="connsiteX32" fmla="*/ 140086 w 171450"/>
              <a:gd name="connsiteY32" fmla="*/ 44835 h 180974"/>
              <a:gd name="connsiteX33" fmla="*/ 126616 w 171450"/>
              <a:gd name="connsiteY33" fmla="*/ 44835 h 180974"/>
              <a:gd name="connsiteX34" fmla="*/ 126616 w 171450"/>
              <a:gd name="connsiteY34" fmla="*/ 31365 h 180974"/>
              <a:gd name="connsiteX35" fmla="*/ 21840 w 171450"/>
              <a:gd name="connsiteY35" fmla="*/ 21840 h 180974"/>
              <a:gd name="connsiteX36" fmla="*/ 35310 w 171450"/>
              <a:gd name="connsiteY36" fmla="*/ 21840 h 180974"/>
              <a:gd name="connsiteX37" fmla="*/ 44835 w 171450"/>
              <a:gd name="connsiteY37" fmla="*/ 31365 h 180974"/>
              <a:gd name="connsiteX38" fmla="*/ 44835 w 171450"/>
              <a:gd name="connsiteY38" fmla="*/ 44835 h 180974"/>
              <a:gd name="connsiteX39" fmla="*/ 31365 w 171450"/>
              <a:gd name="connsiteY39" fmla="*/ 44835 h 180974"/>
              <a:gd name="connsiteX40" fmla="*/ 21840 w 171450"/>
              <a:gd name="connsiteY40" fmla="*/ 35310 h 180974"/>
              <a:gd name="connsiteX41" fmla="*/ 21840 w 171450"/>
              <a:gd name="connsiteY41" fmla="*/ 21840 h 180974"/>
              <a:gd name="connsiteX42" fmla="*/ 85725 w 171450"/>
              <a:gd name="connsiteY42" fmla="*/ 0 h 180974"/>
              <a:gd name="connsiteX43" fmla="*/ 95250 w 171450"/>
              <a:gd name="connsiteY43" fmla="*/ 9525 h 180974"/>
              <a:gd name="connsiteX44" fmla="*/ 95250 w 171450"/>
              <a:gd name="connsiteY44" fmla="*/ 19050 h 180974"/>
              <a:gd name="connsiteX45" fmla="*/ 85725 w 171450"/>
              <a:gd name="connsiteY45" fmla="*/ 28575 h 180974"/>
              <a:gd name="connsiteX46" fmla="*/ 76200 w 171450"/>
              <a:gd name="connsiteY46" fmla="*/ 19050 h 180974"/>
              <a:gd name="connsiteX47" fmla="*/ 76200 w 171450"/>
              <a:gd name="connsiteY47" fmla="*/ 9525 h 180974"/>
              <a:gd name="connsiteX48" fmla="*/ 85725 w 171450"/>
              <a:gd name="connsiteY48" fmla="*/ 0 h 18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1450" h="180974">
                <a:moveTo>
                  <a:pt x="72536" y="162210"/>
                </a:moveTo>
                <a:cubicBezTo>
                  <a:pt x="80449" y="164140"/>
                  <a:pt x="90933" y="164211"/>
                  <a:pt x="98923" y="162210"/>
                </a:cubicBezTo>
                <a:cubicBezTo>
                  <a:pt x="105617" y="160534"/>
                  <a:pt x="105617" y="166533"/>
                  <a:pt x="103600" y="172160"/>
                </a:cubicBezTo>
                <a:cubicBezTo>
                  <a:pt x="100950" y="179549"/>
                  <a:pt x="95451" y="180974"/>
                  <a:pt x="85726" y="180974"/>
                </a:cubicBezTo>
                <a:cubicBezTo>
                  <a:pt x="76000" y="180974"/>
                  <a:pt x="70501" y="179549"/>
                  <a:pt x="67852" y="172160"/>
                </a:cubicBezTo>
                <a:cubicBezTo>
                  <a:pt x="65835" y="166534"/>
                  <a:pt x="65835" y="160576"/>
                  <a:pt x="72536" y="162210"/>
                </a:cubicBezTo>
                <a:close/>
                <a:moveTo>
                  <a:pt x="152400" y="76200"/>
                </a:moveTo>
                <a:lnTo>
                  <a:pt x="161925" y="76200"/>
                </a:lnTo>
                <a:cubicBezTo>
                  <a:pt x="167186" y="76200"/>
                  <a:pt x="171450" y="80464"/>
                  <a:pt x="171450" y="85725"/>
                </a:cubicBezTo>
                <a:cubicBezTo>
                  <a:pt x="171450" y="90986"/>
                  <a:pt x="167186" y="95250"/>
                  <a:pt x="161925" y="95250"/>
                </a:cubicBezTo>
                <a:lnTo>
                  <a:pt x="152400" y="95250"/>
                </a:lnTo>
                <a:cubicBezTo>
                  <a:pt x="147139" y="95250"/>
                  <a:pt x="142875" y="90986"/>
                  <a:pt x="142875" y="85725"/>
                </a:cubicBezTo>
                <a:cubicBezTo>
                  <a:pt x="142875" y="80464"/>
                  <a:pt x="147139" y="76200"/>
                  <a:pt x="152400" y="76200"/>
                </a:cubicBezTo>
                <a:close/>
                <a:moveTo>
                  <a:pt x="9525" y="76200"/>
                </a:moveTo>
                <a:lnTo>
                  <a:pt x="19050" y="76200"/>
                </a:lnTo>
                <a:cubicBezTo>
                  <a:pt x="24310" y="76200"/>
                  <a:pt x="28575" y="80464"/>
                  <a:pt x="28575" y="85725"/>
                </a:cubicBezTo>
                <a:cubicBezTo>
                  <a:pt x="28575" y="90986"/>
                  <a:pt x="24310" y="95250"/>
                  <a:pt x="19050" y="95250"/>
                </a:cubicBezTo>
                <a:lnTo>
                  <a:pt x="9525" y="95250"/>
                </a:lnTo>
                <a:cubicBezTo>
                  <a:pt x="4265" y="95250"/>
                  <a:pt x="0" y="90986"/>
                  <a:pt x="0" y="85725"/>
                </a:cubicBezTo>
                <a:cubicBezTo>
                  <a:pt x="0" y="80464"/>
                  <a:pt x="4265" y="76200"/>
                  <a:pt x="9525" y="76200"/>
                </a:cubicBezTo>
                <a:close/>
                <a:moveTo>
                  <a:pt x="85725" y="38100"/>
                </a:moveTo>
                <a:cubicBezTo>
                  <a:pt x="112027" y="38100"/>
                  <a:pt x="133350" y="58671"/>
                  <a:pt x="133350" y="85725"/>
                </a:cubicBezTo>
                <a:cubicBezTo>
                  <a:pt x="133350" y="100663"/>
                  <a:pt x="128144" y="107793"/>
                  <a:pt x="123174" y="114596"/>
                </a:cubicBezTo>
                <a:cubicBezTo>
                  <a:pt x="118639" y="120807"/>
                  <a:pt x="114300" y="126748"/>
                  <a:pt x="114300" y="138113"/>
                </a:cubicBezTo>
                <a:cubicBezTo>
                  <a:pt x="114300" y="147638"/>
                  <a:pt x="104775" y="152400"/>
                  <a:pt x="85725" y="152400"/>
                </a:cubicBezTo>
                <a:cubicBezTo>
                  <a:pt x="66675" y="152400"/>
                  <a:pt x="57150" y="147638"/>
                  <a:pt x="57150" y="138113"/>
                </a:cubicBezTo>
                <a:cubicBezTo>
                  <a:pt x="57150" y="126748"/>
                  <a:pt x="52811" y="120807"/>
                  <a:pt x="48275" y="114596"/>
                </a:cubicBezTo>
                <a:cubicBezTo>
                  <a:pt x="43306" y="107793"/>
                  <a:pt x="38100" y="100663"/>
                  <a:pt x="38100" y="85725"/>
                </a:cubicBezTo>
                <a:cubicBezTo>
                  <a:pt x="38100" y="57150"/>
                  <a:pt x="59422" y="38100"/>
                  <a:pt x="85725" y="38100"/>
                </a:cubicBezTo>
                <a:close/>
                <a:moveTo>
                  <a:pt x="136141" y="21840"/>
                </a:moveTo>
                <a:cubicBezTo>
                  <a:pt x="139860" y="18120"/>
                  <a:pt x="145891" y="18120"/>
                  <a:pt x="149611" y="21840"/>
                </a:cubicBezTo>
                <a:cubicBezTo>
                  <a:pt x="153330" y="25560"/>
                  <a:pt x="153330" y="31590"/>
                  <a:pt x="149611" y="35310"/>
                </a:cubicBezTo>
                <a:lnTo>
                  <a:pt x="140086" y="44835"/>
                </a:lnTo>
                <a:cubicBezTo>
                  <a:pt x="136366" y="48555"/>
                  <a:pt x="130335" y="48555"/>
                  <a:pt x="126616" y="44835"/>
                </a:cubicBezTo>
                <a:cubicBezTo>
                  <a:pt x="122896" y="41115"/>
                  <a:pt x="122896" y="35085"/>
                  <a:pt x="126616" y="31365"/>
                </a:cubicBezTo>
                <a:close/>
                <a:moveTo>
                  <a:pt x="21840" y="21840"/>
                </a:moveTo>
                <a:cubicBezTo>
                  <a:pt x="25560" y="18120"/>
                  <a:pt x="31590" y="18120"/>
                  <a:pt x="35310" y="21840"/>
                </a:cubicBezTo>
                <a:lnTo>
                  <a:pt x="44835" y="31365"/>
                </a:lnTo>
                <a:cubicBezTo>
                  <a:pt x="48555" y="35085"/>
                  <a:pt x="48555" y="41115"/>
                  <a:pt x="44835" y="44835"/>
                </a:cubicBezTo>
                <a:cubicBezTo>
                  <a:pt x="41115" y="48555"/>
                  <a:pt x="35085" y="48555"/>
                  <a:pt x="31365" y="44835"/>
                </a:cubicBezTo>
                <a:lnTo>
                  <a:pt x="21840" y="35310"/>
                </a:lnTo>
                <a:cubicBezTo>
                  <a:pt x="18120" y="31590"/>
                  <a:pt x="18120" y="25560"/>
                  <a:pt x="21840" y="21840"/>
                </a:cubicBezTo>
                <a:close/>
                <a:moveTo>
                  <a:pt x="85725" y="0"/>
                </a:moveTo>
                <a:cubicBezTo>
                  <a:pt x="90986" y="0"/>
                  <a:pt x="95250" y="4265"/>
                  <a:pt x="95250" y="9525"/>
                </a:cubicBezTo>
                <a:lnTo>
                  <a:pt x="95250" y="19050"/>
                </a:lnTo>
                <a:cubicBezTo>
                  <a:pt x="95250" y="24310"/>
                  <a:pt x="90986" y="28575"/>
                  <a:pt x="85725" y="28575"/>
                </a:cubicBezTo>
                <a:cubicBezTo>
                  <a:pt x="80464" y="28575"/>
                  <a:pt x="76200" y="24310"/>
                  <a:pt x="76200" y="19050"/>
                </a:cubicBezTo>
                <a:lnTo>
                  <a:pt x="76200" y="9525"/>
                </a:lnTo>
                <a:cubicBezTo>
                  <a:pt x="76200" y="4265"/>
                  <a:pt x="80464" y="0"/>
                  <a:pt x="85725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EC11CE47-F2DE-CA1C-5C0F-C21FAC0B5671}"/>
              </a:ext>
            </a:extLst>
          </p:cNvPr>
          <p:cNvSpPr txBox="1"/>
          <p:nvPr/>
        </p:nvSpPr>
        <p:spPr>
          <a:xfrm>
            <a:off x="-1691344" y="2506490"/>
            <a:ext cx="1373969" cy="2428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</a:pPr>
            <a:r>
              <a:rPr lang="ru-RU" sz="900" b="0">
                <a:solidFill>
                  <a:schemeClr val="accent1"/>
                </a:solidFill>
              </a:rPr>
              <a:t>Используй эти размеры </a:t>
            </a:r>
            <a:br>
              <a:rPr lang="ru-RU" sz="900" b="0">
                <a:solidFill>
                  <a:schemeClr val="accent1"/>
                </a:solidFill>
              </a:rPr>
            </a:br>
            <a:r>
              <a:rPr lang="ru-RU" sz="900" b="0">
                <a:solidFill>
                  <a:schemeClr val="accent1"/>
                </a:solidFill>
              </a:rPr>
              <a:t>по всей презентации</a:t>
            </a:r>
          </a:p>
        </p:txBody>
      </p:sp>
      <p:sp>
        <p:nvSpPr>
          <p:cNvPr id="6" name="Прямоугольник: скругленные верхние углы 5">
            <a:extLst>
              <a:ext uri="{FF2B5EF4-FFF2-40B4-BE49-F238E27FC236}">
                <a16:creationId xmlns:a16="http://schemas.microsoft.com/office/drawing/2014/main" id="{2A7065C9-92E3-6B9B-9ACA-AEB5C23862DE}"/>
              </a:ext>
            </a:extLst>
          </p:cNvPr>
          <p:cNvSpPr/>
          <p:nvPr/>
        </p:nvSpPr>
        <p:spPr>
          <a:xfrm>
            <a:off x="-2136930" y="0"/>
            <a:ext cx="1926713" cy="2880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36000" rtlCol="0" anchor="ctr"/>
          <a:lstStyle/>
          <a:p>
            <a:pPr algn="ctr"/>
            <a:r>
              <a:rPr lang="ru-RU" sz="1100" b="1">
                <a:solidFill>
                  <a:schemeClr val="tx1"/>
                </a:solidFill>
              </a:rPr>
              <a:t>Размеры текста</a:t>
            </a:r>
          </a:p>
        </p:txBody>
      </p:sp>
      <p:sp>
        <p:nvSpPr>
          <p:cNvPr id="9" name="Полилиния: фигура 8">
            <a:extLst>
              <a:ext uri="{FF2B5EF4-FFF2-40B4-BE49-F238E27FC236}">
                <a16:creationId xmlns:a16="http://schemas.microsoft.com/office/drawing/2014/main" id="{0832DE9F-07AB-D3EB-D833-C1DC910E0CE8}"/>
              </a:ext>
            </a:extLst>
          </p:cNvPr>
          <p:cNvSpPr/>
          <p:nvPr/>
        </p:nvSpPr>
        <p:spPr>
          <a:xfrm>
            <a:off x="-2004344" y="2488864"/>
            <a:ext cx="216624" cy="228657"/>
          </a:xfrm>
          <a:custGeom>
            <a:avLst/>
            <a:gdLst>
              <a:gd name="connsiteX0" fmla="*/ 72536 w 171450"/>
              <a:gd name="connsiteY0" fmla="*/ 162210 h 180974"/>
              <a:gd name="connsiteX1" fmla="*/ 98923 w 171450"/>
              <a:gd name="connsiteY1" fmla="*/ 162210 h 180974"/>
              <a:gd name="connsiteX2" fmla="*/ 103600 w 171450"/>
              <a:gd name="connsiteY2" fmla="*/ 172160 h 180974"/>
              <a:gd name="connsiteX3" fmla="*/ 85726 w 171450"/>
              <a:gd name="connsiteY3" fmla="*/ 180974 h 180974"/>
              <a:gd name="connsiteX4" fmla="*/ 67852 w 171450"/>
              <a:gd name="connsiteY4" fmla="*/ 172160 h 180974"/>
              <a:gd name="connsiteX5" fmla="*/ 72536 w 171450"/>
              <a:gd name="connsiteY5" fmla="*/ 162210 h 180974"/>
              <a:gd name="connsiteX6" fmla="*/ 152400 w 171450"/>
              <a:gd name="connsiteY6" fmla="*/ 76200 h 180974"/>
              <a:gd name="connsiteX7" fmla="*/ 161925 w 171450"/>
              <a:gd name="connsiteY7" fmla="*/ 76200 h 180974"/>
              <a:gd name="connsiteX8" fmla="*/ 171450 w 171450"/>
              <a:gd name="connsiteY8" fmla="*/ 85725 h 180974"/>
              <a:gd name="connsiteX9" fmla="*/ 161925 w 171450"/>
              <a:gd name="connsiteY9" fmla="*/ 95250 h 180974"/>
              <a:gd name="connsiteX10" fmla="*/ 152400 w 171450"/>
              <a:gd name="connsiteY10" fmla="*/ 95250 h 180974"/>
              <a:gd name="connsiteX11" fmla="*/ 142875 w 171450"/>
              <a:gd name="connsiteY11" fmla="*/ 85725 h 180974"/>
              <a:gd name="connsiteX12" fmla="*/ 152400 w 171450"/>
              <a:gd name="connsiteY12" fmla="*/ 76200 h 180974"/>
              <a:gd name="connsiteX13" fmla="*/ 9525 w 171450"/>
              <a:gd name="connsiteY13" fmla="*/ 76200 h 180974"/>
              <a:gd name="connsiteX14" fmla="*/ 19050 w 171450"/>
              <a:gd name="connsiteY14" fmla="*/ 76200 h 180974"/>
              <a:gd name="connsiteX15" fmla="*/ 28575 w 171450"/>
              <a:gd name="connsiteY15" fmla="*/ 85725 h 180974"/>
              <a:gd name="connsiteX16" fmla="*/ 19050 w 171450"/>
              <a:gd name="connsiteY16" fmla="*/ 95250 h 180974"/>
              <a:gd name="connsiteX17" fmla="*/ 9525 w 171450"/>
              <a:gd name="connsiteY17" fmla="*/ 95250 h 180974"/>
              <a:gd name="connsiteX18" fmla="*/ 0 w 171450"/>
              <a:gd name="connsiteY18" fmla="*/ 85725 h 180974"/>
              <a:gd name="connsiteX19" fmla="*/ 9525 w 171450"/>
              <a:gd name="connsiteY19" fmla="*/ 76200 h 180974"/>
              <a:gd name="connsiteX20" fmla="*/ 85725 w 171450"/>
              <a:gd name="connsiteY20" fmla="*/ 38100 h 180974"/>
              <a:gd name="connsiteX21" fmla="*/ 133350 w 171450"/>
              <a:gd name="connsiteY21" fmla="*/ 85725 h 180974"/>
              <a:gd name="connsiteX22" fmla="*/ 123174 w 171450"/>
              <a:gd name="connsiteY22" fmla="*/ 114596 h 180974"/>
              <a:gd name="connsiteX23" fmla="*/ 114300 w 171450"/>
              <a:gd name="connsiteY23" fmla="*/ 138113 h 180974"/>
              <a:gd name="connsiteX24" fmla="*/ 85725 w 171450"/>
              <a:gd name="connsiteY24" fmla="*/ 152400 h 180974"/>
              <a:gd name="connsiteX25" fmla="*/ 57150 w 171450"/>
              <a:gd name="connsiteY25" fmla="*/ 138113 h 180974"/>
              <a:gd name="connsiteX26" fmla="*/ 48275 w 171450"/>
              <a:gd name="connsiteY26" fmla="*/ 114596 h 180974"/>
              <a:gd name="connsiteX27" fmla="*/ 38100 w 171450"/>
              <a:gd name="connsiteY27" fmla="*/ 85725 h 180974"/>
              <a:gd name="connsiteX28" fmla="*/ 85725 w 171450"/>
              <a:gd name="connsiteY28" fmla="*/ 38100 h 180974"/>
              <a:gd name="connsiteX29" fmla="*/ 136141 w 171450"/>
              <a:gd name="connsiteY29" fmla="*/ 21840 h 180974"/>
              <a:gd name="connsiteX30" fmla="*/ 149611 w 171450"/>
              <a:gd name="connsiteY30" fmla="*/ 21840 h 180974"/>
              <a:gd name="connsiteX31" fmla="*/ 149611 w 171450"/>
              <a:gd name="connsiteY31" fmla="*/ 35310 h 180974"/>
              <a:gd name="connsiteX32" fmla="*/ 140086 w 171450"/>
              <a:gd name="connsiteY32" fmla="*/ 44835 h 180974"/>
              <a:gd name="connsiteX33" fmla="*/ 126616 w 171450"/>
              <a:gd name="connsiteY33" fmla="*/ 44835 h 180974"/>
              <a:gd name="connsiteX34" fmla="*/ 126616 w 171450"/>
              <a:gd name="connsiteY34" fmla="*/ 31365 h 180974"/>
              <a:gd name="connsiteX35" fmla="*/ 21840 w 171450"/>
              <a:gd name="connsiteY35" fmla="*/ 21840 h 180974"/>
              <a:gd name="connsiteX36" fmla="*/ 35310 w 171450"/>
              <a:gd name="connsiteY36" fmla="*/ 21840 h 180974"/>
              <a:gd name="connsiteX37" fmla="*/ 44835 w 171450"/>
              <a:gd name="connsiteY37" fmla="*/ 31365 h 180974"/>
              <a:gd name="connsiteX38" fmla="*/ 44835 w 171450"/>
              <a:gd name="connsiteY38" fmla="*/ 44835 h 180974"/>
              <a:gd name="connsiteX39" fmla="*/ 31365 w 171450"/>
              <a:gd name="connsiteY39" fmla="*/ 44835 h 180974"/>
              <a:gd name="connsiteX40" fmla="*/ 21840 w 171450"/>
              <a:gd name="connsiteY40" fmla="*/ 35310 h 180974"/>
              <a:gd name="connsiteX41" fmla="*/ 21840 w 171450"/>
              <a:gd name="connsiteY41" fmla="*/ 21840 h 180974"/>
              <a:gd name="connsiteX42" fmla="*/ 85725 w 171450"/>
              <a:gd name="connsiteY42" fmla="*/ 0 h 180974"/>
              <a:gd name="connsiteX43" fmla="*/ 95250 w 171450"/>
              <a:gd name="connsiteY43" fmla="*/ 9525 h 180974"/>
              <a:gd name="connsiteX44" fmla="*/ 95250 w 171450"/>
              <a:gd name="connsiteY44" fmla="*/ 19050 h 180974"/>
              <a:gd name="connsiteX45" fmla="*/ 85725 w 171450"/>
              <a:gd name="connsiteY45" fmla="*/ 28575 h 180974"/>
              <a:gd name="connsiteX46" fmla="*/ 76200 w 171450"/>
              <a:gd name="connsiteY46" fmla="*/ 19050 h 180974"/>
              <a:gd name="connsiteX47" fmla="*/ 76200 w 171450"/>
              <a:gd name="connsiteY47" fmla="*/ 9525 h 180974"/>
              <a:gd name="connsiteX48" fmla="*/ 85725 w 171450"/>
              <a:gd name="connsiteY48" fmla="*/ 0 h 18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1450" h="180974">
                <a:moveTo>
                  <a:pt x="72536" y="162210"/>
                </a:moveTo>
                <a:cubicBezTo>
                  <a:pt x="80449" y="164140"/>
                  <a:pt x="90933" y="164211"/>
                  <a:pt x="98923" y="162210"/>
                </a:cubicBezTo>
                <a:cubicBezTo>
                  <a:pt x="105617" y="160534"/>
                  <a:pt x="105617" y="166533"/>
                  <a:pt x="103600" y="172160"/>
                </a:cubicBezTo>
                <a:cubicBezTo>
                  <a:pt x="100950" y="179549"/>
                  <a:pt x="95451" y="180974"/>
                  <a:pt x="85726" y="180974"/>
                </a:cubicBezTo>
                <a:cubicBezTo>
                  <a:pt x="76000" y="180974"/>
                  <a:pt x="70501" y="179549"/>
                  <a:pt x="67852" y="172160"/>
                </a:cubicBezTo>
                <a:cubicBezTo>
                  <a:pt x="65835" y="166534"/>
                  <a:pt x="65835" y="160576"/>
                  <a:pt x="72536" y="162210"/>
                </a:cubicBezTo>
                <a:close/>
                <a:moveTo>
                  <a:pt x="152400" y="76200"/>
                </a:moveTo>
                <a:lnTo>
                  <a:pt x="161925" y="76200"/>
                </a:lnTo>
                <a:cubicBezTo>
                  <a:pt x="167186" y="76200"/>
                  <a:pt x="171450" y="80464"/>
                  <a:pt x="171450" y="85725"/>
                </a:cubicBezTo>
                <a:cubicBezTo>
                  <a:pt x="171450" y="90986"/>
                  <a:pt x="167186" y="95250"/>
                  <a:pt x="161925" y="95250"/>
                </a:cubicBezTo>
                <a:lnTo>
                  <a:pt x="152400" y="95250"/>
                </a:lnTo>
                <a:cubicBezTo>
                  <a:pt x="147139" y="95250"/>
                  <a:pt x="142875" y="90986"/>
                  <a:pt x="142875" y="85725"/>
                </a:cubicBezTo>
                <a:cubicBezTo>
                  <a:pt x="142875" y="80464"/>
                  <a:pt x="147139" y="76200"/>
                  <a:pt x="152400" y="76200"/>
                </a:cubicBezTo>
                <a:close/>
                <a:moveTo>
                  <a:pt x="9525" y="76200"/>
                </a:moveTo>
                <a:lnTo>
                  <a:pt x="19050" y="76200"/>
                </a:lnTo>
                <a:cubicBezTo>
                  <a:pt x="24310" y="76200"/>
                  <a:pt x="28575" y="80464"/>
                  <a:pt x="28575" y="85725"/>
                </a:cubicBezTo>
                <a:cubicBezTo>
                  <a:pt x="28575" y="90986"/>
                  <a:pt x="24310" y="95250"/>
                  <a:pt x="19050" y="95250"/>
                </a:cubicBezTo>
                <a:lnTo>
                  <a:pt x="9525" y="95250"/>
                </a:lnTo>
                <a:cubicBezTo>
                  <a:pt x="4265" y="95250"/>
                  <a:pt x="0" y="90986"/>
                  <a:pt x="0" y="85725"/>
                </a:cubicBezTo>
                <a:cubicBezTo>
                  <a:pt x="0" y="80464"/>
                  <a:pt x="4265" y="76200"/>
                  <a:pt x="9525" y="76200"/>
                </a:cubicBezTo>
                <a:close/>
                <a:moveTo>
                  <a:pt x="85725" y="38100"/>
                </a:moveTo>
                <a:cubicBezTo>
                  <a:pt x="112027" y="38100"/>
                  <a:pt x="133350" y="58671"/>
                  <a:pt x="133350" y="85725"/>
                </a:cubicBezTo>
                <a:cubicBezTo>
                  <a:pt x="133350" y="100663"/>
                  <a:pt x="128144" y="107793"/>
                  <a:pt x="123174" y="114596"/>
                </a:cubicBezTo>
                <a:cubicBezTo>
                  <a:pt x="118639" y="120807"/>
                  <a:pt x="114300" y="126748"/>
                  <a:pt x="114300" y="138113"/>
                </a:cubicBezTo>
                <a:cubicBezTo>
                  <a:pt x="114300" y="147638"/>
                  <a:pt x="104775" y="152400"/>
                  <a:pt x="85725" y="152400"/>
                </a:cubicBezTo>
                <a:cubicBezTo>
                  <a:pt x="66675" y="152400"/>
                  <a:pt x="57150" y="147638"/>
                  <a:pt x="57150" y="138113"/>
                </a:cubicBezTo>
                <a:cubicBezTo>
                  <a:pt x="57150" y="126748"/>
                  <a:pt x="52811" y="120807"/>
                  <a:pt x="48275" y="114596"/>
                </a:cubicBezTo>
                <a:cubicBezTo>
                  <a:pt x="43306" y="107793"/>
                  <a:pt x="38100" y="100663"/>
                  <a:pt x="38100" y="85725"/>
                </a:cubicBezTo>
                <a:cubicBezTo>
                  <a:pt x="38100" y="57150"/>
                  <a:pt x="59422" y="38100"/>
                  <a:pt x="85725" y="38100"/>
                </a:cubicBezTo>
                <a:close/>
                <a:moveTo>
                  <a:pt x="136141" y="21840"/>
                </a:moveTo>
                <a:cubicBezTo>
                  <a:pt x="139860" y="18120"/>
                  <a:pt x="145891" y="18120"/>
                  <a:pt x="149611" y="21840"/>
                </a:cubicBezTo>
                <a:cubicBezTo>
                  <a:pt x="153330" y="25560"/>
                  <a:pt x="153330" y="31590"/>
                  <a:pt x="149611" y="35310"/>
                </a:cubicBezTo>
                <a:lnTo>
                  <a:pt x="140086" y="44835"/>
                </a:lnTo>
                <a:cubicBezTo>
                  <a:pt x="136366" y="48555"/>
                  <a:pt x="130335" y="48555"/>
                  <a:pt x="126616" y="44835"/>
                </a:cubicBezTo>
                <a:cubicBezTo>
                  <a:pt x="122896" y="41115"/>
                  <a:pt x="122896" y="35085"/>
                  <a:pt x="126616" y="31365"/>
                </a:cubicBezTo>
                <a:close/>
                <a:moveTo>
                  <a:pt x="21840" y="21840"/>
                </a:moveTo>
                <a:cubicBezTo>
                  <a:pt x="25560" y="18120"/>
                  <a:pt x="31590" y="18120"/>
                  <a:pt x="35310" y="21840"/>
                </a:cubicBezTo>
                <a:lnTo>
                  <a:pt x="44835" y="31365"/>
                </a:lnTo>
                <a:cubicBezTo>
                  <a:pt x="48555" y="35085"/>
                  <a:pt x="48555" y="41115"/>
                  <a:pt x="44835" y="44835"/>
                </a:cubicBezTo>
                <a:cubicBezTo>
                  <a:pt x="41115" y="48555"/>
                  <a:pt x="35085" y="48555"/>
                  <a:pt x="31365" y="44835"/>
                </a:cubicBezTo>
                <a:lnTo>
                  <a:pt x="21840" y="35310"/>
                </a:lnTo>
                <a:cubicBezTo>
                  <a:pt x="18120" y="31590"/>
                  <a:pt x="18120" y="25560"/>
                  <a:pt x="21840" y="21840"/>
                </a:cubicBezTo>
                <a:close/>
                <a:moveTo>
                  <a:pt x="85725" y="0"/>
                </a:moveTo>
                <a:cubicBezTo>
                  <a:pt x="90986" y="0"/>
                  <a:pt x="95250" y="4265"/>
                  <a:pt x="95250" y="9525"/>
                </a:cubicBezTo>
                <a:lnTo>
                  <a:pt x="95250" y="19050"/>
                </a:lnTo>
                <a:cubicBezTo>
                  <a:pt x="95250" y="24310"/>
                  <a:pt x="90986" y="28575"/>
                  <a:pt x="85725" y="28575"/>
                </a:cubicBezTo>
                <a:cubicBezTo>
                  <a:pt x="80464" y="28575"/>
                  <a:pt x="76200" y="24310"/>
                  <a:pt x="76200" y="19050"/>
                </a:cubicBezTo>
                <a:lnTo>
                  <a:pt x="76200" y="9525"/>
                </a:lnTo>
                <a:cubicBezTo>
                  <a:pt x="76200" y="4265"/>
                  <a:pt x="80464" y="0"/>
                  <a:pt x="85725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EE69F2E9-9C91-47CB-104F-08223C29A8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9764" y="411164"/>
            <a:ext cx="10910888" cy="35885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5000"/>
              </a:lnSpc>
              <a:defRPr spc="-30" baseline="0">
                <a:solidFill>
                  <a:schemeClr val="bg1"/>
                </a:solidFill>
              </a:defRPr>
            </a:lvl1pPr>
          </a:lstStyle>
          <a:p>
            <a:r>
              <a:rPr lang="ru-RU"/>
              <a:t>Сформулируй заголовок слайда в 1 строку</a:t>
            </a:r>
          </a:p>
        </p:txBody>
      </p:sp>
      <p:sp>
        <p:nvSpPr>
          <p:cNvPr id="7" name="Текст 10">
            <a:extLst>
              <a:ext uri="{FF2B5EF4-FFF2-40B4-BE49-F238E27FC236}">
                <a16:creationId xmlns:a16="http://schemas.microsoft.com/office/drawing/2014/main" id="{E9EE4166-D061-8EE2-C4D5-FEB88C0F4E1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9763" y="833072"/>
            <a:ext cx="10926762" cy="358858"/>
          </a:xfrm>
        </p:spPr>
        <p:txBody>
          <a:bodyPr/>
          <a:lstStyle>
            <a:lvl1pPr>
              <a:lnSpc>
                <a:spcPct val="90000"/>
              </a:lnSpc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Сформулируй подзаголовок в 1–2 строки</a:t>
            </a:r>
          </a:p>
        </p:txBody>
      </p:sp>
      <p:pic>
        <p:nvPicPr>
          <p:cNvPr id="47" name="Рисунок 46">
            <a:extLst>
              <a:ext uri="{FF2B5EF4-FFF2-40B4-BE49-F238E27FC236}">
                <a16:creationId xmlns:a16="http://schemas.microsoft.com/office/drawing/2014/main" id="{75DC7CDE-D39A-A843-A825-0CA3AC516B7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l="9468" t="30431" r="9932" b="30861"/>
          <a:stretch/>
        </p:blipFill>
        <p:spPr>
          <a:xfrm>
            <a:off x="635000" y="6403975"/>
            <a:ext cx="1044575" cy="250826"/>
          </a:xfrm>
          <a:prstGeom prst="rect">
            <a:avLst/>
          </a:prstGeom>
        </p:spPr>
      </p:pic>
      <p:sp>
        <p:nvSpPr>
          <p:cNvPr id="48" name="Нижний колонтитул 4">
            <a:extLst>
              <a:ext uri="{FF2B5EF4-FFF2-40B4-BE49-F238E27FC236}">
                <a16:creationId xmlns:a16="http://schemas.microsoft.com/office/drawing/2014/main" id="{6C2D7C7E-8FA5-FD4A-BA0C-5BDD33B580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458800" y="6465600"/>
            <a:ext cx="7274114" cy="144500"/>
          </a:xfrm>
        </p:spPr>
        <p:txBody>
          <a:bodyPr anchor="b"/>
          <a:lstStyle>
            <a:lvl1pPr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endParaRPr lang="ru-RU" dirty="0"/>
          </a:p>
        </p:txBody>
      </p:sp>
      <p:grpSp>
        <p:nvGrpSpPr>
          <p:cNvPr id="45" name="Группа 44">
            <a:extLst>
              <a:ext uri="{FF2B5EF4-FFF2-40B4-BE49-F238E27FC236}">
                <a16:creationId xmlns:a16="http://schemas.microsoft.com/office/drawing/2014/main" id="{648F2E3E-6112-2C4C-8D1D-2D8CF74E7D90}"/>
              </a:ext>
            </a:extLst>
          </p:cNvPr>
          <p:cNvGrpSpPr/>
          <p:nvPr userDrawn="1"/>
        </p:nvGrpSpPr>
        <p:grpSpPr>
          <a:xfrm>
            <a:off x="-2138458" y="3070447"/>
            <a:ext cx="1935384" cy="3787553"/>
            <a:chOff x="-2138458" y="3070447"/>
            <a:chExt cx="1935384" cy="3787553"/>
          </a:xfrm>
        </p:grpSpPr>
        <p:sp>
          <p:nvSpPr>
            <p:cNvPr id="50" name="Прямоугольник: скругленные углы 38">
              <a:extLst>
                <a:ext uri="{FF2B5EF4-FFF2-40B4-BE49-F238E27FC236}">
                  <a16:creationId xmlns:a16="http://schemas.microsoft.com/office/drawing/2014/main" id="{0FEF8000-4C08-614A-9F86-BE0DD9109AE5}"/>
                </a:ext>
              </a:extLst>
            </p:cNvPr>
            <p:cNvSpPr/>
            <p:nvPr userDrawn="1"/>
          </p:nvSpPr>
          <p:spPr>
            <a:xfrm>
              <a:off x="-2138458" y="3125312"/>
              <a:ext cx="1928241" cy="2468818"/>
            </a:xfrm>
            <a:prstGeom prst="roundRect">
              <a:avLst>
                <a:gd name="adj" fmla="val 5926"/>
              </a:avLst>
            </a:prstGeom>
            <a:solidFill>
              <a:schemeClr val="bg1"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3" name="Прямоугольник: скругленные верхние углы 39">
              <a:extLst>
                <a:ext uri="{FF2B5EF4-FFF2-40B4-BE49-F238E27FC236}">
                  <a16:creationId xmlns:a16="http://schemas.microsoft.com/office/drawing/2014/main" id="{E622BFE9-AC85-8E4C-BEE2-2DD1DFB9D180}"/>
                </a:ext>
              </a:extLst>
            </p:cNvPr>
            <p:cNvSpPr/>
            <p:nvPr/>
          </p:nvSpPr>
          <p:spPr>
            <a:xfrm>
              <a:off x="-2136930" y="3070447"/>
              <a:ext cx="1926713" cy="28800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36000" rtlCol="0" anchor="ctr"/>
            <a:lstStyle/>
            <a:p>
              <a:pPr algn="ctr"/>
              <a:r>
                <a:rPr lang="ru-RU" sz="1100" b="1">
                  <a:solidFill>
                    <a:schemeClr val="tx1"/>
                  </a:solidFill>
                </a:rPr>
                <a:t>Цвета </a:t>
              </a:r>
              <a:r>
                <a:rPr lang="en-US" sz="1100" b="1">
                  <a:solidFill>
                    <a:schemeClr val="tx1"/>
                  </a:solidFill>
                </a:rPr>
                <a:t>Ozon</a:t>
              </a:r>
              <a:endParaRPr lang="ru-RU" sz="1100" b="1">
                <a:solidFill>
                  <a:schemeClr val="tx1"/>
                </a:solidFill>
              </a:endParaRPr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82C6DBC3-5381-A74B-8F11-DE335DDBBDB0}"/>
                </a:ext>
              </a:extLst>
            </p:cNvPr>
            <p:cNvSpPr txBox="1"/>
            <p:nvPr/>
          </p:nvSpPr>
          <p:spPr>
            <a:xfrm>
              <a:off x="-2003446" y="3412239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текста </a:t>
              </a:r>
            </a:p>
          </p:txBody>
        </p:sp>
        <p:sp>
          <p:nvSpPr>
            <p:cNvPr id="69" name="Прямоугольник: скругленные углы 41">
              <a:extLst>
                <a:ext uri="{FF2B5EF4-FFF2-40B4-BE49-F238E27FC236}">
                  <a16:creationId xmlns:a16="http://schemas.microsoft.com/office/drawing/2014/main" id="{AACE419B-BE59-4F43-981D-9DEFE65B0958}"/>
                </a:ext>
              </a:extLst>
            </p:cNvPr>
            <p:cNvSpPr/>
            <p:nvPr/>
          </p:nvSpPr>
          <p:spPr>
            <a:xfrm>
              <a:off x="-2004344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0" name="Прямоугольник: скругленные углы 42">
              <a:extLst>
                <a:ext uri="{FF2B5EF4-FFF2-40B4-BE49-F238E27FC236}">
                  <a16:creationId xmlns:a16="http://schemas.microsoft.com/office/drawing/2014/main" id="{D357E59A-4A88-184D-A40B-046F72FE9E74}"/>
                </a:ext>
              </a:extLst>
            </p:cNvPr>
            <p:cNvSpPr/>
            <p:nvPr/>
          </p:nvSpPr>
          <p:spPr>
            <a:xfrm>
              <a:off x="-1738339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6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FE983242-104D-8C42-A7FB-3001920446F7}"/>
                </a:ext>
              </a:extLst>
            </p:cNvPr>
            <p:cNvSpPr txBox="1"/>
            <p:nvPr/>
          </p:nvSpPr>
          <p:spPr>
            <a:xfrm>
              <a:off x="-2003446" y="3935644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больших плашек</a:t>
              </a:r>
            </a:p>
          </p:txBody>
        </p:sp>
        <p:sp>
          <p:nvSpPr>
            <p:cNvPr id="72" name="Прямоугольник: скругленные углы 48">
              <a:extLst>
                <a:ext uri="{FF2B5EF4-FFF2-40B4-BE49-F238E27FC236}">
                  <a16:creationId xmlns:a16="http://schemas.microsoft.com/office/drawing/2014/main" id="{B9D2BE53-46DE-6B4A-8097-E2AC77284DD5}"/>
                </a:ext>
              </a:extLst>
            </p:cNvPr>
            <p:cNvSpPr/>
            <p:nvPr userDrawn="1"/>
          </p:nvSpPr>
          <p:spPr>
            <a:xfrm>
              <a:off x="-2004963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3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C4B67CA3-C9D7-D546-A4B0-4CCF85BD625D}"/>
                </a:ext>
              </a:extLst>
            </p:cNvPr>
            <p:cNvSpPr txBox="1"/>
            <p:nvPr/>
          </p:nvSpPr>
          <p:spPr>
            <a:xfrm>
              <a:off x="-2003446" y="4451492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а маленьких плашек</a:t>
              </a:r>
            </a:p>
          </p:txBody>
        </p:sp>
        <p:sp>
          <p:nvSpPr>
            <p:cNvPr id="74" name="Прямоугольник: скругленные углы 52">
              <a:extLst>
                <a:ext uri="{FF2B5EF4-FFF2-40B4-BE49-F238E27FC236}">
                  <a16:creationId xmlns:a16="http://schemas.microsoft.com/office/drawing/2014/main" id="{FB1AAE82-4E11-C148-B7CF-35879FB6ABCD}"/>
                </a:ext>
              </a:extLst>
            </p:cNvPr>
            <p:cNvSpPr/>
            <p:nvPr/>
          </p:nvSpPr>
          <p:spPr>
            <a:xfrm>
              <a:off x="-1739900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B7EDC9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5" name="Прямоугольник: скругленные углы 53">
              <a:extLst>
                <a:ext uri="{FF2B5EF4-FFF2-40B4-BE49-F238E27FC236}">
                  <a16:creationId xmlns:a16="http://schemas.microsoft.com/office/drawing/2014/main" id="{E1AA3362-7DD3-8F47-9E89-D9C8BCE70749}"/>
                </a:ext>
              </a:extLst>
            </p:cNvPr>
            <p:cNvSpPr/>
            <p:nvPr/>
          </p:nvSpPr>
          <p:spPr>
            <a:xfrm>
              <a:off x="-1474837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FA800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6" name="Прямоугольник: скругленные углы 54">
              <a:extLst>
                <a:ext uri="{FF2B5EF4-FFF2-40B4-BE49-F238E27FC236}">
                  <a16:creationId xmlns:a16="http://schemas.microsoft.com/office/drawing/2014/main" id="{0626B1CE-E5AE-DE4C-A31E-7BF828AECEDA}"/>
                </a:ext>
              </a:extLst>
            </p:cNvPr>
            <p:cNvSpPr/>
            <p:nvPr/>
          </p:nvSpPr>
          <p:spPr>
            <a:xfrm>
              <a:off x="-2004963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10C44C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0BA97619-4997-DA47-9A36-26A2C52FD7CB}"/>
                </a:ext>
              </a:extLst>
            </p:cNvPr>
            <p:cNvSpPr txBox="1"/>
            <p:nvPr/>
          </p:nvSpPr>
          <p:spPr>
            <a:xfrm>
              <a:off x="-2003446" y="4973480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900"/>
                <a:t>Рост / падение показателей</a:t>
              </a:r>
            </a:p>
          </p:txBody>
        </p:sp>
        <p:sp>
          <p:nvSpPr>
            <p:cNvPr id="78" name="Прямоугольник: скругленные углы 43">
              <a:extLst>
                <a:ext uri="{FF2B5EF4-FFF2-40B4-BE49-F238E27FC236}">
                  <a16:creationId xmlns:a16="http://schemas.microsoft.com/office/drawing/2014/main" id="{43B6C6BE-5E18-0D4A-8BA2-EC9DD2CE2E3C}"/>
                </a:ext>
              </a:extLst>
            </p:cNvPr>
            <p:cNvSpPr/>
            <p:nvPr/>
          </p:nvSpPr>
          <p:spPr>
            <a:xfrm>
              <a:off x="-2004963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3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9" name="Прямоугольник: скругленные углы 51">
              <a:extLst>
                <a:ext uri="{FF2B5EF4-FFF2-40B4-BE49-F238E27FC236}">
                  <a16:creationId xmlns:a16="http://schemas.microsoft.com/office/drawing/2014/main" id="{ADFA8A15-FA8C-E141-9462-4F8AF478ADBB}"/>
                </a:ext>
              </a:extLst>
            </p:cNvPr>
            <p:cNvSpPr/>
            <p:nvPr/>
          </p:nvSpPr>
          <p:spPr>
            <a:xfrm>
              <a:off x="-1740264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2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0" name="Прямоугольник: скругленные углы 56">
              <a:extLst>
                <a:ext uri="{FF2B5EF4-FFF2-40B4-BE49-F238E27FC236}">
                  <a16:creationId xmlns:a16="http://schemas.microsoft.com/office/drawing/2014/main" id="{C467CE4A-4EA1-FA4E-A1D9-F6296092BD34}"/>
                </a:ext>
              </a:extLst>
            </p:cNvPr>
            <p:cNvSpPr/>
            <p:nvPr/>
          </p:nvSpPr>
          <p:spPr>
            <a:xfrm>
              <a:off x="-1474837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1" name="Прямоугольник: скругленные углы 57">
              <a:extLst>
                <a:ext uri="{FF2B5EF4-FFF2-40B4-BE49-F238E27FC236}">
                  <a16:creationId xmlns:a16="http://schemas.microsoft.com/office/drawing/2014/main" id="{1AEEB0A2-0198-2D49-A658-6982704DD4A5}"/>
                </a:ext>
              </a:extLst>
            </p:cNvPr>
            <p:cNvSpPr/>
            <p:nvPr/>
          </p:nvSpPr>
          <p:spPr>
            <a:xfrm>
              <a:off x="-2131314" y="5782119"/>
              <a:ext cx="1928240" cy="1075881"/>
            </a:xfrm>
            <a:prstGeom prst="roundRect">
              <a:avLst>
                <a:gd name="adj" fmla="val 12985"/>
              </a:avLst>
            </a:prstGeom>
            <a:solidFill>
              <a:schemeClr val="bg1"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6CE588C9-3546-B347-A4F8-CB4CBA85FC95}"/>
                </a:ext>
              </a:extLst>
            </p:cNvPr>
            <p:cNvSpPr txBox="1"/>
            <p:nvPr/>
          </p:nvSpPr>
          <p:spPr>
            <a:xfrm>
              <a:off x="-1788338" y="5868204"/>
              <a:ext cx="1155882" cy="15109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l">
                <a:lnSpc>
                  <a:spcPct val="90000"/>
                </a:lnSpc>
              </a:pPr>
              <a:r>
                <a:rPr lang="ru-RU" sz="1000" b="1">
                  <a:solidFill>
                    <a:schemeClr val="accent1"/>
                  </a:solidFill>
                </a:rPr>
                <a:t>Шаблон </a:t>
              </a:r>
              <a:r>
                <a:rPr lang="en-US" sz="1000" b="1">
                  <a:solidFill>
                    <a:schemeClr val="accent1"/>
                  </a:solidFill>
                </a:rPr>
                <a:t>Ozon</a:t>
              </a:r>
              <a:endParaRPr lang="ru-RU" sz="1000" b="1">
                <a:solidFill>
                  <a:schemeClr val="accent1"/>
                </a:solidFill>
              </a:endParaRPr>
            </a:p>
          </p:txBody>
        </p:sp>
        <p:sp>
          <p:nvSpPr>
            <p:cNvPr id="83" name="Рисунок 93">
              <a:extLst>
                <a:ext uri="{FF2B5EF4-FFF2-40B4-BE49-F238E27FC236}">
                  <a16:creationId xmlns:a16="http://schemas.microsoft.com/office/drawing/2014/main" id="{A74B1CAD-8989-D348-8465-FD0FBBCB07D6}"/>
                </a:ext>
              </a:extLst>
            </p:cNvPr>
            <p:cNvSpPr/>
            <p:nvPr/>
          </p:nvSpPr>
          <p:spPr>
            <a:xfrm>
              <a:off x="-2004963" y="5853908"/>
              <a:ext cx="161099" cy="161099"/>
            </a:xfrm>
            <a:custGeom>
              <a:avLst/>
              <a:gdLst>
                <a:gd name="connsiteX0" fmla="*/ 85725 w 171450"/>
                <a:gd name="connsiteY0" fmla="*/ 171450 h 171450"/>
                <a:gd name="connsiteX1" fmla="*/ 171450 w 171450"/>
                <a:gd name="connsiteY1" fmla="*/ 85725 h 171450"/>
                <a:gd name="connsiteX2" fmla="*/ 85725 w 171450"/>
                <a:gd name="connsiteY2" fmla="*/ 0 h 171450"/>
                <a:gd name="connsiteX3" fmla="*/ 0 w 171450"/>
                <a:gd name="connsiteY3" fmla="*/ 85725 h 171450"/>
                <a:gd name="connsiteX4" fmla="*/ 85725 w 171450"/>
                <a:gd name="connsiteY4" fmla="*/ 171450 h 171450"/>
                <a:gd name="connsiteX5" fmla="*/ 130560 w 171450"/>
                <a:gd name="connsiteY5" fmla="*/ 73410 h 171450"/>
                <a:gd name="connsiteX6" fmla="*/ 82935 w 171450"/>
                <a:gd name="connsiteY6" fmla="*/ 121035 h 171450"/>
                <a:gd name="connsiteX7" fmla="*/ 69465 w 171450"/>
                <a:gd name="connsiteY7" fmla="*/ 121035 h 171450"/>
                <a:gd name="connsiteX8" fmla="*/ 40890 w 171450"/>
                <a:gd name="connsiteY8" fmla="*/ 92460 h 171450"/>
                <a:gd name="connsiteX9" fmla="*/ 40890 w 171450"/>
                <a:gd name="connsiteY9" fmla="*/ 78990 h 171450"/>
                <a:gd name="connsiteX10" fmla="*/ 54360 w 171450"/>
                <a:gd name="connsiteY10" fmla="*/ 78990 h 171450"/>
                <a:gd name="connsiteX11" fmla="*/ 76200 w 171450"/>
                <a:gd name="connsiteY11" fmla="*/ 100830 h 171450"/>
                <a:gd name="connsiteX12" fmla="*/ 117090 w 171450"/>
                <a:gd name="connsiteY12" fmla="*/ 59940 h 171450"/>
                <a:gd name="connsiteX13" fmla="*/ 130560 w 171450"/>
                <a:gd name="connsiteY13" fmla="*/ 59940 h 171450"/>
                <a:gd name="connsiteX14" fmla="*/ 130560 w 171450"/>
                <a:gd name="connsiteY14" fmla="*/ 7341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71450" h="171450">
                  <a:moveTo>
                    <a:pt x="85725" y="171450"/>
                  </a:moveTo>
                  <a:cubicBezTo>
                    <a:pt x="138915" y="171450"/>
                    <a:pt x="171450" y="138915"/>
                    <a:pt x="171450" y="85725"/>
                  </a:cubicBezTo>
                  <a:cubicBezTo>
                    <a:pt x="171450" y="32535"/>
                    <a:pt x="138915" y="0"/>
                    <a:pt x="85725" y="0"/>
                  </a:cubicBezTo>
                  <a:cubicBezTo>
                    <a:pt x="32535" y="0"/>
                    <a:pt x="0" y="32535"/>
                    <a:pt x="0" y="85725"/>
                  </a:cubicBezTo>
                  <a:cubicBezTo>
                    <a:pt x="0" y="138915"/>
                    <a:pt x="32535" y="171450"/>
                    <a:pt x="85725" y="171450"/>
                  </a:cubicBezTo>
                  <a:close/>
                  <a:moveTo>
                    <a:pt x="130560" y="73410"/>
                  </a:moveTo>
                  <a:lnTo>
                    <a:pt x="82935" y="121035"/>
                  </a:lnTo>
                  <a:cubicBezTo>
                    <a:pt x="79216" y="124755"/>
                    <a:pt x="73184" y="124755"/>
                    <a:pt x="69465" y="121035"/>
                  </a:cubicBezTo>
                  <a:lnTo>
                    <a:pt x="40890" y="92460"/>
                  </a:lnTo>
                  <a:cubicBezTo>
                    <a:pt x="37170" y="88741"/>
                    <a:pt x="37170" y="82709"/>
                    <a:pt x="40890" y="78990"/>
                  </a:cubicBezTo>
                  <a:cubicBezTo>
                    <a:pt x="44610" y="75270"/>
                    <a:pt x="50640" y="75270"/>
                    <a:pt x="54360" y="78990"/>
                  </a:cubicBezTo>
                  <a:lnTo>
                    <a:pt x="76200" y="100830"/>
                  </a:lnTo>
                  <a:lnTo>
                    <a:pt x="117090" y="59940"/>
                  </a:lnTo>
                  <a:cubicBezTo>
                    <a:pt x="120809" y="56220"/>
                    <a:pt x="126841" y="56220"/>
                    <a:pt x="130560" y="59940"/>
                  </a:cubicBezTo>
                  <a:cubicBezTo>
                    <a:pt x="134280" y="63660"/>
                    <a:pt x="134280" y="69691"/>
                    <a:pt x="130560" y="7341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118B9B9F-6BB2-0B4E-8DF9-8FDFFA3067F3}"/>
                </a:ext>
              </a:extLst>
            </p:cNvPr>
            <p:cNvSpPr txBox="1"/>
            <p:nvPr userDrawn="1"/>
          </p:nvSpPr>
          <p:spPr>
            <a:xfrm>
              <a:off x="-2004962" y="6072106"/>
              <a:ext cx="1687587" cy="60024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>
                <a:lnSpc>
                  <a:spcPct val="110000"/>
                </a:lnSpc>
              </a:pPr>
              <a:r>
                <a:rPr lang="ru-RU" sz="900" spc="-30" baseline="0">
                  <a:solidFill>
                    <a:schemeClr val="tx2"/>
                  </a:solidFill>
                </a:rPr>
                <a:t>Если нужно больше материалов: </a:t>
              </a:r>
              <a:r>
                <a:rPr lang="ru-RU" sz="900" b="1" spc="-30" baseline="0">
                  <a:solidFill>
                    <a:schemeClr val="tx2"/>
                  </a:solidFill>
                </a:rPr>
                <a:t>правое меню </a:t>
              </a:r>
              <a:r>
                <a:rPr lang="en-US" sz="900" b="1" spc="-30" baseline="0">
                  <a:solidFill>
                    <a:schemeClr val="tx2"/>
                  </a:solidFill>
                </a:rPr>
                <a:t>Staff — Brand </a:t>
              </a:r>
              <a:r>
                <a:rPr lang="ru-RU" sz="900" b="1" spc="-30" baseline="0">
                  <a:solidFill>
                    <a:schemeClr val="tx2"/>
                  </a:solidFill>
                </a:rPr>
                <a:t>— Всё для презентаций. </a:t>
              </a:r>
              <a:r>
                <a:rPr lang="ru-RU" sz="900" b="0" spc="-30" baseline="0">
                  <a:solidFill>
                    <a:schemeClr val="tx2"/>
                  </a:solidFill>
                </a:rPr>
                <a:t>Или пиши нам на </a:t>
              </a:r>
              <a:r>
                <a:rPr lang="en-US" sz="900" b="0" spc="-30" baseline="0">
                  <a:solidFill>
                    <a:schemeClr val="tx2"/>
                  </a:solidFill>
                </a:rPr>
                <a:t>presentations@ozon.ru.</a:t>
              </a:r>
              <a:r>
                <a:rPr lang="ru-RU" sz="900" b="0" spc="-30" baseline="0">
                  <a:solidFill>
                    <a:schemeClr val="tx2"/>
                  </a:solidFill>
                </a:rPr>
                <a:t> </a:t>
              </a:r>
            </a:p>
          </p:txBody>
        </p:sp>
        <p:sp>
          <p:nvSpPr>
            <p:cNvPr id="85" name="Прямоугольник: скругленные углы 63">
              <a:extLst>
                <a:ext uri="{FF2B5EF4-FFF2-40B4-BE49-F238E27FC236}">
                  <a16:creationId xmlns:a16="http://schemas.microsoft.com/office/drawing/2014/main" id="{0F58099B-23C9-934D-BC79-ABBA253B3C9E}"/>
                </a:ext>
              </a:extLst>
            </p:cNvPr>
            <p:cNvSpPr/>
            <p:nvPr/>
          </p:nvSpPr>
          <p:spPr>
            <a:xfrm>
              <a:off x="-944711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53C14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6" name="Прямоугольник: скругленные углы 64">
              <a:extLst>
                <a:ext uri="{FF2B5EF4-FFF2-40B4-BE49-F238E27FC236}">
                  <a16:creationId xmlns:a16="http://schemas.microsoft.com/office/drawing/2014/main" id="{5C9A2D73-0741-D34D-AF49-40482534040F}"/>
                </a:ext>
              </a:extLst>
            </p:cNvPr>
            <p:cNvSpPr/>
            <p:nvPr/>
          </p:nvSpPr>
          <p:spPr>
            <a:xfrm>
              <a:off x="-679648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CC4B8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7" name="Прямоугольник: скругленные углы 65">
              <a:extLst>
                <a:ext uri="{FF2B5EF4-FFF2-40B4-BE49-F238E27FC236}">
                  <a16:creationId xmlns:a16="http://schemas.microsoft.com/office/drawing/2014/main" id="{722B8CD6-DAE6-A240-955C-CF87126D23D3}"/>
                </a:ext>
              </a:extLst>
            </p:cNvPr>
            <p:cNvSpPr/>
            <p:nvPr/>
          </p:nvSpPr>
          <p:spPr>
            <a:xfrm>
              <a:off x="-1209774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FE5B2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8" name="Прямоугольник: скругленные верхние углы 12">
              <a:extLst>
                <a:ext uri="{FF2B5EF4-FFF2-40B4-BE49-F238E27FC236}">
                  <a16:creationId xmlns:a16="http://schemas.microsoft.com/office/drawing/2014/main" id="{19850F91-A4C3-9D47-BB90-CD021C348092}"/>
                </a:ext>
              </a:extLst>
            </p:cNvPr>
            <p:cNvSpPr/>
            <p:nvPr/>
          </p:nvSpPr>
          <p:spPr>
            <a:xfrm>
              <a:off x="-2136930" y="3070447"/>
              <a:ext cx="1926713" cy="28800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36000" rtlCol="0" anchor="ctr"/>
            <a:lstStyle/>
            <a:p>
              <a:pPr algn="ctr"/>
              <a:r>
                <a:rPr lang="ru-RU" sz="1100" b="1">
                  <a:solidFill>
                    <a:schemeClr val="tx1"/>
                  </a:solidFill>
                </a:rPr>
                <a:t>Цвета </a:t>
              </a:r>
              <a:r>
                <a:rPr lang="en-US" sz="1100" b="1">
                  <a:solidFill>
                    <a:schemeClr val="tx1"/>
                  </a:solidFill>
                </a:rPr>
                <a:t>Ozon</a:t>
              </a:r>
              <a:endParaRPr lang="ru-RU" sz="1100" b="1">
                <a:solidFill>
                  <a:schemeClr val="tx1"/>
                </a:solidFill>
              </a:endParaRPr>
            </a:p>
          </p:txBody>
        </p:sp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51DBD2A3-0EF3-FA43-9D30-8827A57A2345}"/>
                </a:ext>
              </a:extLst>
            </p:cNvPr>
            <p:cNvSpPr txBox="1"/>
            <p:nvPr/>
          </p:nvSpPr>
          <p:spPr>
            <a:xfrm>
              <a:off x="-2003446" y="3412239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текста </a:t>
              </a:r>
            </a:p>
          </p:txBody>
        </p:sp>
        <p:sp>
          <p:nvSpPr>
            <p:cNvPr id="90" name="Прямоугольник: скругленные углы 15">
              <a:extLst>
                <a:ext uri="{FF2B5EF4-FFF2-40B4-BE49-F238E27FC236}">
                  <a16:creationId xmlns:a16="http://schemas.microsoft.com/office/drawing/2014/main" id="{CD27F48E-7A94-3D42-B1AF-3719469C57B0}"/>
                </a:ext>
              </a:extLst>
            </p:cNvPr>
            <p:cNvSpPr/>
            <p:nvPr/>
          </p:nvSpPr>
          <p:spPr>
            <a:xfrm>
              <a:off x="-2004344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1" name="Прямоугольник: скругленные углы 16">
              <a:extLst>
                <a:ext uri="{FF2B5EF4-FFF2-40B4-BE49-F238E27FC236}">
                  <a16:creationId xmlns:a16="http://schemas.microsoft.com/office/drawing/2014/main" id="{962AB29A-8572-4A48-A284-5AF381D7E091}"/>
                </a:ext>
              </a:extLst>
            </p:cNvPr>
            <p:cNvSpPr/>
            <p:nvPr/>
          </p:nvSpPr>
          <p:spPr>
            <a:xfrm>
              <a:off x="-1738339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6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EBDA067E-F313-334C-AEE3-BCFADD5879DB}"/>
                </a:ext>
              </a:extLst>
            </p:cNvPr>
            <p:cNvSpPr txBox="1"/>
            <p:nvPr/>
          </p:nvSpPr>
          <p:spPr>
            <a:xfrm>
              <a:off x="-1788338" y="5868204"/>
              <a:ext cx="1155882" cy="15109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l">
                <a:lnSpc>
                  <a:spcPct val="90000"/>
                </a:lnSpc>
              </a:pPr>
              <a:r>
                <a:rPr lang="ru-RU" sz="1000" b="1">
                  <a:solidFill>
                    <a:schemeClr val="accent1"/>
                  </a:solidFill>
                </a:rPr>
                <a:t>Шаблон </a:t>
              </a:r>
              <a:r>
                <a:rPr lang="en-US" sz="1000" b="1">
                  <a:solidFill>
                    <a:schemeClr val="accent1"/>
                  </a:solidFill>
                </a:rPr>
                <a:t>Ozon</a:t>
              </a:r>
              <a:endParaRPr lang="ru-RU" sz="1000" b="1">
                <a:solidFill>
                  <a:schemeClr val="accent1"/>
                </a:solidFill>
              </a:endParaRPr>
            </a:p>
          </p:txBody>
        </p:sp>
        <p:sp>
          <p:nvSpPr>
            <p:cNvPr id="93" name="Прямоугольник: скругленные углы 48">
              <a:extLst>
                <a:ext uri="{FF2B5EF4-FFF2-40B4-BE49-F238E27FC236}">
                  <a16:creationId xmlns:a16="http://schemas.microsoft.com/office/drawing/2014/main" id="{E8E225C0-12BD-E141-966E-1E51223BFEF6}"/>
                </a:ext>
              </a:extLst>
            </p:cNvPr>
            <p:cNvSpPr/>
            <p:nvPr userDrawn="1"/>
          </p:nvSpPr>
          <p:spPr>
            <a:xfrm>
              <a:off x="-1741352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1">
                <a:lumMod val="75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40225554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8">
          <p15:clr>
            <a:srgbClr val="F26B43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_title_colo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9C6A208F-2A8F-8640-1889-7EF3989875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6547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33" imgH="233" progId="TCLayout.ActiveDocument.1">
                  <p:embed/>
                </p:oleObj>
              </mc:Choice>
              <mc:Fallback>
                <p:oleObj name="Слайд think-cell" r:id="rId3" imgW="233" imgH="233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9C6A208F-2A8F-8640-1889-7EF3989875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5">
            <a:extLst>
              <a:ext uri="{FF2B5EF4-FFF2-40B4-BE49-F238E27FC236}">
                <a16:creationId xmlns:a16="http://schemas.microsoft.com/office/drawing/2014/main" id="{371F2FD1-0E8C-A36C-3CEF-FF20A77F36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57744" y="6430370"/>
            <a:ext cx="908050" cy="216000"/>
          </a:xfrm>
        </p:spPr>
        <p:txBody>
          <a:bodyPr/>
          <a:lstStyle>
            <a:lvl1pPr>
              <a:defRPr>
                <a:solidFill>
                  <a:schemeClr val="accent6">
                    <a:lumMod val="40000"/>
                    <a:lumOff val="60000"/>
                  </a:schemeClr>
                </a:solidFill>
              </a:defRPr>
            </a:lvl1pPr>
          </a:lstStyle>
          <a:p>
            <a:fld id="{EB5249F5-0093-48B0-B996-C4E44A87EAFB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35" name="Прямоугольник: скругленные углы 34">
            <a:extLst>
              <a:ext uri="{FF2B5EF4-FFF2-40B4-BE49-F238E27FC236}">
                <a16:creationId xmlns:a16="http://schemas.microsoft.com/office/drawing/2014/main" id="{C9800CF7-ABC5-B2F5-0454-607E6375863B}"/>
              </a:ext>
            </a:extLst>
          </p:cNvPr>
          <p:cNvSpPr/>
          <p:nvPr/>
        </p:nvSpPr>
        <p:spPr>
          <a:xfrm>
            <a:off x="-2138458" y="54865"/>
            <a:ext cx="1928241" cy="2826069"/>
          </a:xfrm>
          <a:prstGeom prst="roundRect">
            <a:avLst>
              <a:gd name="adj" fmla="val 5926"/>
            </a:avLst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" name="Прямоугольник: скругленные верхние углы 35">
            <a:extLst>
              <a:ext uri="{FF2B5EF4-FFF2-40B4-BE49-F238E27FC236}">
                <a16:creationId xmlns:a16="http://schemas.microsoft.com/office/drawing/2014/main" id="{C2940C45-7EC6-0986-B020-2D94E4C01F25}"/>
              </a:ext>
            </a:extLst>
          </p:cNvPr>
          <p:cNvSpPr/>
          <p:nvPr/>
        </p:nvSpPr>
        <p:spPr>
          <a:xfrm>
            <a:off x="-2136930" y="0"/>
            <a:ext cx="1926713" cy="2880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36000" rtlCol="0" anchor="ctr"/>
          <a:lstStyle/>
          <a:p>
            <a:pPr algn="ctr"/>
            <a:r>
              <a:rPr lang="ru-RU" sz="1100" b="1">
                <a:solidFill>
                  <a:schemeClr val="tx1"/>
                </a:solidFill>
              </a:rPr>
              <a:t>Размеры текста</a:t>
            </a:r>
          </a:p>
        </p:txBody>
      </p:sp>
      <p:graphicFrame>
        <p:nvGraphicFramePr>
          <p:cNvPr id="37" name="Таблица 46">
            <a:extLst>
              <a:ext uri="{FF2B5EF4-FFF2-40B4-BE49-F238E27FC236}">
                <a16:creationId xmlns:a16="http://schemas.microsoft.com/office/drawing/2014/main" id="{22E21D68-4F58-F199-36D3-C10450C366F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20574792"/>
              </p:ext>
            </p:extLst>
          </p:nvPr>
        </p:nvGraphicFramePr>
        <p:xfrm>
          <a:off x="-2046114" y="312643"/>
          <a:ext cx="1958731" cy="2142000"/>
        </p:xfrm>
        <a:graphic>
          <a:graphicData uri="http://schemas.openxmlformats.org/drawingml/2006/table">
            <a:tbl>
              <a:tblPr/>
              <a:tblGrid>
                <a:gridCol w="532517">
                  <a:extLst>
                    <a:ext uri="{9D8B030D-6E8A-4147-A177-3AD203B41FA5}">
                      <a16:colId xmlns:a16="http://schemas.microsoft.com/office/drawing/2014/main" val="2594385797"/>
                    </a:ext>
                  </a:extLst>
                </a:gridCol>
                <a:gridCol w="1426214">
                  <a:extLst>
                    <a:ext uri="{9D8B030D-6E8A-4147-A177-3AD203B41FA5}">
                      <a16:colId xmlns:a16="http://schemas.microsoft.com/office/drawing/2014/main" val="1017723076"/>
                    </a:ext>
                  </a:extLst>
                </a:gridCol>
              </a:tblGrid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44+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0" spc="-40" baseline="0"/>
                        <a:t>акцентные цифр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8329665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32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заголовки и самые </a:t>
                      </a:r>
                      <a:br>
                        <a:rPr lang="ru-RU" sz="1000" spc="-40" baseline="0"/>
                      </a:br>
                      <a:r>
                        <a:rPr lang="ru-RU" sz="1000" spc="-40" baseline="0"/>
                        <a:t>важные данные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17697917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24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8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подзаголовки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72780009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18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4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основной текст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0685745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4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2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торой уровень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текста (менее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ажная информация)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1997433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0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сноски, пояснения, </a:t>
                      </a:r>
                      <a:br>
                        <a:rPr lang="en-US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большие таблиц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76660845"/>
                  </a:ext>
                </a:extLst>
              </a:tr>
            </a:tbl>
          </a:graphicData>
        </a:graphic>
      </p:graphicFrame>
      <p:sp>
        <p:nvSpPr>
          <p:cNvPr id="38" name="Полилиния: фигура 37">
            <a:extLst>
              <a:ext uri="{FF2B5EF4-FFF2-40B4-BE49-F238E27FC236}">
                <a16:creationId xmlns:a16="http://schemas.microsoft.com/office/drawing/2014/main" id="{84FF97CD-0431-AB46-37C2-E699CA989913}"/>
              </a:ext>
            </a:extLst>
          </p:cNvPr>
          <p:cNvSpPr/>
          <p:nvPr/>
        </p:nvSpPr>
        <p:spPr>
          <a:xfrm>
            <a:off x="-2004344" y="2488864"/>
            <a:ext cx="216624" cy="228657"/>
          </a:xfrm>
          <a:custGeom>
            <a:avLst/>
            <a:gdLst>
              <a:gd name="connsiteX0" fmla="*/ 72536 w 171450"/>
              <a:gd name="connsiteY0" fmla="*/ 162210 h 180974"/>
              <a:gd name="connsiteX1" fmla="*/ 98923 w 171450"/>
              <a:gd name="connsiteY1" fmla="*/ 162210 h 180974"/>
              <a:gd name="connsiteX2" fmla="*/ 103600 w 171450"/>
              <a:gd name="connsiteY2" fmla="*/ 172160 h 180974"/>
              <a:gd name="connsiteX3" fmla="*/ 85726 w 171450"/>
              <a:gd name="connsiteY3" fmla="*/ 180974 h 180974"/>
              <a:gd name="connsiteX4" fmla="*/ 67852 w 171450"/>
              <a:gd name="connsiteY4" fmla="*/ 172160 h 180974"/>
              <a:gd name="connsiteX5" fmla="*/ 72536 w 171450"/>
              <a:gd name="connsiteY5" fmla="*/ 162210 h 180974"/>
              <a:gd name="connsiteX6" fmla="*/ 152400 w 171450"/>
              <a:gd name="connsiteY6" fmla="*/ 76200 h 180974"/>
              <a:gd name="connsiteX7" fmla="*/ 161925 w 171450"/>
              <a:gd name="connsiteY7" fmla="*/ 76200 h 180974"/>
              <a:gd name="connsiteX8" fmla="*/ 171450 w 171450"/>
              <a:gd name="connsiteY8" fmla="*/ 85725 h 180974"/>
              <a:gd name="connsiteX9" fmla="*/ 161925 w 171450"/>
              <a:gd name="connsiteY9" fmla="*/ 95250 h 180974"/>
              <a:gd name="connsiteX10" fmla="*/ 152400 w 171450"/>
              <a:gd name="connsiteY10" fmla="*/ 95250 h 180974"/>
              <a:gd name="connsiteX11" fmla="*/ 142875 w 171450"/>
              <a:gd name="connsiteY11" fmla="*/ 85725 h 180974"/>
              <a:gd name="connsiteX12" fmla="*/ 152400 w 171450"/>
              <a:gd name="connsiteY12" fmla="*/ 76200 h 180974"/>
              <a:gd name="connsiteX13" fmla="*/ 9525 w 171450"/>
              <a:gd name="connsiteY13" fmla="*/ 76200 h 180974"/>
              <a:gd name="connsiteX14" fmla="*/ 19050 w 171450"/>
              <a:gd name="connsiteY14" fmla="*/ 76200 h 180974"/>
              <a:gd name="connsiteX15" fmla="*/ 28575 w 171450"/>
              <a:gd name="connsiteY15" fmla="*/ 85725 h 180974"/>
              <a:gd name="connsiteX16" fmla="*/ 19050 w 171450"/>
              <a:gd name="connsiteY16" fmla="*/ 95250 h 180974"/>
              <a:gd name="connsiteX17" fmla="*/ 9525 w 171450"/>
              <a:gd name="connsiteY17" fmla="*/ 95250 h 180974"/>
              <a:gd name="connsiteX18" fmla="*/ 0 w 171450"/>
              <a:gd name="connsiteY18" fmla="*/ 85725 h 180974"/>
              <a:gd name="connsiteX19" fmla="*/ 9525 w 171450"/>
              <a:gd name="connsiteY19" fmla="*/ 76200 h 180974"/>
              <a:gd name="connsiteX20" fmla="*/ 85725 w 171450"/>
              <a:gd name="connsiteY20" fmla="*/ 38100 h 180974"/>
              <a:gd name="connsiteX21" fmla="*/ 133350 w 171450"/>
              <a:gd name="connsiteY21" fmla="*/ 85725 h 180974"/>
              <a:gd name="connsiteX22" fmla="*/ 123174 w 171450"/>
              <a:gd name="connsiteY22" fmla="*/ 114596 h 180974"/>
              <a:gd name="connsiteX23" fmla="*/ 114300 w 171450"/>
              <a:gd name="connsiteY23" fmla="*/ 138113 h 180974"/>
              <a:gd name="connsiteX24" fmla="*/ 85725 w 171450"/>
              <a:gd name="connsiteY24" fmla="*/ 152400 h 180974"/>
              <a:gd name="connsiteX25" fmla="*/ 57150 w 171450"/>
              <a:gd name="connsiteY25" fmla="*/ 138113 h 180974"/>
              <a:gd name="connsiteX26" fmla="*/ 48275 w 171450"/>
              <a:gd name="connsiteY26" fmla="*/ 114596 h 180974"/>
              <a:gd name="connsiteX27" fmla="*/ 38100 w 171450"/>
              <a:gd name="connsiteY27" fmla="*/ 85725 h 180974"/>
              <a:gd name="connsiteX28" fmla="*/ 85725 w 171450"/>
              <a:gd name="connsiteY28" fmla="*/ 38100 h 180974"/>
              <a:gd name="connsiteX29" fmla="*/ 136141 w 171450"/>
              <a:gd name="connsiteY29" fmla="*/ 21840 h 180974"/>
              <a:gd name="connsiteX30" fmla="*/ 149611 w 171450"/>
              <a:gd name="connsiteY30" fmla="*/ 21840 h 180974"/>
              <a:gd name="connsiteX31" fmla="*/ 149611 w 171450"/>
              <a:gd name="connsiteY31" fmla="*/ 35310 h 180974"/>
              <a:gd name="connsiteX32" fmla="*/ 140086 w 171450"/>
              <a:gd name="connsiteY32" fmla="*/ 44835 h 180974"/>
              <a:gd name="connsiteX33" fmla="*/ 126616 w 171450"/>
              <a:gd name="connsiteY33" fmla="*/ 44835 h 180974"/>
              <a:gd name="connsiteX34" fmla="*/ 126616 w 171450"/>
              <a:gd name="connsiteY34" fmla="*/ 31365 h 180974"/>
              <a:gd name="connsiteX35" fmla="*/ 21840 w 171450"/>
              <a:gd name="connsiteY35" fmla="*/ 21840 h 180974"/>
              <a:gd name="connsiteX36" fmla="*/ 35310 w 171450"/>
              <a:gd name="connsiteY36" fmla="*/ 21840 h 180974"/>
              <a:gd name="connsiteX37" fmla="*/ 44835 w 171450"/>
              <a:gd name="connsiteY37" fmla="*/ 31365 h 180974"/>
              <a:gd name="connsiteX38" fmla="*/ 44835 w 171450"/>
              <a:gd name="connsiteY38" fmla="*/ 44835 h 180974"/>
              <a:gd name="connsiteX39" fmla="*/ 31365 w 171450"/>
              <a:gd name="connsiteY39" fmla="*/ 44835 h 180974"/>
              <a:gd name="connsiteX40" fmla="*/ 21840 w 171450"/>
              <a:gd name="connsiteY40" fmla="*/ 35310 h 180974"/>
              <a:gd name="connsiteX41" fmla="*/ 21840 w 171450"/>
              <a:gd name="connsiteY41" fmla="*/ 21840 h 180974"/>
              <a:gd name="connsiteX42" fmla="*/ 85725 w 171450"/>
              <a:gd name="connsiteY42" fmla="*/ 0 h 180974"/>
              <a:gd name="connsiteX43" fmla="*/ 95250 w 171450"/>
              <a:gd name="connsiteY43" fmla="*/ 9525 h 180974"/>
              <a:gd name="connsiteX44" fmla="*/ 95250 w 171450"/>
              <a:gd name="connsiteY44" fmla="*/ 19050 h 180974"/>
              <a:gd name="connsiteX45" fmla="*/ 85725 w 171450"/>
              <a:gd name="connsiteY45" fmla="*/ 28575 h 180974"/>
              <a:gd name="connsiteX46" fmla="*/ 76200 w 171450"/>
              <a:gd name="connsiteY46" fmla="*/ 19050 h 180974"/>
              <a:gd name="connsiteX47" fmla="*/ 76200 w 171450"/>
              <a:gd name="connsiteY47" fmla="*/ 9525 h 180974"/>
              <a:gd name="connsiteX48" fmla="*/ 85725 w 171450"/>
              <a:gd name="connsiteY48" fmla="*/ 0 h 18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1450" h="180974">
                <a:moveTo>
                  <a:pt x="72536" y="162210"/>
                </a:moveTo>
                <a:cubicBezTo>
                  <a:pt x="80449" y="164140"/>
                  <a:pt x="90933" y="164211"/>
                  <a:pt x="98923" y="162210"/>
                </a:cubicBezTo>
                <a:cubicBezTo>
                  <a:pt x="105617" y="160534"/>
                  <a:pt x="105617" y="166533"/>
                  <a:pt x="103600" y="172160"/>
                </a:cubicBezTo>
                <a:cubicBezTo>
                  <a:pt x="100950" y="179549"/>
                  <a:pt x="95451" y="180974"/>
                  <a:pt x="85726" y="180974"/>
                </a:cubicBezTo>
                <a:cubicBezTo>
                  <a:pt x="76000" y="180974"/>
                  <a:pt x="70501" y="179549"/>
                  <a:pt x="67852" y="172160"/>
                </a:cubicBezTo>
                <a:cubicBezTo>
                  <a:pt x="65835" y="166534"/>
                  <a:pt x="65835" y="160576"/>
                  <a:pt x="72536" y="162210"/>
                </a:cubicBezTo>
                <a:close/>
                <a:moveTo>
                  <a:pt x="152400" y="76200"/>
                </a:moveTo>
                <a:lnTo>
                  <a:pt x="161925" y="76200"/>
                </a:lnTo>
                <a:cubicBezTo>
                  <a:pt x="167186" y="76200"/>
                  <a:pt x="171450" y="80464"/>
                  <a:pt x="171450" y="85725"/>
                </a:cubicBezTo>
                <a:cubicBezTo>
                  <a:pt x="171450" y="90986"/>
                  <a:pt x="167186" y="95250"/>
                  <a:pt x="161925" y="95250"/>
                </a:cubicBezTo>
                <a:lnTo>
                  <a:pt x="152400" y="95250"/>
                </a:lnTo>
                <a:cubicBezTo>
                  <a:pt x="147139" y="95250"/>
                  <a:pt x="142875" y="90986"/>
                  <a:pt x="142875" y="85725"/>
                </a:cubicBezTo>
                <a:cubicBezTo>
                  <a:pt x="142875" y="80464"/>
                  <a:pt x="147139" y="76200"/>
                  <a:pt x="152400" y="76200"/>
                </a:cubicBezTo>
                <a:close/>
                <a:moveTo>
                  <a:pt x="9525" y="76200"/>
                </a:moveTo>
                <a:lnTo>
                  <a:pt x="19050" y="76200"/>
                </a:lnTo>
                <a:cubicBezTo>
                  <a:pt x="24310" y="76200"/>
                  <a:pt x="28575" y="80464"/>
                  <a:pt x="28575" y="85725"/>
                </a:cubicBezTo>
                <a:cubicBezTo>
                  <a:pt x="28575" y="90986"/>
                  <a:pt x="24310" y="95250"/>
                  <a:pt x="19050" y="95250"/>
                </a:cubicBezTo>
                <a:lnTo>
                  <a:pt x="9525" y="95250"/>
                </a:lnTo>
                <a:cubicBezTo>
                  <a:pt x="4265" y="95250"/>
                  <a:pt x="0" y="90986"/>
                  <a:pt x="0" y="85725"/>
                </a:cubicBezTo>
                <a:cubicBezTo>
                  <a:pt x="0" y="80464"/>
                  <a:pt x="4265" y="76200"/>
                  <a:pt x="9525" y="76200"/>
                </a:cubicBezTo>
                <a:close/>
                <a:moveTo>
                  <a:pt x="85725" y="38100"/>
                </a:moveTo>
                <a:cubicBezTo>
                  <a:pt x="112027" y="38100"/>
                  <a:pt x="133350" y="58671"/>
                  <a:pt x="133350" y="85725"/>
                </a:cubicBezTo>
                <a:cubicBezTo>
                  <a:pt x="133350" y="100663"/>
                  <a:pt x="128144" y="107793"/>
                  <a:pt x="123174" y="114596"/>
                </a:cubicBezTo>
                <a:cubicBezTo>
                  <a:pt x="118639" y="120807"/>
                  <a:pt x="114300" y="126748"/>
                  <a:pt x="114300" y="138113"/>
                </a:cubicBezTo>
                <a:cubicBezTo>
                  <a:pt x="114300" y="147638"/>
                  <a:pt x="104775" y="152400"/>
                  <a:pt x="85725" y="152400"/>
                </a:cubicBezTo>
                <a:cubicBezTo>
                  <a:pt x="66675" y="152400"/>
                  <a:pt x="57150" y="147638"/>
                  <a:pt x="57150" y="138113"/>
                </a:cubicBezTo>
                <a:cubicBezTo>
                  <a:pt x="57150" y="126748"/>
                  <a:pt x="52811" y="120807"/>
                  <a:pt x="48275" y="114596"/>
                </a:cubicBezTo>
                <a:cubicBezTo>
                  <a:pt x="43306" y="107793"/>
                  <a:pt x="38100" y="100663"/>
                  <a:pt x="38100" y="85725"/>
                </a:cubicBezTo>
                <a:cubicBezTo>
                  <a:pt x="38100" y="57150"/>
                  <a:pt x="59422" y="38100"/>
                  <a:pt x="85725" y="38100"/>
                </a:cubicBezTo>
                <a:close/>
                <a:moveTo>
                  <a:pt x="136141" y="21840"/>
                </a:moveTo>
                <a:cubicBezTo>
                  <a:pt x="139860" y="18120"/>
                  <a:pt x="145891" y="18120"/>
                  <a:pt x="149611" y="21840"/>
                </a:cubicBezTo>
                <a:cubicBezTo>
                  <a:pt x="153330" y="25560"/>
                  <a:pt x="153330" y="31590"/>
                  <a:pt x="149611" y="35310"/>
                </a:cubicBezTo>
                <a:lnTo>
                  <a:pt x="140086" y="44835"/>
                </a:lnTo>
                <a:cubicBezTo>
                  <a:pt x="136366" y="48555"/>
                  <a:pt x="130335" y="48555"/>
                  <a:pt x="126616" y="44835"/>
                </a:cubicBezTo>
                <a:cubicBezTo>
                  <a:pt x="122896" y="41115"/>
                  <a:pt x="122896" y="35085"/>
                  <a:pt x="126616" y="31365"/>
                </a:cubicBezTo>
                <a:close/>
                <a:moveTo>
                  <a:pt x="21840" y="21840"/>
                </a:moveTo>
                <a:cubicBezTo>
                  <a:pt x="25560" y="18120"/>
                  <a:pt x="31590" y="18120"/>
                  <a:pt x="35310" y="21840"/>
                </a:cubicBezTo>
                <a:lnTo>
                  <a:pt x="44835" y="31365"/>
                </a:lnTo>
                <a:cubicBezTo>
                  <a:pt x="48555" y="35085"/>
                  <a:pt x="48555" y="41115"/>
                  <a:pt x="44835" y="44835"/>
                </a:cubicBezTo>
                <a:cubicBezTo>
                  <a:pt x="41115" y="48555"/>
                  <a:pt x="35085" y="48555"/>
                  <a:pt x="31365" y="44835"/>
                </a:cubicBezTo>
                <a:lnTo>
                  <a:pt x="21840" y="35310"/>
                </a:lnTo>
                <a:cubicBezTo>
                  <a:pt x="18120" y="31590"/>
                  <a:pt x="18120" y="25560"/>
                  <a:pt x="21840" y="21840"/>
                </a:cubicBezTo>
                <a:close/>
                <a:moveTo>
                  <a:pt x="85725" y="0"/>
                </a:moveTo>
                <a:cubicBezTo>
                  <a:pt x="90986" y="0"/>
                  <a:pt x="95250" y="4265"/>
                  <a:pt x="95250" y="9525"/>
                </a:cubicBezTo>
                <a:lnTo>
                  <a:pt x="95250" y="19050"/>
                </a:lnTo>
                <a:cubicBezTo>
                  <a:pt x="95250" y="24310"/>
                  <a:pt x="90986" y="28575"/>
                  <a:pt x="85725" y="28575"/>
                </a:cubicBezTo>
                <a:cubicBezTo>
                  <a:pt x="80464" y="28575"/>
                  <a:pt x="76200" y="24310"/>
                  <a:pt x="76200" y="19050"/>
                </a:cubicBezTo>
                <a:lnTo>
                  <a:pt x="76200" y="9525"/>
                </a:lnTo>
                <a:cubicBezTo>
                  <a:pt x="76200" y="4265"/>
                  <a:pt x="80464" y="0"/>
                  <a:pt x="85725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2" name="Полилиния: фигура 61">
            <a:extLst>
              <a:ext uri="{FF2B5EF4-FFF2-40B4-BE49-F238E27FC236}">
                <a16:creationId xmlns:a16="http://schemas.microsoft.com/office/drawing/2014/main" id="{A7B63E7B-62B1-B63D-8185-8BE47CB66443}"/>
              </a:ext>
            </a:extLst>
          </p:cNvPr>
          <p:cNvSpPr/>
          <p:nvPr/>
        </p:nvSpPr>
        <p:spPr>
          <a:xfrm>
            <a:off x="-2004344" y="2488864"/>
            <a:ext cx="216624" cy="228657"/>
          </a:xfrm>
          <a:custGeom>
            <a:avLst/>
            <a:gdLst>
              <a:gd name="connsiteX0" fmla="*/ 72536 w 171450"/>
              <a:gd name="connsiteY0" fmla="*/ 162210 h 180974"/>
              <a:gd name="connsiteX1" fmla="*/ 98923 w 171450"/>
              <a:gd name="connsiteY1" fmla="*/ 162210 h 180974"/>
              <a:gd name="connsiteX2" fmla="*/ 103600 w 171450"/>
              <a:gd name="connsiteY2" fmla="*/ 172160 h 180974"/>
              <a:gd name="connsiteX3" fmla="*/ 85726 w 171450"/>
              <a:gd name="connsiteY3" fmla="*/ 180974 h 180974"/>
              <a:gd name="connsiteX4" fmla="*/ 67852 w 171450"/>
              <a:gd name="connsiteY4" fmla="*/ 172160 h 180974"/>
              <a:gd name="connsiteX5" fmla="*/ 72536 w 171450"/>
              <a:gd name="connsiteY5" fmla="*/ 162210 h 180974"/>
              <a:gd name="connsiteX6" fmla="*/ 152400 w 171450"/>
              <a:gd name="connsiteY6" fmla="*/ 76200 h 180974"/>
              <a:gd name="connsiteX7" fmla="*/ 161925 w 171450"/>
              <a:gd name="connsiteY7" fmla="*/ 76200 h 180974"/>
              <a:gd name="connsiteX8" fmla="*/ 171450 w 171450"/>
              <a:gd name="connsiteY8" fmla="*/ 85725 h 180974"/>
              <a:gd name="connsiteX9" fmla="*/ 161925 w 171450"/>
              <a:gd name="connsiteY9" fmla="*/ 95250 h 180974"/>
              <a:gd name="connsiteX10" fmla="*/ 152400 w 171450"/>
              <a:gd name="connsiteY10" fmla="*/ 95250 h 180974"/>
              <a:gd name="connsiteX11" fmla="*/ 142875 w 171450"/>
              <a:gd name="connsiteY11" fmla="*/ 85725 h 180974"/>
              <a:gd name="connsiteX12" fmla="*/ 152400 w 171450"/>
              <a:gd name="connsiteY12" fmla="*/ 76200 h 180974"/>
              <a:gd name="connsiteX13" fmla="*/ 9525 w 171450"/>
              <a:gd name="connsiteY13" fmla="*/ 76200 h 180974"/>
              <a:gd name="connsiteX14" fmla="*/ 19050 w 171450"/>
              <a:gd name="connsiteY14" fmla="*/ 76200 h 180974"/>
              <a:gd name="connsiteX15" fmla="*/ 28575 w 171450"/>
              <a:gd name="connsiteY15" fmla="*/ 85725 h 180974"/>
              <a:gd name="connsiteX16" fmla="*/ 19050 w 171450"/>
              <a:gd name="connsiteY16" fmla="*/ 95250 h 180974"/>
              <a:gd name="connsiteX17" fmla="*/ 9525 w 171450"/>
              <a:gd name="connsiteY17" fmla="*/ 95250 h 180974"/>
              <a:gd name="connsiteX18" fmla="*/ 0 w 171450"/>
              <a:gd name="connsiteY18" fmla="*/ 85725 h 180974"/>
              <a:gd name="connsiteX19" fmla="*/ 9525 w 171450"/>
              <a:gd name="connsiteY19" fmla="*/ 76200 h 180974"/>
              <a:gd name="connsiteX20" fmla="*/ 85725 w 171450"/>
              <a:gd name="connsiteY20" fmla="*/ 38100 h 180974"/>
              <a:gd name="connsiteX21" fmla="*/ 133350 w 171450"/>
              <a:gd name="connsiteY21" fmla="*/ 85725 h 180974"/>
              <a:gd name="connsiteX22" fmla="*/ 123174 w 171450"/>
              <a:gd name="connsiteY22" fmla="*/ 114596 h 180974"/>
              <a:gd name="connsiteX23" fmla="*/ 114300 w 171450"/>
              <a:gd name="connsiteY23" fmla="*/ 138113 h 180974"/>
              <a:gd name="connsiteX24" fmla="*/ 85725 w 171450"/>
              <a:gd name="connsiteY24" fmla="*/ 152400 h 180974"/>
              <a:gd name="connsiteX25" fmla="*/ 57150 w 171450"/>
              <a:gd name="connsiteY25" fmla="*/ 138113 h 180974"/>
              <a:gd name="connsiteX26" fmla="*/ 48275 w 171450"/>
              <a:gd name="connsiteY26" fmla="*/ 114596 h 180974"/>
              <a:gd name="connsiteX27" fmla="*/ 38100 w 171450"/>
              <a:gd name="connsiteY27" fmla="*/ 85725 h 180974"/>
              <a:gd name="connsiteX28" fmla="*/ 85725 w 171450"/>
              <a:gd name="connsiteY28" fmla="*/ 38100 h 180974"/>
              <a:gd name="connsiteX29" fmla="*/ 136141 w 171450"/>
              <a:gd name="connsiteY29" fmla="*/ 21840 h 180974"/>
              <a:gd name="connsiteX30" fmla="*/ 149611 w 171450"/>
              <a:gd name="connsiteY30" fmla="*/ 21840 h 180974"/>
              <a:gd name="connsiteX31" fmla="*/ 149611 w 171450"/>
              <a:gd name="connsiteY31" fmla="*/ 35310 h 180974"/>
              <a:gd name="connsiteX32" fmla="*/ 140086 w 171450"/>
              <a:gd name="connsiteY32" fmla="*/ 44835 h 180974"/>
              <a:gd name="connsiteX33" fmla="*/ 126616 w 171450"/>
              <a:gd name="connsiteY33" fmla="*/ 44835 h 180974"/>
              <a:gd name="connsiteX34" fmla="*/ 126616 w 171450"/>
              <a:gd name="connsiteY34" fmla="*/ 31365 h 180974"/>
              <a:gd name="connsiteX35" fmla="*/ 21840 w 171450"/>
              <a:gd name="connsiteY35" fmla="*/ 21840 h 180974"/>
              <a:gd name="connsiteX36" fmla="*/ 35310 w 171450"/>
              <a:gd name="connsiteY36" fmla="*/ 21840 h 180974"/>
              <a:gd name="connsiteX37" fmla="*/ 44835 w 171450"/>
              <a:gd name="connsiteY37" fmla="*/ 31365 h 180974"/>
              <a:gd name="connsiteX38" fmla="*/ 44835 w 171450"/>
              <a:gd name="connsiteY38" fmla="*/ 44835 h 180974"/>
              <a:gd name="connsiteX39" fmla="*/ 31365 w 171450"/>
              <a:gd name="connsiteY39" fmla="*/ 44835 h 180974"/>
              <a:gd name="connsiteX40" fmla="*/ 21840 w 171450"/>
              <a:gd name="connsiteY40" fmla="*/ 35310 h 180974"/>
              <a:gd name="connsiteX41" fmla="*/ 21840 w 171450"/>
              <a:gd name="connsiteY41" fmla="*/ 21840 h 180974"/>
              <a:gd name="connsiteX42" fmla="*/ 85725 w 171450"/>
              <a:gd name="connsiteY42" fmla="*/ 0 h 180974"/>
              <a:gd name="connsiteX43" fmla="*/ 95250 w 171450"/>
              <a:gd name="connsiteY43" fmla="*/ 9525 h 180974"/>
              <a:gd name="connsiteX44" fmla="*/ 95250 w 171450"/>
              <a:gd name="connsiteY44" fmla="*/ 19050 h 180974"/>
              <a:gd name="connsiteX45" fmla="*/ 85725 w 171450"/>
              <a:gd name="connsiteY45" fmla="*/ 28575 h 180974"/>
              <a:gd name="connsiteX46" fmla="*/ 76200 w 171450"/>
              <a:gd name="connsiteY46" fmla="*/ 19050 h 180974"/>
              <a:gd name="connsiteX47" fmla="*/ 76200 w 171450"/>
              <a:gd name="connsiteY47" fmla="*/ 9525 h 180974"/>
              <a:gd name="connsiteX48" fmla="*/ 85725 w 171450"/>
              <a:gd name="connsiteY48" fmla="*/ 0 h 18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1450" h="180974">
                <a:moveTo>
                  <a:pt x="72536" y="162210"/>
                </a:moveTo>
                <a:cubicBezTo>
                  <a:pt x="80449" y="164140"/>
                  <a:pt x="90933" y="164211"/>
                  <a:pt x="98923" y="162210"/>
                </a:cubicBezTo>
                <a:cubicBezTo>
                  <a:pt x="105617" y="160534"/>
                  <a:pt x="105617" y="166533"/>
                  <a:pt x="103600" y="172160"/>
                </a:cubicBezTo>
                <a:cubicBezTo>
                  <a:pt x="100950" y="179549"/>
                  <a:pt x="95451" y="180974"/>
                  <a:pt x="85726" y="180974"/>
                </a:cubicBezTo>
                <a:cubicBezTo>
                  <a:pt x="76000" y="180974"/>
                  <a:pt x="70501" y="179549"/>
                  <a:pt x="67852" y="172160"/>
                </a:cubicBezTo>
                <a:cubicBezTo>
                  <a:pt x="65835" y="166534"/>
                  <a:pt x="65835" y="160576"/>
                  <a:pt x="72536" y="162210"/>
                </a:cubicBezTo>
                <a:close/>
                <a:moveTo>
                  <a:pt x="152400" y="76200"/>
                </a:moveTo>
                <a:lnTo>
                  <a:pt x="161925" y="76200"/>
                </a:lnTo>
                <a:cubicBezTo>
                  <a:pt x="167186" y="76200"/>
                  <a:pt x="171450" y="80464"/>
                  <a:pt x="171450" y="85725"/>
                </a:cubicBezTo>
                <a:cubicBezTo>
                  <a:pt x="171450" y="90986"/>
                  <a:pt x="167186" y="95250"/>
                  <a:pt x="161925" y="95250"/>
                </a:cubicBezTo>
                <a:lnTo>
                  <a:pt x="152400" y="95250"/>
                </a:lnTo>
                <a:cubicBezTo>
                  <a:pt x="147139" y="95250"/>
                  <a:pt x="142875" y="90986"/>
                  <a:pt x="142875" y="85725"/>
                </a:cubicBezTo>
                <a:cubicBezTo>
                  <a:pt x="142875" y="80464"/>
                  <a:pt x="147139" y="76200"/>
                  <a:pt x="152400" y="76200"/>
                </a:cubicBezTo>
                <a:close/>
                <a:moveTo>
                  <a:pt x="9525" y="76200"/>
                </a:moveTo>
                <a:lnTo>
                  <a:pt x="19050" y="76200"/>
                </a:lnTo>
                <a:cubicBezTo>
                  <a:pt x="24310" y="76200"/>
                  <a:pt x="28575" y="80464"/>
                  <a:pt x="28575" y="85725"/>
                </a:cubicBezTo>
                <a:cubicBezTo>
                  <a:pt x="28575" y="90986"/>
                  <a:pt x="24310" y="95250"/>
                  <a:pt x="19050" y="95250"/>
                </a:cubicBezTo>
                <a:lnTo>
                  <a:pt x="9525" y="95250"/>
                </a:lnTo>
                <a:cubicBezTo>
                  <a:pt x="4265" y="95250"/>
                  <a:pt x="0" y="90986"/>
                  <a:pt x="0" y="85725"/>
                </a:cubicBezTo>
                <a:cubicBezTo>
                  <a:pt x="0" y="80464"/>
                  <a:pt x="4265" y="76200"/>
                  <a:pt x="9525" y="76200"/>
                </a:cubicBezTo>
                <a:close/>
                <a:moveTo>
                  <a:pt x="85725" y="38100"/>
                </a:moveTo>
                <a:cubicBezTo>
                  <a:pt x="112027" y="38100"/>
                  <a:pt x="133350" y="58671"/>
                  <a:pt x="133350" y="85725"/>
                </a:cubicBezTo>
                <a:cubicBezTo>
                  <a:pt x="133350" y="100663"/>
                  <a:pt x="128144" y="107793"/>
                  <a:pt x="123174" y="114596"/>
                </a:cubicBezTo>
                <a:cubicBezTo>
                  <a:pt x="118639" y="120807"/>
                  <a:pt x="114300" y="126748"/>
                  <a:pt x="114300" y="138113"/>
                </a:cubicBezTo>
                <a:cubicBezTo>
                  <a:pt x="114300" y="147638"/>
                  <a:pt x="104775" y="152400"/>
                  <a:pt x="85725" y="152400"/>
                </a:cubicBezTo>
                <a:cubicBezTo>
                  <a:pt x="66675" y="152400"/>
                  <a:pt x="57150" y="147638"/>
                  <a:pt x="57150" y="138113"/>
                </a:cubicBezTo>
                <a:cubicBezTo>
                  <a:pt x="57150" y="126748"/>
                  <a:pt x="52811" y="120807"/>
                  <a:pt x="48275" y="114596"/>
                </a:cubicBezTo>
                <a:cubicBezTo>
                  <a:pt x="43306" y="107793"/>
                  <a:pt x="38100" y="100663"/>
                  <a:pt x="38100" y="85725"/>
                </a:cubicBezTo>
                <a:cubicBezTo>
                  <a:pt x="38100" y="57150"/>
                  <a:pt x="59422" y="38100"/>
                  <a:pt x="85725" y="38100"/>
                </a:cubicBezTo>
                <a:close/>
                <a:moveTo>
                  <a:pt x="136141" y="21840"/>
                </a:moveTo>
                <a:cubicBezTo>
                  <a:pt x="139860" y="18120"/>
                  <a:pt x="145891" y="18120"/>
                  <a:pt x="149611" y="21840"/>
                </a:cubicBezTo>
                <a:cubicBezTo>
                  <a:pt x="153330" y="25560"/>
                  <a:pt x="153330" y="31590"/>
                  <a:pt x="149611" y="35310"/>
                </a:cubicBezTo>
                <a:lnTo>
                  <a:pt x="140086" y="44835"/>
                </a:lnTo>
                <a:cubicBezTo>
                  <a:pt x="136366" y="48555"/>
                  <a:pt x="130335" y="48555"/>
                  <a:pt x="126616" y="44835"/>
                </a:cubicBezTo>
                <a:cubicBezTo>
                  <a:pt x="122896" y="41115"/>
                  <a:pt x="122896" y="35085"/>
                  <a:pt x="126616" y="31365"/>
                </a:cubicBezTo>
                <a:close/>
                <a:moveTo>
                  <a:pt x="21840" y="21840"/>
                </a:moveTo>
                <a:cubicBezTo>
                  <a:pt x="25560" y="18120"/>
                  <a:pt x="31590" y="18120"/>
                  <a:pt x="35310" y="21840"/>
                </a:cubicBezTo>
                <a:lnTo>
                  <a:pt x="44835" y="31365"/>
                </a:lnTo>
                <a:cubicBezTo>
                  <a:pt x="48555" y="35085"/>
                  <a:pt x="48555" y="41115"/>
                  <a:pt x="44835" y="44835"/>
                </a:cubicBezTo>
                <a:cubicBezTo>
                  <a:pt x="41115" y="48555"/>
                  <a:pt x="35085" y="48555"/>
                  <a:pt x="31365" y="44835"/>
                </a:cubicBezTo>
                <a:lnTo>
                  <a:pt x="21840" y="35310"/>
                </a:lnTo>
                <a:cubicBezTo>
                  <a:pt x="18120" y="31590"/>
                  <a:pt x="18120" y="25560"/>
                  <a:pt x="21840" y="21840"/>
                </a:cubicBezTo>
                <a:close/>
                <a:moveTo>
                  <a:pt x="85725" y="0"/>
                </a:moveTo>
                <a:cubicBezTo>
                  <a:pt x="90986" y="0"/>
                  <a:pt x="95250" y="4265"/>
                  <a:pt x="95250" y="9525"/>
                </a:cubicBezTo>
                <a:lnTo>
                  <a:pt x="95250" y="19050"/>
                </a:lnTo>
                <a:cubicBezTo>
                  <a:pt x="95250" y="24310"/>
                  <a:pt x="90986" y="28575"/>
                  <a:pt x="85725" y="28575"/>
                </a:cubicBezTo>
                <a:cubicBezTo>
                  <a:pt x="80464" y="28575"/>
                  <a:pt x="76200" y="24310"/>
                  <a:pt x="76200" y="19050"/>
                </a:cubicBezTo>
                <a:lnTo>
                  <a:pt x="76200" y="9525"/>
                </a:lnTo>
                <a:cubicBezTo>
                  <a:pt x="76200" y="4265"/>
                  <a:pt x="80464" y="0"/>
                  <a:pt x="85725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EC11CE47-F2DE-CA1C-5C0F-C21FAC0B5671}"/>
              </a:ext>
            </a:extLst>
          </p:cNvPr>
          <p:cNvSpPr txBox="1"/>
          <p:nvPr/>
        </p:nvSpPr>
        <p:spPr>
          <a:xfrm>
            <a:off x="-1691344" y="2506490"/>
            <a:ext cx="1373969" cy="2428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</a:pPr>
            <a:r>
              <a:rPr lang="ru-RU" sz="900" b="0">
                <a:solidFill>
                  <a:schemeClr val="accent1"/>
                </a:solidFill>
              </a:rPr>
              <a:t>Используй эти размеры </a:t>
            </a:r>
            <a:br>
              <a:rPr lang="ru-RU" sz="900" b="0">
                <a:solidFill>
                  <a:schemeClr val="accent1"/>
                </a:solidFill>
              </a:rPr>
            </a:br>
            <a:r>
              <a:rPr lang="ru-RU" sz="900" b="0">
                <a:solidFill>
                  <a:schemeClr val="accent1"/>
                </a:solidFill>
              </a:rPr>
              <a:t>по всей презентации</a:t>
            </a:r>
          </a:p>
        </p:txBody>
      </p:sp>
      <p:sp>
        <p:nvSpPr>
          <p:cNvPr id="6" name="Прямоугольник: скругленные верхние углы 5">
            <a:extLst>
              <a:ext uri="{FF2B5EF4-FFF2-40B4-BE49-F238E27FC236}">
                <a16:creationId xmlns:a16="http://schemas.microsoft.com/office/drawing/2014/main" id="{2A7065C9-92E3-6B9B-9ACA-AEB5C23862DE}"/>
              </a:ext>
            </a:extLst>
          </p:cNvPr>
          <p:cNvSpPr/>
          <p:nvPr/>
        </p:nvSpPr>
        <p:spPr>
          <a:xfrm>
            <a:off x="-2136930" y="0"/>
            <a:ext cx="1926713" cy="2880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36000" rtlCol="0" anchor="ctr"/>
          <a:lstStyle/>
          <a:p>
            <a:pPr algn="ctr"/>
            <a:r>
              <a:rPr lang="ru-RU" sz="1100" b="1">
                <a:solidFill>
                  <a:schemeClr val="tx1"/>
                </a:solidFill>
              </a:rPr>
              <a:t>Размеры текста</a:t>
            </a:r>
          </a:p>
        </p:txBody>
      </p:sp>
      <p:sp>
        <p:nvSpPr>
          <p:cNvPr id="9" name="Полилиния: фигура 8">
            <a:extLst>
              <a:ext uri="{FF2B5EF4-FFF2-40B4-BE49-F238E27FC236}">
                <a16:creationId xmlns:a16="http://schemas.microsoft.com/office/drawing/2014/main" id="{0832DE9F-07AB-D3EB-D833-C1DC910E0CE8}"/>
              </a:ext>
            </a:extLst>
          </p:cNvPr>
          <p:cNvSpPr/>
          <p:nvPr/>
        </p:nvSpPr>
        <p:spPr>
          <a:xfrm>
            <a:off x="-2004344" y="2488864"/>
            <a:ext cx="216624" cy="228657"/>
          </a:xfrm>
          <a:custGeom>
            <a:avLst/>
            <a:gdLst>
              <a:gd name="connsiteX0" fmla="*/ 72536 w 171450"/>
              <a:gd name="connsiteY0" fmla="*/ 162210 h 180974"/>
              <a:gd name="connsiteX1" fmla="*/ 98923 w 171450"/>
              <a:gd name="connsiteY1" fmla="*/ 162210 h 180974"/>
              <a:gd name="connsiteX2" fmla="*/ 103600 w 171450"/>
              <a:gd name="connsiteY2" fmla="*/ 172160 h 180974"/>
              <a:gd name="connsiteX3" fmla="*/ 85726 w 171450"/>
              <a:gd name="connsiteY3" fmla="*/ 180974 h 180974"/>
              <a:gd name="connsiteX4" fmla="*/ 67852 w 171450"/>
              <a:gd name="connsiteY4" fmla="*/ 172160 h 180974"/>
              <a:gd name="connsiteX5" fmla="*/ 72536 w 171450"/>
              <a:gd name="connsiteY5" fmla="*/ 162210 h 180974"/>
              <a:gd name="connsiteX6" fmla="*/ 152400 w 171450"/>
              <a:gd name="connsiteY6" fmla="*/ 76200 h 180974"/>
              <a:gd name="connsiteX7" fmla="*/ 161925 w 171450"/>
              <a:gd name="connsiteY7" fmla="*/ 76200 h 180974"/>
              <a:gd name="connsiteX8" fmla="*/ 171450 w 171450"/>
              <a:gd name="connsiteY8" fmla="*/ 85725 h 180974"/>
              <a:gd name="connsiteX9" fmla="*/ 161925 w 171450"/>
              <a:gd name="connsiteY9" fmla="*/ 95250 h 180974"/>
              <a:gd name="connsiteX10" fmla="*/ 152400 w 171450"/>
              <a:gd name="connsiteY10" fmla="*/ 95250 h 180974"/>
              <a:gd name="connsiteX11" fmla="*/ 142875 w 171450"/>
              <a:gd name="connsiteY11" fmla="*/ 85725 h 180974"/>
              <a:gd name="connsiteX12" fmla="*/ 152400 w 171450"/>
              <a:gd name="connsiteY12" fmla="*/ 76200 h 180974"/>
              <a:gd name="connsiteX13" fmla="*/ 9525 w 171450"/>
              <a:gd name="connsiteY13" fmla="*/ 76200 h 180974"/>
              <a:gd name="connsiteX14" fmla="*/ 19050 w 171450"/>
              <a:gd name="connsiteY14" fmla="*/ 76200 h 180974"/>
              <a:gd name="connsiteX15" fmla="*/ 28575 w 171450"/>
              <a:gd name="connsiteY15" fmla="*/ 85725 h 180974"/>
              <a:gd name="connsiteX16" fmla="*/ 19050 w 171450"/>
              <a:gd name="connsiteY16" fmla="*/ 95250 h 180974"/>
              <a:gd name="connsiteX17" fmla="*/ 9525 w 171450"/>
              <a:gd name="connsiteY17" fmla="*/ 95250 h 180974"/>
              <a:gd name="connsiteX18" fmla="*/ 0 w 171450"/>
              <a:gd name="connsiteY18" fmla="*/ 85725 h 180974"/>
              <a:gd name="connsiteX19" fmla="*/ 9525 w 171450"/>
              <a:gd name="connsiteY19" fmla="*/ 76200 h 180974"/>
              <a:gd name="connsiteX20" fmla="*/ 85725 w 171450"/>
              <a:gd name="connsiteY20" fmla="*/ 38100 h 180974"/>
              <a:gd name="connsiteX21" fmla="*/ 133350 w 171450"/>
              <a:gd name="connsiteY21" fmla="*/ 85725 h 180974"/>
              <a:gd name="connsiteX22" fmla="*/ 123174 w 171450"/>
              <a:gd name="connsiteY22" fmla="*/ 114596 h 180974"/>
              <a:gd name="connsiteX23" fmla="*/ 114300 w 171450"/>
              <a:gd name="connsiteY23" fmla="*/ 138113 h 180974"/>
              <a:gd name="connsiteX24" fmla="*/ 85725 w 171450"/>
              <a:gd name="connsiteY24" fmla="*/ 152400 h 180974"/>
              <a:gd name="connsiteX25" fmla="*/ 57150 w 171450"/>
              <a:gd name="connsiteY25" fmla="*/ 138113 h 180974"/>
              <a:gd name="connsiteX26" fmla="*/ 48275 w 171450"/>
              <a:gd name="connsiteY26" fmla="*/ 114596 h 180974"/>
              <a:gd name="connsiteX27" fmla="*/ 38100 w 171450"/>
              <a:gd name="connsiteY27" fmla="*/ 85725 h 180974"/>
              <a:gd name="connsiteX28" fmla="*/ 85725 w 171450"/>
              <a:gd name="connsiteY28" fmla="*/ 38100 h 180974"/>
              <a:gd name="connsiteX29" fmla="*/ 136141 w 171450"/>
              <a:gd name="connsiteY29" fmla="*/ 21840 h 180974"/>
              <a:gd name="connsiteX30" fmla="*/ 149611 w 171450"/>
              <a:gd name="connsiteY30" fmla="*/ 21840 h 180974"/>
              <a:gd name="connsiteX31" fmla="*/ 149611 w 171450"/>
              <a:gd name="connsiteY31" fmla="*/ 35310 h 180974"/>
              <a:gd name="connsiteX32" fmla="*/ 140086 w 171450"/>
              <a:gd name="connsiteY32" fmla="*/ 44835 h 180974"/>
              <a:gd name="connsiteX33" fmla="*/ 126616 w 171450"/>
              <a:gd name="connsiteY33" fmla="*/ 44835 h 180974"/>
              <a:gd name="connsiteX34" fmla="*/ 126616 w 171450"/>
              <a:gd name="connsiteY34" fmla="*/ 31365 h 180974"/>
              <a:gd name="connsiteX35" fmla="*/ 21840 w 171450"/>
              <a:gd name="connsiteY35" fmla="*/ 21840 h 180974"/>
              <a:gd name="connsiteX36" fmla="*/ 35310 w 171450"/>
              <a:gd name="connsiteY36" fmla="*/ 21840 h 180974"/>
              <a:gd name="connsiteX37" fmla="*/ 44835 w 171450"/>
              <a:gd name="connsiteY37" fmla="*/ 31365 h 180974"/>
              <a:gd name="connsiteX38" fmla="*/ 44835 w 171450"/>
              <a:gd name="connsiteY38" fmla="*/ 44835 h 180974"/>
              <a:gd name="connsiteX39" fmla="*/ 31365 w 171450"/>
              <a:gd name="connsiteY39" fmla="*/ 44835 h 180974"/>
              <a:gd name="connsiteX40" fmla="*/ 21840 w 171450"/>
              <a:gd name="connsiteY40" fmla="*/ 35310 h 180974"/>
              <a:gd name="connsiteX41" fmla="*/ 21840 w 171450"/>
              <a:gd name="connsiteY41" fmla="*/ 21840 h 180974"/>
              <a:gd name="connsiteX42" fmla="*/ 85725 w 171450"/>
              <a:gd name="connsiteY42" fmla="*/ 0 h 180974"/>
              <a:gd name="connsiteX43" fmla="*/ 95250 w 171450"/>
              <a:gd name="connsiteY43" fmla="*/ 9525 h 180974"/>
              <a:gd name="connsiteX44" fmla="*/ 95250 w 171450"/>
              <a:gd name="connsiteY44" fmla="*/ 19050 h 180974"/>
              <a:gd name="connsiteX45" fmla="*/ 85725 w 171450"/>
              <a:gd name="connsiteY45" fmla="*/ 28575 h 180974"/>
              <a:gd name="connsiteX46" fmla="*/ 76200 w 171450"/>
              <a:gd name="connsiteY46" fmla="*/ 19050 h 180974"/>
              <a:gd name="connsiteX47" fmla="*/ 76200 w 171450"/>
              <a:gd name="connsiteY47" fmla="*/ 9525 h 180974"/>
              <a:gd name="connsiteX48" fmla="*/ 85725 w 171450"/>
              <a:gd name="connsiteY48" fmla="*/ 0 h 18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1450" h="180974">
                <a:moveTo>
                  <a:pt x="72536" y="162210"/>
                </a:moveTo>
                <a:cubicBezTo>
                  <a:pt x="80449" y="164140"/>
                  <a:pt x="90933" y="164211"/>
                  <a:pt x="98923" y="162210"/>
                </a:cubicBezTo>
                <a:cubicBezTo>
                  <a:pt x="105617" y="160534"/>
                  <a:pt x="105617" y="166533"/>
                  <a:pt x="103600" y="172160"/>
                </a:cubicBezTo>
                <a:cubicBezTo>
                  <a:pt x="100950" y="179549"/>
                  <a:pt x="95451" y="180974"/>
                  <a:pt x="85726" y="180974"/>
                </a:cubicBezTo>
                <a:cubicBezTo>
                  <a:pt x="76000" y="180974"/>
                  <a:pt x="70501" y="179549"/>
                  <a:pt x="67852" y="172160"/>
                </a:cubicBezTo>
                <a:cubicBezTo>
                  <a:pt x="65835" y="166534"/>
                  <a:pt x="65835" y="160576"/>
                  <a:pt x="72536" y="162210"/>
                </a:cubicBezTo>
                <a:close/>
                <a:moveTo>
                  <a:pt x="152400" y="76200"/>
                </a:moveTo>
                <a:lnTo>
                  <a:pt x="161925" y="76200"/>
                </a:lnTo>
                <a:cubicBezTo>
                  <a:pt x="167186" y="76200"/>
                  <a:pt x="171450" y="80464"/>
                  <a:pt x="171450" y="85725"/>
                </a:cubicBezTo>
                <a:cubicBezTo>
                  <a:pt x="171450" y="90986"/>
                  <a:pt x="167186" y="95250"/>
                  <a:pt x="161925" y="95250"/>
                </a:cubicBezTo>
                <a:lnTo>
                  <a:pt x="152400" y="95250"/>
                </a:lnTo>
                <a:cubicBezTo>
                  <a:pt x="147139" y="95250"/>
                  <a:pt x="142875" y="90986"/>
                  <a:pt x="142875" y="85725"/>
                </a:cubicBezTo>
                <a:cubicBezTo>
                  <a:pt x="142875" y="80464"/>
                  <a:pt x="147139" y="76200"/>
                  <a:pt x="152400" y="76200"/>
                </a:cubicBezTo>
                <a:close/>
                <a:moveTo>
                  <a:pt x="9525" y="76200"/>
                </a:moveTo>
                <a:lnTo>
                  <a:pt x="19050" y="76200"/>
                </a:lnTo>
                <a:cubicBezTo>
                  <a:pt x="24310" y="76200"/>
                  <a:pt x="28575" y="80464"/>
                  <a:pt x="28575" y="85725"/>
                </a:cubicBezTo>
                <a:cubicBezTo>
                  <a:pt x="28575" y="90986"/>
                  <a:pt x="24310" y="95250"/>
                  <a:pt x="19050" y="95250"/>
                </a:cubicBezTo>
                <a:lnTo>
                  <a:pt x="9525" y="95250"/>
                </a:lnTo>
                <a:cubicBezTo>
                  <a:pt x="4265" y="95250"/>
                  <a:pt x="0" y="90986"/>
                  <a:pt x="0" y="85725"/>
                </a:cubicBezTo>
                <a:cubicBezTo>
                  <a:pt x="0" y="80464"/>
                  <a:pt x="4265" y="76200"/>
                  <a:pt x="9525" y="76200"/>
                </a:cubicBezTo>
                <a:close/>
                <a:moveTo>
                  <a:pt x="85725" y="38100"/>
                </a:moveTo>
                <a:cubicBezTo>
                  <a:pt x="112027" y="38100"/>
                  <a:pt x="133350" y="58671"/>
                  <a:pt x="133350" y="85725"/>
                </a:cubicBezTo>
                <a:cubicBezTo>
                  <a:pt x="133350" y="100663"/>
                  <a:pt x="128144" y="107793"/>
                  <a:pt x="123174" y="114596"/>
                </a:cubicBezTo>
                <a:cubicBezTo>
                  <a:pt x="118639" y="120807"/>
                  <a:pt x="114300" y="126748"/>
                  <a:pt x="114300" y="138113"/>
                </a:cubicBezTo>
                <a:cubicBezTo>
                  <a:pt x="114300" y="147638"/>
                  <a:pt x="104775" y="152400"/>
                  <a:pt x="85725" y="152400"/>
                </a:cubicBezTo>
                <a:cubicBezTo>
                  <a:pt x="66675" y="152400"/>
                  <a:pt x="57150" y="147638"/>
                  <a:pt x="57150" y="138113"/>
                </a:cubicBezTo>
                <a:cubicBezTo>
                  <a:pt x="57150" y="126748"/>
                  <a:pt x="52811" y="120807"/>
                  <a:pt x="48275" y="114596"/>
                </a:cubicBezTo>
                <a:cubicBezTo>
                  <a:pt x="43306" y="107793"/>
                  <a:pt x="38100" y="100663"/>
                  <a:pt x="38100" y="85725"/>
                </a:cubicBezTo>
                <a:cubicBezTo>
                  <a:pt x="38100" y="57150"/>
                  <a:pt x="59422" y="38100"/>
                  <a:pt x="85725" y="38100"/>
                </a:cubicBezTo>
                <a:close/>
                <a:moveTo>
                  <a:pt x="136141" y="21840"/>
                </a:moveTo>
                <a:cubicBezTo>
                  <a:pt x="139860" y="18120"/>
                  <a:pt x="145891" y="18120"/>
                  <a:pt x="149611" y="21840"/>
                </a:cubicBezTo>
                <a:cubicBezTo>
                  <a:pt x="153330" y="25560"/>
                  <a:pt x="153330" y="31590"/>
                  <a:pt x="149611" y="35310"/>
                </a:cubicBezTo>
                <a:lnTo>
                  <a:pt x="140086" y="44835"/>
                </a:lnTo>
                <a:cubicBezTo>
                  <a:pt x="136366" y="48555"/>
                  <a:pt x="130335" y="48555"/>
                  <a:pt x="126616" y="44835"/>
                </a:cubicBezTo>
                <a:cubicBezTo>
                  <a:pt x="122896" y="41115"/>
                  <a:pt x="122896" y="35085"/>
                  <a:pt x="126616" y="31365"/>
                </a:cubicBezTo>
                <a:close/>
                <a:moveTo>
                  <a:pt x="21840" y="21840"/>
                </a:moveTo>
                <a:cubicBezTo>
                  <a:pt x="25560" y="18120"/>
                  <a:pt x="31590" y="18120"/>
                  <a:pt x="35310" y="21840"/>
                </a:cubicBezTo>
                <a:lnTo>
                  <a:pt x="44835" y="31365"/>
                </a:lnTo>
                <a:cubicBezTo>
                  <a:pt x="48555" y="35085"/>
                  <a:pt x="48555" y="41115"/>
                  <a:pt x="44835" y="44835"/>
                </a:cubicBezTo>
                <a:cubicBezTo>
                  <a:pt x="41115" y="48555"/>
                  <a:pt x="35085" y="48555"/>
                  <a:pt x="31365" y="44835"/>
                </a:cubicBezTo>
                <a:lnTo>
                  <a:pt x="21840" y="35310"/>
                </a:lnTo>
                <a:cubicBezTo>
                  <a:pt x="18120" y="31590"/>
                  <a:pt x="18120" y="25560"/>
                  <a:pt x="21840" y="21840"/>
                </a:cubicBezTo>
                <a:close/>
                <a:moveTo>
                  <a:pt x="85725" y="0"/>
                </a:moveTo>
                <a:cubicBezTo>
                  <a:pt x="90986" y="0"/>
                  <a:pt x="95250" y="4265"/>
                  <a:pt x="95250" y="9525"/>
                </a:cubicBezTo>
                <a:lnTo>
                  <a:pt x="95250" y="19050"/>
                </a:lnTo>
                <a:cubicBezTo>
                  <a:pt x="95250" y="24310"/>
                  <a:pt x="90986" y="28575"/>
                  <a:pt x="85725" y="28575"/>
                </a:cubicBezTo>
                <a:cubicBezTo>
                  <a:pt x="80464" y="28575"/>
                  <a:pt x="76200" y="24310"/>
                  <a:pt x="76200" y="19050"/>
                </a:cubicBezTo>
                <a:lnTo>
                  <a:pt x="76200" y="9525"/>
                </a:lnTo>
                <a:cubicBezTo>
                  <a:pt x="76200" y="4265"/>
                  <a:pt x="80464" y="0"/>
                  <a:pt x="85725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" name="Объект 2">
            <a:extLst>
              <a:ext uri="{FF2B5EF4-FFF2-40B4-BE49-F238E27FC236}">
                <a16:creationId xmlns:a16="http://schemas.microsoft.com/office/drawing/2014/main" id="{9273FEED-185C-3EDE-5702-91BFF3386CA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763" y="1520824"/>
            <a:ext cx="10910887" cy="4741864"/>
          </a:xfrm>
        </p:spPr>
        <p:txBody>
          <a:bodyPr/>
          <a:lstStyle>
            <a:lvl1pPr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2"/>
                </a:solidFill>
              </a:defRPr>
            </a:lvl1pPr>
            <a:lvl2pPr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2"/>
                </a:solidFill>
              </a:defRPr>
            </a:lvl2pPr>
            <a:lvl3pPr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2"/>
                </a:solidFill>
              </a:defRPr>
            </a:lvl3pPr>
            <a:lvl4pPr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2"/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A9C77C2E-E1B8-8A5D-636C-B20627EF04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5099" y="420493"/>
            <a:ext cx="10910888" cy="78315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2000"/>
              </a:lnSpc>
              <a:defRPr sz="4400" spc="-30" baseline="0">
                <a:solidFill>
                  <a:schemeClr val="bg2"/>
                </a:solidFill>
              </a:defRPr>
            </a:lvl1pPr>
          </a:lstStyle>
          <a:p>
            <a:r>
              <a:rPr lang="ru-RU"/>
              <a:t>Заголовок слайда в 1 строку</a:t>
            </a:r>
          </a:p>
        </p:txBody>
      </p:sp>
      <p:sp>
        <p:nvSpPr>
          <p:cNvPr id="47" name="Нижний колонтитул 4">
            <a:extLst>
              <a:ext uri="{FF2B5EF4-FFF2-40B4-BE49-F238E27FC236}">
                <a16:creationId xmlns:a16="http://schemas.microsoft.com/office/drawing/2014/main" id="{7C646F59-D044-7D48-9BC3-41161001CF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458800" y="6465600"/>
            <a:ext cx="7274114" cy="144500"/>
          </a:xfrm>
        </p:spPr>
        <p:txBody>
          <a:bodyPr anchor="b"/>
          <a:lstStyle>
            <a:lvl1pPr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endParaRPr lang="ru-RU" dirty="0"/>
          </a:p>
        </p:txBody>
      </p:sp>
      <p:pic>
        <p:nvPicPr>
          <p:cNvPr id="48" name="Рисунок 47">
            <a:extLst>
              <a:ext uri="{FF2B5EF4-FFF2-40B4-BE49-F238E27FC236}">
                <a16:creationId xmlns:a16="http://schemas.microsoft.com/office/drawing/2014/main" id="{B1606FB3-EAE8-C340-A573-F7D0830BCE4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l="9468" t="30431" r="9932" b="30861"/>
          <a:stretch/>
        </p:blipFill>
        <p:spPr>
          <a:xfrm>
            <a:off x="635000" y="6403975"/>
            <a:ext cx="1044575" cy="250826"/>
          </a:xfrm>
          <a:prstGeom prst="rect">
            <a:avLst/>
          </a:prstGeom>
        </p:spPr>
      </p:pic>
      <p:grpSp>
        <p:nvGrpSpPr>
          <p:cNvPr id="45" name="Группа 44">
            <a:extLst>
              <a:ext uri="{FF2B5EF4-FFF2-40B4-BE49-F238E27FC236}">
                <a16:creationId xmlns:a16="http://schemas.microsoft.com/office/drawing/2014/main" id="{BE3AE89F-F7D2-C24B-8D53-47F4EDA71137}"/>
              </a:ext>
            </a:extLst>
          </p:cNvPr>
          <p:cNvGrpSpPr/>
          <p:nvPr userDrawn="1"/>
        </p:nvGrpSpPr>
        <p:grpSpPr>
          <a:xfrm>
            <a:off x="-2138458" y="3070447"/>
            <a:ext cx="1935384" cy="3787553"/>
            <a:chOff x="-2138458" y="3070447"/>
            <a:chExt cx="1935384" cy="3787553"/>
          </a:xfrm>
        </p:grpSpPr>
        <p:sp>
          <p:nvSpPr>
            <p:cNvPr id="50" name="Прямоугольник: скругленные углы 38">
              <a:extLst>
                <a:ext uri="{FF2B5EF4-FFF2-40B4-BE49-F238E27FC236}">
                  <a16:creationId xmlns:a16="http://schemas.microsoft.com/office/drawing/2014/main" id="{4257A3B2-653D-6A42-88F3-40F94BEB74F7}"/>
                </a:ext>
              </a:extLst>
            </p:cNvPr>
            <p:cNvSpPr/>
            <p:nvPr userDrawn="1"/>
          </p:nvSpPr>
          <p:spPr>
            <a:xfrm>
              <a:off x="-2138458" y="3125312"/>
              <a:ext cx="1928241" cy="2468818"/>
            </a:xfrm>
            <a:prstGeom prst="roundRect">
              <a:avLst>
                <a:gd name="adj" fmla="val 5926"/>
              </a:avLst>
            </a:prstGeom>
            <a:solidFill>
              <a:schemeClr val="bg1"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3" name="Прямоугольник: скругленные верхние углы 39">
              <a:extLst>
                <a:ext uri="{FF2B5EF4-FFF2-40B4-BE49-F238E27FC236}">
                  <a16:creationId xmlns:a16="http://schemas.microsoft.com/office/drawing/2014/main" id="{2DD0E750-5A81-5148-A122-DA8B993B4B36}"/>
                </a:ext>
              </a:extLst>
            </p:cNvPr>
            <p:cNvSpPr/>
            <p:nvPr/>
          </p:nvSpPr>
          <p:spPr>
            <a:xfrm>
              <a:off x="-2136930" y="3070447"/>
              <a:ext cx="1926713" cy="28800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36000" rtlCol="0" anchor="ctr"/>
            <a:lstStyle/>
            <a:p>
              <a:pPr algn="ctr"/>
              <a:r>
                <a:rPr lang="ru-RU" sz="1100" b="1">
                  <a:solidFill>
                    <a:schemeClr val="tx1"/>
                  </a:solidFill>
                </a:rPr>
                <a:t>Цвета </a:t>
              </a:r>
              <a:r>
                <a:rPr lang="en-US" sz="1100" b="1">
                  <a:solidFill>
                    <a:schemeClr val="tx1"/>
                  </a:solidFill>
                </a:rPr>
                <a:t>Ozon</a:t>
              </a:r>
              <a:endParaRPr lang="ru-RU" sz="1100" b="1">
                <a:solidFill>
                  <a:schemeClr val="tx1"/>
                </a:solidFill>
              </a:endParaRPr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7F082253-DD74-384E-B741-50C9CCCD68A6}"/>
                </a:ext>
              </a:extLst>
            </p:cNvPr>
            <p:cNvSpPr txBox="1"/>
            <p:nvPr/>
          </p:nvSpPr>
          <p:spPr>
            <a:xfrm>
              <a:off x="-2003446" y="3412239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текста </a:t>
              </a:r>
            </a:p>
          </p:txBody>
        </p:sp>
        <p:sp>
          <p:nvSpPr>
            <p:cNvPr id="69" name="Прямоугольник: скругленные углы 41">
              <a:extLst>
                <a:ext uri="{FF2B5EF4-FFF2-40B4-BE49-F238E27FC236}">
                  <a16:creationId xmlns:a16="http://schemas.microsoft.com/office/drawing/2014/main" id="{86C5C00D-FAE2-B84D-BEC2-20471F019D10}"/>
                </a:ext>
              </a:extLst>
            </p:cNvPr>
            <p:cNvSpPr/>
            <p:nvPr/>
          </p:nvSpPr>
          <p:spPr>
            <a:xfrm>
              <a:off x="-2004344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0" name="Прямоугольник: скругленные углы 42">
              <a:extLst>
                <a:ext uri="{FF2B5EF4-FFF2-40B4-BE49-F238E27FC236}">
                  <a16:creationId xmlns:a16="http://schemas.microsoft.com/office/drawing/2014/main" id="{A7D2A123-904D-4D4E-B29F-2F4E37E9A21F}"/>
                </a:ext>
              </a:extLst>
            </p:cNvPr>
            <p:cNvSpPr/>
            <p:nvPr/>
          </p:nvSpPr>
          <p:spPr>
            <a:xfrm>
              <a:off x="-1738339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6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FBDB792B-A1F4-FF4F-9980-667849588703}"/>
                </a:ext>
              </a:extLst>
            </p:cNvPr>
            <p:cNvSpPr txBox="1"/>
            <p:nvPr/>
          </p:nvSpPr>
          <p:spPr>
            <a:xfrm>
              <a:off x="-2003446" y="3935644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больших плашек</a:t>
              </a:r>
            </a:p>
          </p:txBody>
        </p:sp>
        <p:sp>
          <p:nvSpPr>
            <p:cNvPr id="72" name="Прямоугольник: скругленные углы 48">
              <a:extLst>
                <a:ext uri="{FF2B5EF4-FFF2-40B4-BE49-F238E27FC236}">
                  <a16:creationId xmlns:a16="http://schemas.microsoft.com/office/drawing/2014/main" id="{3D169822-92BD-554A-8B63-3899F9638B69}"/>
                </a:ext>
              </a:extLst>
            </p:cNvPr>
            <p:cNvSpPr/>
            <p:nvPr userDrawn="1"/>
          </p:nvSpPr>
          <p:spPr>
            <a:xfrm>
              <a:off x="-2004963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3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686F239C-1BC3-8844-A33B-2456CED6C5EB}"/>
                </a:ext>
              </a:extLst>
            </p:cNvPr>
            <p:cNvSpPr txBox="1"/>
            <p:nvPr/>
          </p:nvSpPr>
          <p:spPr>
            <a:xfrm>
              <a:off x="-2003446" y="4451492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а маленьких плашек</a:t>
              </a:r>
            </a:p>
          </p:txBody>
        </p:sp>
        <p:sp>
          <p:nvSpPr>
            <p:cNvPr id="74" name="Прямоугольник: скругленные углы 52">
              <a:extLst>
                <a:ext uri="{FF2B5EF4-FFF2-40B4-BE49-F238E27FC236}">
                  <a16:creationId xmlns:a16="http://schemas.microsoft.com/office/drawing/2014/main" id="{459A6E71-3826-9647-9553-B6920FBC8438}"/>
                </a:ext>
              </a:extLst>
            </p:cNvPr>
            <p:cNvSpPr/>
            <p:nvPr/>
          </p:nvSpPr>
          <p:spPr>
            <a:xfrm>
              <a:off x="-1739900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B7EDC9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5" name="Прямоугольник: скругленные углы 53">
              <a:extLst>
                <a:ext uri="{FF2B5EF4-FFF2-40B4-BE49-F238E27FC236}">
                  <a16:creationId xmlns:a16="http://schemas.microsoft.com/office/drawing/2014/main" id="{93A5957A-BE91-8749-A437-CFFAE3C333C1}"/>
                </a:ext>
              </a:extLst>
            </p:cNvPr>
            <p:cNvSpPr/>
            <p:nvPr/>
          </p:nvSpPr>
          <p:spPr>
            <a:xfrm>
              <a:off x="-1474837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FA800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6" name="Прямоугольник: скругленные углы 54">
              <a:extLst>
                <a:ext uri="{FF2B5EF4-FFF2-40B4-BE49-F238E27FC236}">
                  <a16:creationId xmlns:a16="http://schemas.microsoft.com/office/drawing/2014/main" id="{867EB637-2AF1-7945-AA94-6473997CD7E8}"/>
                </a:ext>
              </a:extLst>
            </p:cNvPr>
            <p:cNvSpPr/>
            <p:nvPr/>
          </p:nvSpPr>
          <p:spPr>
            <a:xfrm>
              <a:off x="-2004963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10C44C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F93B3DAD-57D1-BF4C-A33E-EA5180B7D7D6}"/>
                </a:ext>
              </a:extLst>
            </p:cNvPr>
            <p:cNvSpPr txBox="1"/>
            <p:nvPr/>
          </p:nvSpPr>
          <p:spPr>
            <a:xfrm>
              <a:off x="-2003446" y="4973480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900"/>
                <a:t>Рост / падение показателей</a:t>
              </a:r>
            </a:p>
          </p:txBody>
        </p:sp>
        <p:sp>
          <p:nvSpPr>
            <p:cNvPr id="78" name="Прямоугольник: скругленные углы 43">
              <a:extLst>
                <a:ext uri="{FF2B5EF4-FFF2-40B4-BE49-F238E27FC236}">
                  <a16:creationId xmlns:a16="http://schemas.microsoft.com/office/drawing/2014/main" id="{321A7AFF-70D2-594B-91F6-08D74F6DC47F}"/>
                </a:ext>
              </a:extLst>
            </p:cNvPr>
            <p:cNvSpPr/>
            <p:nvPr/>
          </p:nvSpPr>
          <p:spPr>
            <a:xfrm>
              <a:off x="-2004963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3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9" name="Прямоугольник: скругленные углы 51">
              <a:extLst>
                <a:ext uri="{FF2B5EF4-FFF2-40B4-BE49-F238E27FC236}">
                  <a16:creationId xmlns:a16="http://schemas.microsoft.com/office/drawing/2014/main" id="{B2C22744-12B2-1944-A4FF-9A6D719826DE}"/>
                </a:ext>
              </a:extLst>
            </p:cNvPr>
            <p:cNvSpPr/>
            <p:nvPr/>
          </p:nvSpPr>
          <p:spPr>
            <a:xfrm>
              <a:off x="-1740264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2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0" name="Прямоугольник: скругленные углы 56">
              <a:extLst>
                <a:ext uri="{FF2B5EF4-FFF2-40B4-BE49-F238E27FC236}">
                  <a16:creationId xmlns:a16="http://schemas.microsoft.com/office/drawing/2014/main" id="{B238B270-9CB6-4F44-9A08-1EB6BE9731ED}"/>
                </a:ext>
              </a:extLst>
            </p:cNvPr>
            <p:cNvSpPr/>
            <p:nvPr/>
          </p:nvSpPr>
          <p:spPr>
            <a:xfrm>
              <a:off x="-1474837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1" name="Прямоугольник: скругленные углы 57">
              <a:extLst>
                <a:ext uri="{FF2B5EF4-FFF2-40B4-BE49-F238E27FC236}">
                  <a16:creationId xmlns:a16="http://schemas.microsoft.com/office/drawing/2014/main" id="{C2E07BB3-BD75-2A4B-8AD3-E4EBA018F961}"/>
                </a:ext>
              </a:extLst>
            </p:cNvPr>
            <p:cNvSpPr/>
            <p:nvPr/>
          </p:nvSpPr>
          <p:spPr>
            <a:xfrm>
              <a:off x="-2131314" y="5782119"/>
              <a:ext cx="1928240" cy="1075881"/>
            </a:xfrm>
            <a:prstGeom prst="roundRect">
              <a:avLst>
                <a:gd name="adj" fmla="val 12985"/>
              </a:avLst>
            </a:prstGeom>
            <a:solidFill>
              <a:schemeClr val="bg1"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4340FA73-EFE0-7347-B844-E62AF189709E}"/>
                </a:ext>
              </a:extLst>
            </p:cNvPr>
            <p:cNvSpPr txBox="1"/>
            <p:nvPr/>
          </p:nvSpPr>
          <p:spPr>
            <a:xfrm>
              <a:off x="-1788338" y="5868204"/>
              <a:ext cx="1155882" cy="15109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l">
                <a:lnSpc>
                  <a:spcPct val="90000"/>
                </a:lnSpc>
              </a:pPr>
              <a:r>
                <a:rPr lang="ru-RU" sz="1000" b="1">
                  <a:solidFill>
                    <a:schemeClr val="accent1"/>
                  </a:solidFill>
                </a:rPr>
                <a:t>Шаблон </a:t>
              </a:r>
              <a:r>
                <a:rPr lang="en-US" sz="1000" b="1">
                  <a:solidFill>
                    <a:schemeClr val="accent1"/>
                  </a:solidFill>
                </a:rPr>
                <a:t>Ozon</a:t>
              </a:r>
              <a:endParaRPr lang="ru-RU" sz="1000" b="1">
                <a:solidFill>
                  <a:schemeClr val="accent1"/>
                </a:solidFill>
              </a:endParaRPr>
            </a:p>
          </p:txBody>
        </p:sp>
        <p:sp>
          <p:nvSpPr>
            <p:cNvPr id="83" name="Рисунок 93">
              <a:extLst>
                <a:ext uri="{FF2B5EF4-FFF2-40B4-BE49-F238E27FC236}">
                  <a16:creationId xmlns:a16="http://schemas.microsoft.com/office/drawing/2014/main" id="{35D7E50E-0B9E-164C-834F-88BC113D34FA}"/>
                </a:ext>
              </a:extLst>
            </p:cNvPr>
            <p:cNvSpPr/>
            <p:nvPr/>
          </p:nvSpPr>
          <p:spPr>
            <a:xfrm>
              <a:off x="-2004963" y="5853908"/>
              <a:ext cx="161099" cy="161099"/>
            </a:xfrm>
            <a:custGeom>
              <a:avLst/>
              <a:gdLst>
                <a:gd name="connsiteX0" fmla="*/ 85725 w 171450"/>
                <a:gd name="connsiteY0" fmla="*/ 171450 h 171450"/>
                <a:gd name="connsiteX1" fmla="*/ 171450 w 171450"/>
                <a:gd name="connsiteY1" fmla="*/ 85725 h 171450"/>
                <a:gd name="connsiteX2" fmla="*/ 85725 w 171450"/>
                <a:gd name="connsiteY2" fmla="*/ 0 h 171450"/>
                <a:gd name="connsiteX3" fmla="*/ 0 w 171450"/>
                <a:gd name="connsiteY3" fmla="*/ 85725 h 171450"/>
                <a:gd name="connsiteX4" fmla="*/ 85725 w 171450"/>
                <a:gd name="connsiteY4" fmla="*/ 171450 h 171450"/>
                <a:gd name="connsiteX5" fmla="*/ 130560 w 171450"/>
                <a:gd name="connsiteY5" fmla="*/ 73410 h 171450"/>
                <a:gd name="connsiteX6" fmla="*/ 82935 w 171450"/>
                <a:gd name="connsiteY6" fmla="*/ 121035 h 171450"/>
                <a:gd name="connsiteX7" fmla="*/ 69465 w 171450"/>
                <a:gd name="connsiteY7" fmla="*/ 121035 h 171450"/>
                <a:gd name="connsiteX8" fmla="*/ 40890 w 171450"/>
                <a:gd name="connsiteY8" fmla="*/ 92460 h 171450"/>
                <a:gd name="connsiteX9" fmla="*/ 40890 w 171450"/>
                <a:gd name="connsiteY9" fmla="*/ 78990 h 171450"/>
                <a:gd name="connsiteX10" fmla="*/ 54360 w 171450"/>
                <a:gd name="connsiteY10" fmla="*/ 78990 h 171450"/>
                <a:gd name="connsiteX11" fmla="*/ 76200 w 171450"/>
                <a:gd name="connsiteY11" fmla="*/ 100830 h 171450"/>
                <a:gd name="connsiteX12" fmla="*/ 117090 w 171450"/>
                <a:gd name="connsiteY12" fmla="*/ 59940 h 171450"/>
                <a:gd name="connsiteX13" fmla="*/ 130560 w 171450"/>
                <a:gd name="connsiteY13" fmla="*/ 59940 h 171450"/>
                <a:gd name="connsiteX14" fmla="*/ 130560 w 171450"/>
                <a:gd name="connsiteY14" fmla="*/ 7341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71450" h="171450">
                  <a:moveTo>
                    <a:pt x="85725" y="171450"/>
                  </a:moveTo>
                  <a:cubicBezTo>
                    <a:pt x="138915" y="171450"/>
                    <a:pt x="171450" y="138915"/>
                    <a:pt x="171450" y="85725"/>
                  </a:cubicBezTo>
                  <a:cubicBezTo>
                    <a:pt x="171450" y="32535"/>
                    <a:pt x="138915" y="0"/>
                    <a:pt x="85725" y="0"/>
                  </a:cubicBezTo>
                  <a:cubicBezTo>
                    <a:pt x="32535" y="0"/>
                    <a:pt x="0" y="32535"/>
                    <a:pt x="0" y="85725"/>
                  </a:cubicBezTo>
                  <a:cubicBezTo>
                    <a:pt x="0" y="138915"/>
                    <a:pt x="32535" y="171450"/>
                    <a:pt x="85725" y="171450"/>
                  </a:cubicBezTo>
                  <a:close/>
                  <a:moveTo>
                    <a:pt x="130560" y="73410"/>
                  </a:moveTo>
                  <a:lnTo>
                    <a:pt x="82935" y="121035"/>
                  </a:lnTo>
                  <a:cubicBezTo>
                    <a:pt x="79216" y="124755"/>
                    <a:pt x="73184" y="124755"/>
                    <a:pt x="69465" y="121035"/>
                  </a:cubicBezTo>
                  <a:lnTo>
                    <a:pt x="40890" y="92460"/>
                  </a:lnTo>
                  <a:cubicBezTo>
                    <a:pt x="37170" y="88741"/>
                    <a:pt x="37170" y="82709"/>
                    <a:pt x="40890" y="78990"/>
                  </a:cubicBezTo>
                  <a:cubicBezTo>
                    <a:pt x="44610" y="75270"/>
                    <a:pt x="50640" y="75270"/>
                    <a:pt x="54360" y="78990"/>
                  </a:cubicBezTo>
                  <a:lnTo>
                    <a:pt x="76200" y="100830"/>
                  </a:lnTo>
                  <a:lnTo>
                    <a:pt x="117090" y="59940"/>
                  </a:lnTo>
                  <a:cubicBezTo>
                    <a:pt x="120809" y="56220"/>
                    <a:pt x="126841" y="56220"/>
                    <a:pt x="130560" y="59940"/>
                  </a:cubicBezTo>
                  <a:cubicBezTo>
                    <a:pt x="134280" y="63660"/>
                    <a:pt x="134280" y="69691"/>
                    <a:pt x="130560" y="7341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BC3A8A21-9B73-F24F-9D85-C8297CC039D7}"/>
                </a:ext>
              </a:extLst>
            </p:cNvPr>
            <p:cNvSpPr txBox="1"/>
            <p:nvPr userDrawn="1"/>
          </p:nvSpPr>
          <p:spPr>
            <a:xfrm>
              <a:off x="-2004962" y="6072106"/>
              <a:ext cx="1687587" cy="60024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>
                <a:lnSpc>
                  <a:spcPct val="110000"/>
                </a:lnSpc>
              </a:pPr>
              <a:r>
                <a:rPr lang="ru-RU" sz="900" spc="-30" baseline="0">
                  <a:solidFill>
                    <a:schemeClr val="tx2"/>
                  </a:solidFill>
                </a:rPr>
                <a:t>Если нужно больше материалов: </a:t>
              </a:r>
              <a:r>
                <a:rPr lang="ru-RU" sz="900" b="1" spc="-30" baseline="0">
                  <a:solidFill>
                    <a:schemeClr val="tx2"/>
                  </a:solidFill>
                </a:rPr>
                <a:t>правое меню </a:t>
              </a:r>
              <a:r>
                <a:rPr lang="en-US" sz="900" b="1" spc="-30" baseline="0">
                  <a:solidFill>
                    <a:schemeClr val="tx2"/>
                  </a:solidFill>
                </a:rPr>
                <a:t>Staff — Brand </a:t>
              </a:r>
              <a:r>
                <a:rPr lang="ru-RU" sz="900" b="1" spc="-30" baseline="0">
                  <a:solidFill>
                    <a:schemeClr val="tx2"/>
                  </a:solidFill>
                </a:rPr>
                <a:t>— Всё для презентаций. </a:t>
              </a:r>
              <a:r>
                <a:rPr lang="ru-RU" sz="900" b="0" spc="-30" baseline="0">
                  <a:solidFill>
                    <a:schemeClr val="tx2"/>
                  </a:solidFill>
                </a:rPr>
                <a:t>Или пиши нам на </a:t>
              </a:r>
              <a:r>
                <a:rPr lang="en-US" sz="900" b="0" spc="-30" baseline="0">
                  <a:solidFill>
                    <a:schemeClr val="tx2"/>
                  </a:solidFill>
                </a:rPr>
                <a:t>presentations@ozon.ru.</a:t>
              </a:r>
              <a:r>
                <a:rPr lang="ru-RU" sz="900" b="0" spc="-30" baseline="0">
                  <a:solidFill>
                    <a:schemeClr val="tx2"/>
                  </a:solidFill>
                </a:rPr>
                <a:t> </a:t>
              </a:r>
            </a:p>
          </p:txBody>
        </p:sp>
        <p:sp>
          <p:nvSpPr>
            <p:cNvPr id="85" name="Прямоугольник: скругленные углы 63">
              <a:extLst>
                <a:ext uri="{FF2B5EF4-FFF2-40B4-BE49-F238E27FC236}">
                  <a16:creationId xmlns:a16="http://schemas.microsoft.com/office/drawing/2014/main" id="{568B5506-CB45-3644-9AC6-65068B50C5CD}"/>
                </a:ext>
              </a:extLst>
            </p:cNvPr>
            <p:cNvSpPr/>
            <p:nvPr/>
          </p:nvSpPr>
          <p:spPr>
            <a:xfrm>
              <a:off x="-944711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53C14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6" name="Прямоугольник: скругленные углы 64">
              <a:extLst>
                <a:ext uri="{FF2B5EF4-FFF2-40B4-BE49-F238E27FC236}">
                  <a16:creationId xmlns:a16="http://schemas.microsoft.com/office/drawing/2014/main" id="{704507D1-6554-3445-A893-C3E99FF77EBF}"/>
                </a:ext>
              </a:extLst>
            </p:cNvPr>
            <p:cNvSpPr/>
            <p:nvPr/>
          </p:nvSpPr>
          <p:spPr>
            <a:xfrm>
              <a:off x="-679648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CC4B8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7" name="Прямоугольник: скругленные углы 65">
              <a:extLst>
                <a:ext uri="{FF2B5EF4-FFF2-40B4-BE49-F238E27FC236}">
                  <a16:creationId xmlns:a16="http://schemas.microsoft.com/office/drawing/2014/main" id="{769BFD11-DA86-5845-8F9D-7108626C4F54}"/>
                </a:ext>
              </a:extLst>
            </p:cNvPr>
            <p:cNvSpPr/>
            <p:nvPr/>
          </p:nvSpPr>
          <p:spPr>
            <a:xfrm>
              <a:off x="-1209774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FE5B2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8" name="Прямоугольник: скругленные верхние углы 12">
              <a:extLst>
                <a:ext uri="{FF2B5EF4-FFF2-40B4-BE49-F238E27FC236}">
                  <a16:creationId xmlns:a16="http://schemas.microsoft.com/office/drawing/2014/main" id="{B3E4EDD5-2D06-8441-BA59-C8B7EAD926AB}"/>
                </a:ext>
              </a:extLst>
            </p:cNvPr>
            <p:cNvSpPr/>
            <p:nvPr/>
          </p:nvSpPr>
          <p:spPr>
            <a:xfrm>
              <a:off x="-2136930" y="3070447"/>
              <a:ext cx="1926713" cy="28800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36000" rtlCol="0" anchor="ctr"/>
            <a:lstStyle/>
            <a:p>
              <a:pPr algn="ctr"/>
              <a:r>
                <a:rPr lang="ru-RU" sz="1100" b="1">
                  <a:solidFill>
                    <a:schemeClr val="tx1"/>
                  </a:solidFill>
                </a:rPr>
                <a:t>Цвета </a:t>
              </a:r>
              <a:r>
                <a:rPr lang="en-US" sz="1100" b="1">
                  <a:solidFill>
                    <a:schemeClr val="tx1"/>
                  </a:solidFill>
                </a:rPr>
                <a:t>Ozon</a:t>
              </a:r>
              <a:endParaRPr lang="ru-RU" sz="1100" b="1">
                <a:solidFill>
                  <a:schemeClr val="tx1"/>
                </a:solidFill>
              </a:endParaRPr>
            </a:p>
          </p:txBody>
        </p:sp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70AFF32F-F5B7-EE42-A83B-8ECFA5DBBDB3}"/>
                </a:ext>
              </a:extLst>
            </p:cNvPr>
            <p:cNvSpPr txBox="1"/>
            <p:nvPr/>
          </p:nvSpPr>
          <p:spPr>
            <a:xfrm>
              <a:off x="-2003446" y="3412239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текста </a:t>
              </a:r>
            </a:p>
          </p:txBody>
        </p:sp>
        <p:sp>
          <p:nvSpPr>
            <p:cNvPr id="90" name="Прямоугольник: скругленные углы 15">
              <a:extLst>
                <a:ext uri="{FF2B5EF4-FFF2-40B4-BE49-F238E27FC236}">
                  <a16:creationId xmlns:a16="http://schemas.microsoft.com/office/drawing/2014/main" id="{78AFFE3A-93F9-BD49-B40C-12E9F0FB5826}"/>
                </a:ext>
              </a:extLst>
            </p:cNvPr>
            <p:cNvSpPr/>
            <p:nvPr/>
          </p:nvSpPr>
          <p:spPr>
            <a:xfrm>
              <a:off x="-2004344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1" name="Прямоугольник: скругленные углы 16">
              <a:extLst>
                <a:ext uri="{FF2B5EF4-FFF2-40B4-BE49-F238E27FC236}">
                  <a16:creationId xmlns:a16="http://schemas.microsoft.com/office/drawing/2014/main" id="{0959F5F7-C932-4944-A9D9-004C4AAAF6BB}"/>
                </a:ext>
              </a:extLst>
            </p:cNvPr>
            <p:cNvSpPr/>
            <p:nvPr/>
          </p:nvSpPr>
          <p:spPr>
            <a:xfrm>
              <a:off x="-1738339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6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D16CF2AD-724B-F44C-AE2A-443441C35A28}"/>
                </a:ext>
              </a:extLst>
            </p:cNvPr>
            <p:cNvSpPr txBox="1"/>
            <p:nvPr/>
          </p:nvSpPr>
          <p:spPr>
            <a:xfrm>
              <a:off x="-1788338" y="5868204"/>
              <a:ext cx="1155882" cy="15109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l">
                <a:lnSpc>
                  <a:spcPct val="90000"/>
                </a:lnSpc>
              </a:pPr>
              <a:r>
                <a:rPr lang="ru-RU" sz="1000" b="1">
                  <a:solidFill>
                    <a:schemeClr val="accent1"/>
                  </a:solidFill>
                </a:rPr>
                <a:t>Шаблон </a:t>
              </a:r>
              <a:r>
                <a:rPr lang="en-US" sz="1000" b="1">
                  <a:solidFill>
                    <a:schemeClr val="accent1"/>
                  </a:solidFill>
                </a:rPr>
                <a:t>Ozon</a:t>
              </a:r>
              <a:endParaRPr lang="ru-RU" sz="1000" b="1">
                <a:solidFill>
                  <a:schemeClr val="accent1"/>
                </a:solidFill>
              </a:endParaRPr>
            </a:p>
          </p:txBody>
        </p:sp>
        <p:sp>
          <p:nvSpPr>
            <p:cNvPr id="93" name="Прямоугольник: скругленные углы 48">
              <a:extLst>
                <a:ext uri="{FF2B5EF4-FFF2-40B4-BE49-F238E27FC236}">
                  <a16:creationId xmlns:a16="http://schemas.microsoft.com/office/drawing/2014/main" id="{48AAFC6C-AA70-CD4F-926F-CCD16ED7FBA4}"/>
                </a:ext>
              </a:extLst>
            </p:cNvPr>
            <p:cNvSpPr/>
            <p:nvPr userDrawn="1"/>
          </p:nvSpPr>
          <p:spPr>
            <a:xfrm>
              <a:off x="-1741352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1">
                <a:lumMod val="75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15102496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8">
          <p15:clr>
            <a:srgbClr val="F26B43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_colo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9C6A208F-2A8F-8640-1889-7EF3989875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6547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33" imgH="233" progId="TCLayout.ActiveDocument.1">
                  <p:embed/>
                </p:oleObj>
              </mc:Choice>
              <mc:Fallback>
                <p:oleObj name="Слайд think-cell" r:id="rId3" imgW="233" imgH="233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9C6A208F-2A8F-8640-1889-7EF3989875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Прямоугольник: скругленные углы 34">
            <a:extLst>
              <a:ext uri="{FF2B5EF4-FFF2-40B4-BE49-F238E27FC236}">
                <a16:creationId xmlns:a16="http://schemas.microsoft.com/office/drawing/2014/main" id="{C9800CF7-ABC5-B2F5-0454-607E6375863B}"/>
              </a:ext>
            </a:extLst>
          </p:cNvPr>
          <p:cNvSpPr/>
          <p:nvPr/>
        </p:nvSpPr>
        <p:spPr>
          <a:xfrm>
            <a:off x="-2138458" y="54865"/>
            <a:ext cx="1928241" cy="2826069"/>
          </a:xfrm>
          <a:prstGeom prst="roundRect">
            <a:avLst>
              <a:gd name="adj" fmla="val 5926"/>
            </a:avLst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" name="Прямоугольник: скругленные верхние углы 35">
            <a:extLst>
              <a:ext uri="{FF2B5EF4-FFF2-40B4-BE49-F238E27FC236}">
                <a16:creationId xmlns:a16="http://schemas.microsoft.com/office/drawing/2014/main" id="{C2940C45-7EC6-0986-B020-2D94E4C01F25}"/>
              </a:ext>
            </a:extLst>
          </p:cNvPr>
          <p:cNvSpPr/>
          <p:nvPr/>
        </p:nvSpPr>
        <p:spPr>
          <a:xfrm>
            <a:off x="-2136930" y="0"/>
            <a:ext cx="1926713" cy="2880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36000" rtlCol="0" anchor="ctr"/>
          <a:lstStyle/>
          <a:p>
            <a:pPr algn="ctr"/>
            <a:r>
              <a:rPr lang="ru-RU" sz="1100" b="1">
                <a:solidFill>
                  <a:schemeClr val="tx1"/>
                </a:solidFill>
              </a:rPr>
              <a:t>Размеры текста</a:t>
            </a:r>
          </a:p>
        </p:txBody>
      </p:sp>
      <p:graphicFrame>
        <p:nvGraphicFramePr>
          <p:cNvPr id="37" name="Таблица 46">
            <a:extLst>
              <a:ext uri="{FF2B5EF4-FFF2-40B4-BE49-F238E27FC236}">
                <a16:creationId xmlns:a16="http://schemas.microsoft.com/office/drawing/2014/main" id="{22E21D68-4F58-F199-36D3-C10450C366F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20574792"/>
              </p:ext>
            </p:extLst>
          </p:nvPr>
        </p:nvGraphicFramePr>
        <p:xfrm>
          <a:off x="-2046114" y="312643"/>
          <a:ext cx="1958731" cy="2142000"/>
        </p:xfrm>
        <a:graphic>
          <a:graphicData uri="http://schemas.openxmlformats.org/drawingml/2006/table">
            <a:tbl>
              <a:tblPr/>
              <a:tblGrid>
                <a:gridCol w="532517">
                  <a:extLst>
                    <a:ext uri="{9D8B030D-6E8A-4147-A177-3AD203B41FA5}">
                      <a16:colId xmlns:a16="http://schemas.microsoft.com/office/drawing/2014/main" val="2594385797"/>
                    </a:ext>
                  </a:extLst>
                </a:gridCol>
                <a:gridCol w="1426214">
                  <a:extLst>
                    <a:ext uri="{9D8B030D-6E8A-4147-A177-3AD203B41FA5}">
                      <a16:colId xmlns:a16="http://schemas.microsoft.com/office/drawing/2014/main" val="1017723076"/>
                    </a:ext>
                  </a:extLst>
                </a:gridCol>
              </a:tblGrid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44+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0" spc="-40" baseline="0"/>
                        <a:t>акцентные цифр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8329665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32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заголовки и самые </a:t>
                      </a:r>
                      <a:br>
                        <a:rPr lang="ru-RU" sz="1000" spc="-40" baseline="0"/>
                      </a:br>
                      <a:r>
                        <a:rPr lang="ru-RU" sz="1000" spc="-40" baseline="0"/>
                        <a:t>важные данные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17697917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24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8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подзаголовки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72780009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18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4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основной текст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0685745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4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2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торой уровень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текста (менее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ажная информация)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1997433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0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сноски, пояснения, </a:t>
                      </a:r>
                      <a:br>
                        <a:rPr lang="en-US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большие таблиц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76660845"/>
                  </a:ext>
                </a:extLst>
              </a:tr>
            </a:tbl>
          </a:graphicData>
        </a:graphic>
      </p:graphicFrame>
      <p:sp>
        <p:nvSpPr>
          <p:cNvPr id="38" name="Полилиния: фигура 37">
            <a:extLst>
              <a:ext uri="{FF2B5EF4-FFF2-40B4-BE49-F238E27FC236}">
                <a16:creationId xmlns:a16="http://schemas.microsoft.com/office/drawing/2014/main" id="{84FF97CD-0431-AB46-37C2-E699CA989913}"/>
              </a:ext>
            </a:extLst>
          </p:cNvPr>
          <p:cNvSpPr/>
          <p:nvPr/>
        </p:nvSpPr>
        <p:spPr>
          <a:xfrm>
            <a:off x="-2004344" y="2488864"/>
            <a:ext cx="216624" cy="228657"/>
          </a:xfrm>
          <a:custGeom>
            <a:avLst/>
            <a:gdLst>
              <a:gd name="connsiteX0" fmla="*/ 72536 w 171450"/>
              <a:gd name="connsiteY0" fmla="*/ 162210 h 180974"/>
              <a:gd name="connsiteX1" fmla="*/ 98923 w 171450"/>
              <a:gd name="connsiteY1" fmla="*/ 162210 h 180974"/>
              <a:gd name="connsiteX2" fmla="*/ 103600 w 171450"/>
              <a:gd name="connsiteY2" fmla="*/ 172160 h 180974"/>
              <a:gd name="connsiteX3" fmla="*/ 85726 w 171450"/>
              <a:gd name="connsiteY3" fmla="*/ 180974 h 180974"/>
              <a:gd name="connsiteX4" fmla="*/ 67852 w 171450"/>
              <a:gd name="connsiteY4" fmla="*/ 172160 h 180974"/>
              <a:gd name="connsiteX5" fmla="*/ 72536 w 171450"/>
              <a:gd name="connsiteY5" fmla="*/ 162210 h 180974"/>
              <a:gd name="connsiteX6" fmla="*/ 152400 w 171450"/>
              <a:gd name="connsiteY6" fmla="*/ 76200 h 180974"/>
              <a:gd name="connsiteX7" fmla="*/ 161925 w 171450"/>
              <a:gd name="connsiteY7" fmla="*/ 76200 h 180974"/>
              <a:gd name="connsiteX8" fmla="*/ 171450 w 171450"/>
              <a:gd name="connsiteY8" fmla="*/ 85725 h 180974"/>
              <a:gd name="connsiteX9" fmla="*/ 161925 w 171450"/>
              <a:gd name="connsiteY9" fmla="*/ 95250 h 180974"/>
              <a:gd name="connsiteX10" fmla="*/ 152400 w 171450"/>
              <a:gd name="connsiteY10" fmla="*/ 95250 h 180974"/>
              <a:gd name="connsiteX11" fmla="*/ 142875 w 171450"/>
              <a:gd name="connsiteY11" fmla="*/ 85725 h 180974"/>
              <a:gd name="connsiteX12" fmla="*/ 152400 w 171450"/>
              <a:gd name="connsiteY12" fmla="*/ 76200 h 180974"/>
              <a:gd name="connsiteX13" fmla="*/ 9525 w 171450"/>
              <a:gd name="connsiteY13" fmla="*/ 76200 h 180974"/>
              <a:gd name="connsiteX14" fmla="*/ 19050 w 171450"/>
              <a:gd name="connsiteY14" fmla="*/ 76200 h 180974"/>
              <a:gd name="connsiteX15" fmla="*/ 28575 w 171450"/>
              <a:gd name="connsiteY15" fmla="*/ 85725 h 180974"/>
              <a:gd name="connsiteX16" fmla="*/ 19050 w 171450"/>
              <a:gd name="connsiteY16" fmla="*/ 95250 h 180974"/>
              <a:gd name="connsiteX17" fmla="*/ 9525 w 171450"/>
              <a:gd name="connsiteY17" fmla="*/ 95250 h 180974"/>
              <a:gd name="connsiteX18" fmla="*/ 0 w 171450"/>
              <a:gd name="connsiteY18" fmla="*/ 85725 h 180974"/>
              <a:gd name="connsiteX19" fmla="*/ 9525 w 171450"/>
              <a:gd name="connsiteY19" fmla="*/ 76200 h 180974"/>
              <a:gd name="connsiteX20" fmla="*/ 85725 w 171450"/>
              <a:gd name="connsiteY20" fmla="*/ 38100 h 180974"/>
              <a:gd name="connsiteX21" fmla="*/ 133350 w 171450"/>
              <a:gd name="connsiteY21" fmla="*/ 85725 h 180974"/>
              <a:gd name="connsiteX22" fmla="*/ 123174 w 171450"/>
              <a:gd name="connsiteY22" fmla="*/ 114596 h 180974"/>
              <a:gd name="connsiteX23" fmla="*/ 114300 w 171450"/>
              <a:gd name="connsiteY23" fmla="*/ 138113 h 180974"/>
              <a:gd name="connsiteX24" fmla="*/ 85725 w 171450"/>
              <a:gd name="connsiteY24" fmla="*/ 152400 h 180974"/>
              <a:gd name="connsiteX25" fmla="*/ 57150 w 171450"/>
              <a:gd name="connsiteY25" fmla="*/ 138113 h 180974"/>
              <a:gd name="connsiteX26" fmla="*/ 48275 w 171450"/>
              <a:gd name="connsiteY26" fmla="*/ 114596 h 180974"/>
              <a:gd name="connsiteX27" fmla="*/ 38100 w 171450"/>
              <a:gd name="connsiteY27" fmla="*/ 85725 h 180974"/>
              <a:gd name="connsiteX28" fmla="*/ 85725 w 171450"/>
              <a:gd name="connsiteY28" fmla="*/ 38100 h 180974"/>
              <a:gd name="connsiteX29" fmla="*/ 136141 w 171450"/>
              <a:gd name="connsiteY29" fmla="*/ 21840 h 180974"/>
              <a:gd name="connsiteX30" fmla="*/ 149611 w 171450"/>
              <a:gd name="connsiteY30" fmla="*/ 21840 h 180974"/>
              <a:gd name="connsiteX31" fmla="*/ 149611 w 171450"/>
              <a:gd name="connsiteY31" fmla="*/ 35310 h 180974"/>
              <a:gd name="connsiteX32" fmla="*/ 140086 w 171450"/>
              <a:gd name="connsiteY32" fmla="*/ 44835 h 180974"/>
              <a:gd name="connsiteX33" fmla="*/ 126616 w 171450"/>
              <a:gd name="connsiteY33" fmla="*/ 44835 h 180974"/>
              <a:gd name="connsiteX34" fmla="*/ 126616 w 171450"/>
              <a:gd name="connsiteY34" fmla="*/ 31365 h 180974"/>
              <a:gd name="connsiteX35" fmla="*/ 21840 w 171450"/>
              <a:gd name="connsiteY35" fmla="*/ 21840 h 180974"/>
              <a:gd name="connsiteX36" fmla="*/ 35310 w 171450"/>
              <a:gd name="connsiteY36" fmla="*/ 21840 h 180974"/>
              <a:gd name="connsiteX37" fmla="*/ 44835 w 171450"/>
              <a:gd name="connsiteY37" fmla="*/ 31365 h 180974"/>
              <a:gd name="connsiteX38" fmla="*/ 44835 w 171450"/>
              <a:gd name="connsiteY38" fmla="*/ 44835 h 180974"/>
              <a:gd name="connsiteX39" fmla="*/ 31365 w 171450"/>
              <a:gd name="connsiteY39" fmla="*/ 44835 h 180974"/>
              <a:gd name="connsiteX40" fmla="*/ 21840 w 171450"/>
              <a:gd name="connsiteY40" fmla="*/ 35310 h 180974"/>
              <a:gd name="connsiteX41" fmla="*/ 21840 w 171450"/>
              <a:gd name="connsiteY41" fmla="*/ 21840 h 180974"/>
              <a:gd name="connsiteX42" fmla="*/ 85725 w 171450"/>
              <a:gd name="connsiteY42" fmla="*/ 0 h 180974"/>
              <a:gd name="connsiteX43" fmla="*/ 95250 w 171450"/>
              <a:gd name="connsiteY43" fmla="*/ 9525 h 180974"/>
              <a:gd name="connsiteX44" fmla="*/ 95250 w 171450"/>
              <a:gd name="connsiteY44" fmla="*/ 19050 h 180974"/>
              <a:gd name="connsiteX45" fmla="*/ 85725 w 171450"/>
              <a:gd name="connsiteY45" fmla="*/ 28575 h 180974"/>
              <a:gd name="connsiteX46" fmla="*/ 76200 w 171450"/>
              <a:gd name="connsiteY46" fmla="*/ 19050 h 180974"/>
              <a:gd name="connsiteX47" fmla="*/ 76200 w 171450"/>
              <a:gd name="connsiteY47" fmla="*/ 9525 h 180974"/>
              <a:gd name="connsiteX48" fmla="*/ 85725 w 171450"/>
              <a:gd name="connsiteY48" fmla="*/ 0 h 18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1450" h="180974">
                <a:moveTo>
                  <a:pt x="72536" y="162210"/>
                </a:moveTo>
                <a:cubicBezTo>
                  <a:pt x="80449" y="164140"/>
                  <a:pt x="90933" y="164211"/>
                  <a:pt x="98923" y="162210"/>
                </a:cubicBezTo>
                <a:cubicBezTo>
                  <a:pt x="105617" y="160534"/>
                  <a:pt x="105617" y="166533"/>
                  <a:pt x="103600" y="172160"/>
                </a:cubicBezTo>
                <a:cubicBezTo>
                  <a:pt x="100950" y="179549"/>
                  <a:pt x="95451" y="180974"/>
                  <a:pt x="85726" y="180974"/>
                </a:cubicBezTo>
                <a:cubicBezTo>
                  <a:pt x="76000" y="180974"/>
                  <a:pt x="70501" y="179549"/>
                  <a:pt x="67852" y="172160"/>
                </a:cubicBezTo>
                <a:cubicBezTo>
                  <a:pt x="65835" y="166534"/>
                  <a:pt x="65835" y="160576"/>
                  <a:pt x="72536" y="162210"/>
                </a:cubicBezTo>
                <a:close/>
                <a:moveTo>
                  <a:pt x="152400" y="76200"/>
                </a:moveTo>
                <a:lnTo>
                  <a:pt x="161925" y="76200"/>
                </a:lnTo>
                <a:cubicBezTo>
                  <a:pt x="167186" y="76200"/>
                  <a:pt x="171450" y="80464"/>
                  <a:pt x="171450" y="85725"/>
                </a:cubicBezTo>
                <a:cubicBezTo>
                  <a:pt x="171450" y="90986"/>
                  <a:pt x="167186" y="95250"/>
                  <a:pt x="161925" y="95250"/>
                </a:cubicBezTo>
                <a:lnTo>
                  <a:pt x="152400" y="95250"/>
                </a:lnTo>
                <a:cubicBezTo>
                  <a:pt x="147139" y="95250"/>
                  <a:pt x="142875" y="90986"/>
                  <a:pt x="142875" y="85725"/>
                </a:cubicBezTo>
                <a:cubicBezTo>
                  <a:pt x="142875" y="80464"/>
                  <a:pt x="147139" y="76200"/>
                  <a:pt x="152400" y="76200"/>
                </a:cubicBezTo>
                <a:close/>
                <a:moveTo>
                  <a:pt x="9525" y="76200"/>
                </a:moveTo>
                <a:lnTo>
                  <a:pt x="19050" y="76200"/>
                </a:lnTo>
                <a:cubicBezTo>
                  <a:pt x="24310" y="76200"/>
                  <a:pt x="28575" y="80464"/>
                  <a:pt x="28575" y="85725"/>
                </a:cubicBezTo>
                <a:cubicBezTo>
                  <a:pt x="28575" y="90986"/>
                  <a:pt x="24310" y="95250"/>
                  <a:pt x="19050" y="95250"/>
                </a:cubicBezTo>
                <a:lnTo>
                  <a:pt x="9525" y="95250"/>
                </a:lnTo>
                <a:cubicBezTo>
                  <a:pt x="4265" y="95250"/>
                  <a:pt x="0" y="90986"/>
                  <a:pt x="0" y="85725"/>
                </a:cubicBezTo>
                <a:cubicBezTo>
                  <a:pt x="0" y="80464"/>
                  <a:pt x="4265" y="76200"/>
                  <a:pt x="9525" y="76200"/>
                </a:cubicBezTo>
                <a:close/>
                <a:moveTo>
                  <a:pt x="85725" y="38100"/>
                </a:moveTo>
                <a:cubicBezTo>
                  <a:pt x="112027" y="38100"/>
                  <a:pt x="133350" y="58671"/>
                  <a:pt x="133350" y="85725"/>
                </a:cubicBezTo>
                <a:cubicBezTo>
                  <a:pt x="133350" y="100663"/>
                  <a:pt x="128144" y="107793"/>
                  <a:pt x="123174" y="114596"/>
                </a:cubicBezTo>
                <a:cubicBezTo>
                  <a:pt x="118639" y="120807"/>
                  <a:pt x="114300" y="126748"/>
                  <a:pt x="114300" y="138113"/>
                </a:cubicBezTo>
                <a:cubicBezTo>
                  <a:pt x="114300" y="147638"/>
                  <a:pt x="104775" y="152400"/>
                  <a:pt x="85725" y="152400"/>
                </a:cubicBezTo>
                <a:cubicBezTo>
                  <a:pt x="66675" y="152400"/>
                  <a:pt x="57150" y="147638"/>
                  <a:pt x="57150" y="138113"/>
                </a:cubicBezTo>
                <a:cubicBezTo>
                  <a:pt x="57150" y="126748"/>
                  <a:pt x="52811" y="120807"/>
                  <a:pt x="48275" y="114596"/>
                </a:cubicBezTo>
                <a:cubicBezTo>
                  <a:pt x="43306" y="107793"/>
                  <a:pt x="38100" y="100663"/>
                  <a:pt x="38100" y="85725"/>
                </a:cubicBezTo>
                <a:cubicBezTo>
                  <a:pt x="38100" y="57150"/>
                  <a:pt x="59422" y="38100"/>
                  <a:pt x="85725" y="38100"/>
                </a:cubicBezTo>
                <a:close/>
                <a:moveTo>
                  <a:pt x="136141" y="21840"/>
                </a:moveTo>
                <a:cubicBezTo>
                  <a:pt x="139860" y="18120"/>
                  <a:pt x="145891" y="18120"/>
                  <a:pt x="149611" y="21840"/>
                </a:cubicBezTo>
                <a:cubicBezTo>
                  <a:pt x="153330" y="25560"/>
                  <a:pt x="153330" y="31590"/>
                  <a:pt x="149611" y="35310"/>
                </a:cubicBezTo>
                <a:lnTo>
                  <a:pt x="140086" y="44835"/>
                </a:lnTo>
                <a:cubicBezTo>
                  <a:pt x="136366" y="48555"/>
                  <a:pt x="130335" y="48555"/>
                  <a:pt x="126616" y="44835"/>
                </a:cubicBezTo>
                <a:cubicBezTo>
                  <a:pt x="122896" y="41115"/>
                  <a:pt x="122896" y="35085"/>
                  <a:pt x="126616" y="31365"/>
                </a:cubicBezTo>
                <a:close/>
                <a:moveTo>
                  <a:pt x="21840" y="21840"/>
                </a:moveTo>
                <a:cubicBezTo>
                  <a:pt x="25560" y="18120"/>
                  <a:pt x="31590" y="18120"/>
                  <a:pt x="35310" y="21840"/>
                </a:cubicBezTo>
                <a:lnTo>
                  <a:pt x="44835" y="31365"/>
                </a:lnTo>
                <a:cubicBezTo>
                  <a:pt x="48555" y="35085"/>
                  <a:pt x="48555" y="41115"/>
                  <a:pt x="44835" y="44835"/>
                </a:cubicBezTo>
                <a:cubicBezTo>
                  <a:pt x="41115" y="48555"/>
                  <a:pt x="35085" y="48555"/>
                  <a:pt x="31365" y="44835"/>
                </a:cubicBezTo>
                <a:lnTo>
                  <a:pt x="21840" y="35310"/>
                </a:lnTo>
                <a:cubicBezTo>
                  <a:pt x="18120" y="31590"/>
                  <a:pt x="18120" y="25560"/>
                  <a:pt x="21840" y="21840"/>
                </a:cubicBezTo>
                <a:close/>
                <a:moveTo>
                  <a:pt x="85725" y="0"/>
                </a:moveTo>
                <a:cubicBezTo>
                  <a:pt x="90986" y="0"/>
                  <a:pt x="95250" y="4265"/>
                  <a:pt x="95250" y="9525"/>
                </a:cubicBezTo>
                <a:lnTo>
                  <a:pt x="95250" y="19050"/>
                </a:lnTo>
                <a:cubicBezTo>
                  <a:pt x="95250" y="24310"/>
                  <a:pt x="90986" y="28575"/>
                  <a:pt x="85725" y="28575"/>
                </a:cubicBezTo>
                <a:cubicBezTo>
                  <a:pt x="80464" y="28575"/>
                  <a:pt x="76200" y="24310"/>
                  <a:pt x="76200" y="19050"/>
                </a:cubicBezTo>
                <a:lnTo>
                  <a:pt x="76200" y="9525"/>
                </a:lnTo>
                <a:cubicBezTo>
                  <a:pt x="76200" y="4265"/>
                  <a:pt x="80464" y="0"/>
                  <a:pt x="85725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2" name="Полилиния: фигура 61">
            <a:extLst>
              <a:ext uri="{FF2B5EF4-FFF2-40B4-BE49-F238E27FC236}">
                <a16:creationId xmlns:a16="http://schemas.microsoft.com/office/drawing/2014/main" id="{A7B63E7B-62B1-B63D-8185-8BE47CB66443}"/>
              </a:ext>
            </a:extLst>
          </p:cNvPr>
          <p:cNvSpPr/>
          <p:nvPr/>
        </p:nvSpPr>
        <p:spPr>
          <a:xfrm>
            <a:off x="-2004344" y="2488864"/>
            <a:ext cx="216624" cy="228657"/>
          </a:xfrm>
          <a:custGeom>
            <a:avLst/>
            <a:gdLst>
              <a:gd name="connsiteX0" fmla="*/ 72536 w 171450"/>
              <a:gd name="connsiteY0" fmla="*/ 162210 h 180974"/>
              <a:gd name="connsiteX1" fmla="*/ 98923 w 171450"/>
              <a:gd name="connsiteY1" fmla="*/ 162210 h 180974"/>
              <a:gd name="connsiteX2" fmla="*/ 103600 w 171450"/>
              <a:gd name="connsiteY2" fmla="*/ 172160 h 180974"/>
              <a:gd name="connsiteX3" fmla="*/ 85726 w 171450"/>
              <a:gd name="connsiteY3" fmla="*/ 180974 h 180974"/>
              <a:gd name="connsiteX4" fmla="*/ 67852 w 171450"/>
              <a:gd name="connsiteY4" fmla="*/ 172160 h 180974"/>
              <a:gd name="connsiteX5" fmla="*/ 72536 w 171450"/>
              <a:gd name="connsiteY5" fmla="*/ 162210 h 180974"/>
              <a:gd name="connsiteX6" fmla="*/ 152400 w 171450"/>
              <a:gd name="connsiteY6" fmla="*/ 76200 h 180974"/>
              <a:gd name="connsiteX7" fmla="*/ 161925 w 171450"/>
              <a:gd name="connsiteY7" fmla="*/ 76200 h 180974"/>
              <a:gd name="connsiteX8" fmla="*/ 171450 w 171450"/>
              <a:gd name="connsiteY8" fmla="*/ 85725 h 180974"/>
              <a:gd name="connsiteX9" fmla="*/ 161925 w 171450"/>
              <a:gd name="connsiteY9" fmla="*/ 95250 h 180974"/>
              <a:gd name="connsiteX10" fmla="*/ 152400 w 171450"/>
              <a:gd name="connsiteY10" fmla="*/ 95250 h 180974"/>
              <a:gd name="connsiteX11" fmla="*/ 142875 w 171450"/>
              <a:gd name="connsiteY11" fmla="*/ 85725 h 180974"/>
              <a:gd name="connsiteX12" fmla="*/ 152400 w 171450"/>
              <a:gd name="connsiteY12" fmla="*/ 76200 h 180974"/>
              <a:gd name="connsiteX13" fmla="*/ 9525 w 171450"/>
              <a:gd name="connsiteY13" fmla="*/ 76200 h 180974"/>
              <a:gd name="connsiteX14" fmla="*/ 19050 w 171450"/>
              <a:gd name="connsiteY14" fmla="*/ 76200 h 180974"/>
              <a:gd name="connsiteX15" fmla="*/ 28575 w 171450"/>
              <a:gd name="connsiteY15" fmla="*/ 85725 h 180974"/>
              <a:gd name="connsiteX16" fmla="*/ 19050 w 171450"/>
              <a:gd name="connsiteY16" fmla="*/ 95250 h 180974"/>
              <a:gd name="connsiteX17" fmla="*/ 9525 w 171450"/>
              <a:gd name="connsiteY17" fmla="*/ 95250 h 180974"/>
              <a:gd name="connsiteX18" fmla="*/ 0 w 171450"/>
              <a:gd name="connsiteY18" fmla="*/ 85725 h 180974"/>
              <a:gd name="connsiteX19" fmla="*/ 9525 w 171450"/>
              <a:gd name="connsiteY19" fmla="*/ 76200 h 180974"/>
              <a:gd name="connsiteX20" fmla="*/ 85725 w 171450"/>
              <a:gd name="connsiteY20" fmla="*/ 38100 h 180974"/>
              <a:gd name="connsiteX21" fmla="*/ 133350 w 171450"/>
              <a:gd name="connsiteY21" fmla="*/ 85725 h 180974"/>
              <a:gd name="connsiteX22" fmla="*/ 123174 w 171450"/>
              <a:gd name="connsiteY22" fmla="*/ 114596 h 180974"/>
              <a:gd name="connsiteX23" fmla="*/ 114300 w 171450"/>
              <a:gd name="connsiteY23" fmla="*/ 138113 h 180974"/>
              <a:gd name="connsiteX24" fmla="*/ 85725 w 171450"/>
              <a:gd name="connsiteY24" fmla="*/ 152400 h 180974"/>
              <a:gd name="connsiteX25" fmla="*/ 57150 w 171450"/>
              <a:gd name="connsiteY25" fmla="*/ 138113 h 180974"/>
              <a:gd name="connsiteX26" fmla="*/ 48275 w 171450"/>
              <a:gd name="connsiteY26" fmla="*/ 114596 h 180974"/>
              <a:gd name="connsiteX27" fmla="*/ 38100 w 171450"/>
              <a:gd name="connsiteY27" fmla="*/ 85725 h 180974"/>
              <a:gd name="connsiteX28" fmla="*/ 85725 w 171450"/>
              <a:gd name="connsiteY28" fmla="*/ 38100 h 180974"/>
              <a:gd name="connsiteX29" fmla="*/ 136141 w 171450"/>
              <a:gd name="connsiteY29" fmla="*/ 21840 h 180974"/>
              <a:gd name="connsiteX30" fmla="*/ 149611 w 171450"/>
              <a:gd name="connsiteY30" fmla="*/ 21840 h 180974"/>
              <a:gd name="connsiteX31" fmla="*/ 149611 w 171450"/>
              <a:gd name="connsiteY31" fmla="*/ 35310 h 180974"/>
              <a:gd name="connsiteX32" fmla="*/ 140086 w 171450"/>
              <a:gd name="connsiteY32" fmla="*/ 44835 h 180974"/>
              <a:gd name="connsiteX33" fmla="*/ 126616 w 171450"/>
              <a:gd name="connsiteY33" fmla="*/ 44835 h 180974"/>
              <a:gd name="connsiteX34" fmla="*/ 126616 w 171450"/>
              <a:gd name="connsiteY34" fmla="*/ 31365 h 180974"/>
              <a:gd name="connsiteX35" fmla="*/ 21840 w 171450"/>
              <a:gd name="connsiteY35" fmla="*/ 21840 h 180974"/>
              <a:gd name="connsiteX36" fmla="*/ 35310 w 171450"/>
              <a:gd name="connsiteY36" fmla="*/ 21840 h 180974"/>
              <a:gd name="connsiteX37" fmla="*/ 44835 w 171450"/>
              <a:gd name="connsiteY37" fmla="*/ 31365 h 180974"/>
              <a:gd name="connsiteX38" fmla="*/ 44835 w 171450"/>
              <a:gd name="connsiteY38" fmla="*/ 44835 h 180974"/>
              <a:gd name="connsiteX39" fmla="*/ 31365 w 171450"/>
              <a:gd name="connsiteY39" fmla="*/ 44835 h 180974"/>
              <a:gd name="connsiteX40" fmla="*/ 21840 w 171450"/>
              <a:gd name="connsiteY40" fmla="*/ 35310 h 180974"/>
              <a:gd name="connsiteX41" fmla="*/ 21840 w 171450"/>
              <a:gd name="connsiteY41" fmla="*/ 21840 h 180974"/>
              <a:gd name="connsiteX42" fmla="*/ 85725 w 171450"/>
              <a:gd name="connsiteY42" fmla="*/ 0 h 180974"/>
              <a:gd name="connsiteX43" fmla="*/ 95250 w 171450"/>
              <a:gd name="connsiteY43" fmla="*/ 9525 h 180974"/>
              <a:gd name="connsiteX44" fmla="*/ 95250 w 171450"/>
              <a:gd name="connsiteY44" fmla="*/ 19050 h 180974"/>
              <a:gd name="connsiteX45" fmla="*/ 85725 w 171450"/>
              <a:gd name="connsiteY45" fmla="*/ 28575 h 180974"/>
              <a:gd name="connsiteX46" fmla="*/ 76200 w 171450"/>
              <a:gd name="connsiteY46" fmla="*/ 19050 h 180974"/>
              <a:gd name="connsiteX47" fmla="*/ 76200 w 171450"/>
              <a:gd name="connsiteY47" fmla="*/ 9525 h 180974"/>
              <a:gd name="connsiteX48" fmla="*/ 85725 w 171450"/>
              <a:gd name="connsiteY48" fmla="*/ 0 h 18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1450" h="180974">
                <a:moveTo>
                  <a:pt x="72536" y="162210"/>
                </a:moveTo>
                <a:cubicBezTo>
                  <a:pt x="80449" y="164140"/>
                  <a:pt x="90933" y="164211"/>
                  <a:pt x="98923" y="162210"/>
                </a:cubicBezTo>
                <a:cubicBezTo>
                  <a:pt x="105617" y="160534"/>
                  <a:pt x="105617" y="166533"/>
                  <a:pt x="103600" y="172160"/>
                </a:cubicBezTo>
                <a:cubicBezTo>
                  <a:pt x="100950" y="179549"/>
                  <a:pt x="95451" y="180974"/>
                  <a:pt x="85726" y="180974"/>
                </a:cubicBezTo>
                <a:cubicBezTo>
                  <a:pt x="76000" y="180974"/>
                  <a:pt x="70501" y="179549"/>
                  <a:pt x="67852" y="172160"/>
                </a:cubicBezTo>
                <a:cubicBezTo>
                  <a:pt x="65835" y="166534"/>
                  <a:pt x="65835" y="160576"/>
                  <a:pt x="72536" y="162210"/>
                </a:cubicBezTo>
                <a:close/>
                <a:moveTo>
                  <a:pt x="152400" y="76200"/>
                </a:moveTo>
                <a:lnTo>
                  <a:pt x="161925" y="76200"/>
                </a:lnTo>
                <a:cubicBezTo>
                  <a:pt x="167186" y="76200"/>
                  <a:pt x="171450" y="80464"/>
                  <a:pt x="171450" y="85725"/>
                </a:cubicBezTo>
                <a:cubicBezTo>
                  <a:pt x="171450" y="90986"/>
                  <a:pt x="167186" y="95250"/>
                  <a:pt x="161925" y="95250"/>
                </a:cubicBezTo>
                <a:lnTo>
                  <a:pt x="152400" y="95250"/>
                </a:lnTo>
                <a:cubicBezTo>
                  <a:pt x="147139" y="95250"/>
                  <a:pt x="142875" y="90986"/>
                  <a:pt x="142875" y="85725"/>
                </a:cubicBezTo>
                <a:cubicBezTo>
                  <a:pt x="142875" y="80464"/>
                  <a:pt x="147139" y="76200"/>
                  <a:pt x="152400" y="76200"/>
                </a:cubicBezTo>
                <a:close/>
                <a:moveTo>
                  <a:pt x="9525" y="76200"/>
                </a:moveTo>
                <a:lnTo>
                  <a:pt x="19050" y="76200"/>
                </a:lnTo>
                <a:cubicBezTo>
                  <a:pt x="24310" y="76200"/>
                  <a:pt x="28575" y="80464"/>
                  <a:pt x="28575" y="85725"/>
                </a:cubicBezTo>
                <a:cubicBezTo>
                  <a:pt x="28575" y="90986"/>
                  <a:pt x="24310" y="95250"/>
                  <a:pt x="19050" y="95250"/>
                </a:cubicBezTo>
                <a:lnTo>
                  <a:pt x="9525" y="95250"/>
                </a:lnTo>
                <a:cubicBezTo>
                  <a:pt x="4265" y="95250"/>
                  <a:pt x="0" y="90986"/>
                  <a:pt x="0" y="85725"/>
                </a:cubicBezTo>
                <a:cubicBezTo>
                  <a:pt x="0" y="80464"/>
                  <a:pt x="4265" y="76200"/>
                  <a:pt x="9525" y="76200"/>
                </a:cubicBezTo>
                <a:close/>
                <a:moveTo>
                  <a:pt x="85725" y="38100"/>
                </a:moveTo>
                <a:cubicBezTo>
                  <a:pt x="112027" y="38100"/>
                  <a:pt x="133350" y="58671"/>
                  <a:pt x="133350" y="85725"/>
                </a:cubicBezTo>
                <a:cubicBezTo>
                  <a:pt x="133350" y="100663"/>
                  <a:pt x="128144" y="107793"/>
                  <a:pt x="123174" y="114596"/>
                </a:cubicBezTo>
                <a:cubicBezTo>
                  <a:pt x="118639" y="120807"/>
                  <a:pt x="114300" y="126748"/>
                  <a:pt x="114300" y="138113"/>
                </a:cubicBezTo>
                <a:cubicBezTo>
                  <a:pt x="114300" y="147638"/>
                  <a:pt x="104775" y="152400"/>
                  <a:pt x="85725" y="152400"/>
                </a:cubicBezTo>
                <a:cubicBezTo>
                  <a:pt x="66675" y="152400"/>
                  <a:pt x="57150" y="147638"/>
                  <a:pt x="57150" y="138113"/>
                </a:cubicBezTo>
                <a:cubicBezTo>
                  <a:pt x="57150" y="126748"/>
                  <a:pt x="52811" y="120807"/>
                  <a:pt x="48275" y="114596"/>
                </a:cubicBezTo>
                <a:cubicBezTo>
                  <a:pt x="43306" y="107793"/>
                  <a:pt x="38100" y="100663"/>
                  <a:pt x="38100" y="85725"/>
                </a:cubicBezTo>
                <a:cubicBezTo>
                  <a:pt x="38100" y="57150"/>
                  <a:pt x="59422" y="38100"/>
                  <a:pt x="85725" y="38100"/>
                </a:cubicBezTo>
                <a:close/>
                <a:moveTo>
                  <a:pt x="136141" y="21840"/>
                </a:moveTo>
                <a:cubicBezTo>
                  <a:pt x="139860" y="18120"/>
                  <a:pt x="145891" y="18120"/>
                  <a:pt x="149611" y="21840"/>
                </a:cubicBezTo>
                <a:cubicBezTo>
                  <a:pt x="153330" y="25560"/>
                  <a:pt x="153330" y="31590"/>
                  <a:pt x="149611" y="35310"/>
                </a:cubicBezTo>
                <a:lnTo>
                  <a:pt x="140086" y="44835"/>
                </a:lnTo>
                <a:cubicBezTo>
                  <a:pt x="136366" y="48555"/>
                  <a:pt x="130335" y="48555"/>
                  <a:pt x="126616" y="44835"/>
                </a:cubicBezTo>
                <a:cubicBezTo>
                  <a:pt x="122896" y="41115"/>
                  <a:pt x="122896" y="35085"/>
                  <a:pt x="126616" y="31365"/>
                </a:cubicBezTo>
                <a:close/>
                <a:moveTo>
                  <a:pt x="21840" y="21840"/>
                </a:moveTo>
                <a:cubicBezTo>
                  <a:pt x="25560" y="18120"/>
                  <a:pt x="31590" y="18120"/>
                  <a:pt x="35310" y="21840"/>
                </a:cubicBezTo>
                <a:lnTo>
                  <a:pt x="44835" y="31365"/>
                </a:lnTo>
                <a:cubicBezTo>
                  <a:pt x="48555" y="35085"/>
                  <a:pt x="48555" y="41115"/>
                  <a:pt x="44835" y="44835"/>
                </a:cubicBezTo>
                <a:cubicBezTo>
                  <a:pt x="41115" y="48555"/>
                  <a:pt x="35085" y="48555"/>
                  <a:pt x="31365" y="44835"/>
                </a:cubicBezTo>
                <a:lnTo>
                  <a:pt x="21840" y="35310"/>
                </a:lnTo>
                <a:cubicBezTo>
                  <a:pt x="18120" y="31590"/>
                  <a:pt x="18120" y="25560"/>
                  <a:pt x="21840" y="21840"/>
                </a:cubicBezTo>
                <a:close/>
                <a:moveTo>
                  <a:pt x="85725" y="0"/>
                </a:moveTo>
                <a:cubicBezTo>
                  <a:pt x="90986" y="0"/>
                  <a:pt x="95250" y="4265"/>
                  <a:pt x="95250" y="9525"/>
                </a:cubicBezTo>
                <a:lnTo>
                  <a:pt x="95250" y="19050"/>
                </a:lnTo>
                <a:cubicBezTo>
                  <a:pt x="95250" y="24310"/>
                  <a:pt x="90986" y="28575"/>
                  <a:pt x="85725" y="28575"/>
                </a:cubicBezTo>
                <a:cubicBezTo>
                  <a:pt x="80464" y="28575"/>
                  <a:pt x="76200" y="24310"/>
                  <a:pt x="76200" y="19050"/>
                </a:cubicBezTo>
                <a:lnTo>
                  <a:pt x="76200" y="9525"/>
                </a:lnTo>
                <a:cubicBezTo>
                  <a:pt x="76200" y="4265"/>
                  <a:pt x="80464" y="0"/>
                  <a:pt x="85725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EC11CE47-F2DE-CA1C-5C0F-C21FAC0B5671}"/>
              </a:ext>
            </a:extLst>
          </p:cNvPr>
          <p:cNvSpPr txBox="1"/>
          <p:nvPr/>
        </p:nvSpPr>
        <p:spPr>
          <a:xfrm>
            <a:off x="-1691344" y="2506490"/>
            <a:ext cx="1373969" cy="2428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</a:pPr>
            <a:r>
              <a:rPr lang="ru-RU" sz="900" b="0">
                <a:solidFill>
                  <a:schemeClr val="accent1"/>
                </a:solidFill>
              </a:rPr>
              <a:t>Используй эти размеры </a:t>
            </a:r>
            <a:br>
              <a:rPr lang="ru-RU" sz="900" b="0">
                <a:solidFill>
                  <a:schemeClr val="accent1"/>
                </a:solidFill>
              </a:rPr>
            </a:br>
            <a:r>
              <a:rPr lang="ru-RU" sz="900" b="0">
                <a:solidFill>
                  <a:schemeClr val="accent1"/>
                </a:solidFill>
              </a:rPr>
              <a:t>по всей презентации</a:t>
            </a:r>
          </a:p>
        </p:txBody>
      </p:sp>
      <p:sp>
        <p:nvSpPr>
          <p:cNvPr id="6" name="Прямоугольник: скругленные верхние углы 5">
            <a:extLst>
              <a:ext uri="{FF2B5EF4-FFF2-40B4-BE49-F238E27FC236}">
                <a16:creationId xmlns:a16="http://schemas.microsoft.com/office/drawing/2014/main" id="{2A7065C9-92E3-6B9B-9ACA-AEB5C23862DE}"/>
              </a:ext>
            </a:extLst>
          </p:cNvPr>
          <p:cNvSpPr/>
          <p:nvPr/>
        </p:nvSpPr>
        <p:spPr>
          <a:xfrm>
            <a:off x="-2136930" y="0"/>
            <a:ext cx="1926713" cy="2880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36000" rtlCol="0" anchor="ctr"/>
          <a:lstStyle/>
          <a:p>
            <a:pPr algn="ctr"/>
            <a:r>
              <a:rPr lang="ru-RU" sz="1100" b="1">
                <a:solidFill>
                  <a:schemeClr val="tx1"/>
                </a:solidFill>
              </a:rPr>
              <a:t>Размеры текста</a:t>
            </a:r>
          </a:p>
        </p:txBody>
      </p:sp>
      <p:sp>
        <p:nvSpPr>
          <p:cNvPr id="9" name="Полилиния: фигура 8">
            <a:extLst>
              <a:ext uri="{FF2B5EF4-FFF2-40B4-BE49-F238E27FC236}">
                <a16:creationId xmlns:a16="http://schemas.microsoft.com/office/drawing/2014/main" id="{0832DE9F-07AB-D3EB-D833-C1DC910E0CE8}"/>
              </a:ext>
            </a:extLst>
          </p:cNvPr>
          <p:cNvSpPr/>
          <p:nvPr/>
        </p:nvSpPr>
        <p:spPr>
          <a:xfrm>
            <a:off x="-2004344" y="2488864"/>
            <a:ext cx="216624" cy="228657"/>
          </a:xfrm>
          <a:custGeom>
            <a:avLst/>
            <a:gdLst>
              <a:gd name="connsiteX0" fmla="*/ 72536 w 171450"/>
              <a:gd name="connsiteY0" fmla="*/ 162210 h 180974"/>
              <a:gd name="connsiteX1" fmla="*/ 98923 w 171450"/>
              <a:gd name="connsiteY1" fmla="*/ 162210 h 180974"/>
              <a:gd name="connsiteX2" fmla="*/ 103600 w 171450"/>
              <a:gd name="connsiteY2" fmla="*/ 172160 h 180974"/>
              <a:gd name="connsiteX3" fmla="*/ 85726 w 171450"/>
              <a:gd name="connsiteY3" fmla="*/ 180974 h 180974"/>
              <a:gd name="connsiteX4" fmla="*/ 67852 w 171450"/>
              <a:gd name="connsiteY4" fmla="*/ 172160 h 180974"/>
              <a:gd name="connsiteX5" fmla="*/ 72536 w 171450"/>
              <a:gd name="connsiteY5" fmla="*/ 162210 h 180974"/>
              <a:gd name="connsiteX6" fmla="*/ 152400 w 171450"/>
              <a:gd name="connsiteY6" fmla="*/ 76200 h 180974"/>
              <a:gd name="connsiteX7" fmla="*/ 161925 w 171450"/>
              <a:gd name="connsiteY7" fmla="*/ 76200 h 180974"/>
              <a:gd name="connsiteX8" fmla="*/ 171450 w 171450"/>
              <a:gd name="connsiteY8" fmla="*/ 85725 h 180974"/>
              <a:gd name="connsiteX9" fmla="*/ 161925 w 171450"/>
              <a:gd name="connsiteY9" fmla="*/ 95250 h 180974"/>
              <a:gd name="connsiteX10" fmla="*/ 152400 w 171450"/>
              <a:gd name="connsiteY10" fmla="*/ 95250 h 180974"/>
              <a:gd name="connsiteX11" fmla="*/ 142875 w 171450"/>
              <a:gd name="connsiteY11" fmla="*/ 85725 h 180974"/>
              <a:gd name="connsiteX12" fmla="*/ 152400 w 171450"/>
              <a:gd name="connsiteY12" fmla="*/ 76200 h 180974"/>
              <a:gd name="connsiteX13" fmla="*/ 9525 w 171450"/>
              <a:gd name="connsiteY13" fmla="*/ 76200 h 180974"/>
              <a:gd name="connsiteX14" fmla="*/ 19050 w 171450"/>
              <a:gd name="connsiteY14" fmla="*/ 76200 h 180974"/>
              <a:gd name="connsiteX15" fmla="*/ 28575 w 171450"/>
              <a:gd name="connsiteY15" fmla="*/ 85725 h 180974"/>
              <a:gd name="connsiteX16" fmla="*/ 19050 w 171450"/>
              <a:gd name="connsiteY16" fmla="*/ 95250 h 180974"/>
              <a:gd name="connsiteX17" fmla="*/ 9525 w 171450"/>
              <a:gd name="connsiteY17" fmla="*/ 95250 h 180974"/>
              <a:gd name="connsiteX18" fmla="*/ 0 w 171450"/>
              <a:gd name="connsiteY18" fmla="*/ 85725 h 180974"/>
              <a:gd name="connsiteX19" fmla="*/ 9525 w 171450"/>
              <a:gd name="connsiteY19" fmla="*/ 76200 h 180974"/>
              <a:gd name="connsiteX20" fmla="*/ 85725 w 171450"/>
              <a:gd name="connsiteY20" fmla="*/ 38100 h 180974"/>
              <a:gd name="connsiteX21" fmla="*/ 133350 w 171450"/>
              <a:gd name="connsiteY21" fmla="*/ 85725 h 180974"/>
              <a:gd name="connsiteX22" fmla="*/ 123174 w 171450"/>
              <a:gd name="connsiteY22" fmla="*/ 114596 h 180974"/>
              <a:gd name="connsiteX23" fmla="*/ 114300 w 171450"/>
              <a:gd name="connsiteY23" fmla="*/ 138113 h 180974"/>
              <a:gd name="connsiteX24" fmla="*/ 85725 w 171450"/>
              <a:gd name="connsiteY24" fmla="*/ 152400 h 180974"/>
              <a:gd name="connsiteX25" fmla="*/ 57150 w 171450"/>
              <a:gd name="connsiteY25" fmla="*/ 138113 h 180974"/>
              <a:gd name="connsiteX26" fmla="*/ 48275 w 171450"/>
              <a:gd name="connsiteY26" fmla="*/ 114596 h 180974"/>
              <a:gd name="connsiteX27" fmla="*/ 38100 w 171450"/>
              <a:gd name="connsiteY27" fmla="*/ 85725 h 180974"/>
              <a:gd name="connsiteX28" fmla="*/ 85725 w 171450"/>
              <a:gd name="connsiteY28" fmla="*/ 38100 h 180974"/>
              <a:gd name="connsiteX29" fmla="*/ 136141 w 171450"/>
              <a:gd name="connsiteY29" fmla="*/ 21840 h 180974"/>
              <a:gd name="connsiteX30" fmla="*/ 149611 w 171450"/>
              <a:gd name="connsiteY30" fmla="*/ 21840 h 180974"/>
              <a:gd name="connsiteX31" fmla="*/ 149611 w 171450"/>
              <a:gd name="connsiteY31" fmla="*/ 35310 h 180974"/>
              <a:gd name="connsiteX32" fmla="*/ 140086 w 171450"/>
              <a:gd name="connsiteY32" fmla="*/ 44835 h 180974"/>
              <a:gd name="connsiteX33" fmla="*/ 126616 w 171450"/>
              <a:gd name="connsiteY33" fmla="*/ 44835 h 180974"/>
              <a:gd name="connsiteX34" fmla="*/ 126616 w 171450"/>
              <a:gd name="connsiteY34" fmla="*/ 31365 h 180974"/>
              <a:gd name="connsiteX35" fmla="*/ 21840 w 171450"/>
              <a:gd name="connsiteY35" fmla="*/ 21840 h 180974"/>
              <a:gd name="connsiteX36" fmla="*/ 35310 w 171450"/>
              <a:gd name="connsiteY36" fmla="*/ 21840 h 180974"/>
              <a:gd name="connsiteX37" fmla="*/ 44835 w 171450"/>
              <a:gd name="connsiteY37" fmla="*/ 31365 h 180974"/>
              <a:gd name="connsiteX38" fmla="*/ 44835 w 171450"/>
              <a:gd name="connsiteY38" fmla="*/ 44835 h 180974"/>
              <a:gd name="connsiteX39" fmla="*/ 31365 w 171450"/>
              <a:gd name="connsiteY39" fmla="*/ 44835 h 180974"/>
              <a:gd name="connsiteX40" fmla="*/ 21840 w 171450"/>
              <a:gd name="connsiteY40" fmla="*/ 35310 h 180974"/>
              <a:gd name="connsiteX41" fmla="*/ 21840 w 171450"/>
              <a:gd name="connsiteY41" fmla="*/ 21840 h 180974"/>
              <a:gd name="connsiteX42" fmla="*/ 85725 w 171450"/>
              <a:gd name="connsiteY42" fmla="*/ 0 h 180974"/>
              <a:gd name="connsiteX43" fmla="*/ 95250 w 171450"/>
              <a:gd name="connsiteY43" fmla="*/ 9525 h 180974"/>
              <a:gd name="connsiteX44" fmla="*/ 95250 w 171450"/>
              <a:gd name="connsiteY44" fmla="*/ 19050 h 180974"/>
              <a:gd name="connsiteX45" fmla="*/ 85725 w 171450"/>
              <a:gd name="connsiteY45" fmla="*/ 28575 h 180974"/>
              <a:gd name="connsiteX46" fmla="*/ 76200 w 171450"/>
              <a:gd name="connsiteY46" fmla="*/ 19050 h 180974"/>
              <a:gd name="connsiteX47" fmla="*/ 76200 w 171450"/>
              <a:gd name="connsiteY47" fmla="*/ 9525 h 180974"/>
              <a:gd name="connsiteX48" fmla="*/ 85725 w 171450"/>
              <a:gd name="connsiteY48" fmla="*/ 0 h 18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1450" h="180974">
                <a:moveTo>
                  <a:pt x="72536" y="162210"/>
                </a:moveTo>
                <a:cubicBezTo>
                  <a:pt x="80449" y="164140"/>
                  <a:pt x="90933" y="164211"/>
                  <a:pt x="98923" y="162210"/>
                </a:cubicBezTo>
                <a:cubicBezTo>
                  <a:pt x="105617" y="160534"/>
                  <a:pt x="105617" y="166533"/>
                  <a:pt x="103600" y="172160"/>
                </a:cubicBezTo>
                <a:cubicBezTo>
                  <a:pt x="100950" y="179549"/>
                  <a:pt x="95451" y="180974"/>
                  <a:pt x="85726" y="180974"/>
                </a:cubicBezTo>
                <a:cubicBezTo>
                  <a:pt x="76000" y="180974"/>
                  <a:pt x="70501" y="179549"/>
                  <a:pt x="67852" y="172160"/>
                </a:cubicBezTo>
                <a:cubicBezTo>
                  <a:pt x="65835" y="166534"/>
                  <a:pt x="65835" y="160576"/>
                  <a:pt x="72536" y="162210"/>
                </a:cubicBezTo>
                <a:close/>
                <a:moveTo>
                  <a:pt x="152400" y="76200"/>
                </a:moveTo>
                <a:lnTo>
                  <a:pt x="161925" y="76200"/>
                </a:lnTo>
                <a:cubicBezTo>
                  <a:pt x="167186" y="76200"/>
                  <a:pt x="171450" y="80464"/>
                  <a:pt x="171450" y="85725"/>
                </a:cubicBezTo>
                <a:cubicBezTo>
                  <a:pt x="171450" y="90986"/>
                  <a:pt x="167186" y="95250"/>
                  <a:pt x="161925" y="95250"/>
                </a:cubicBezTo>
                <a:lnTo>
                  <a:pt x="152400" y="95250"/>
                </a:lnTo>
                <a:cubicBezTo>
                  <a:pt x="147139" y="95250"/>
                  <a:pt x="142875" y="90986"/>
                  <a:pt x="142875" y="85725"/>
                </a:cubicBezTo>
                <a:cubicBezTo>
                  <a:pt x="142875" y="80464"/>
                  <a:pt x="147139" y="76200"/>
                  <a:pt x="152400" y="76200"/>
                </a:cubicBezTo>
                <a:close/>
                <a:moveTo>
                  <a:pt x="9525" y="76200"/>
                </a:moveTo>
                <a:lnTo>
                  <a:pt x="19050" y="76200"/>
                </a:lnTo>
                <a:cubicBezTo>
                  <a:pt x="24310" y="76200"/>
                  <a:pt x="28575" y="80464"/>
                  <a:pt x="28575" y="85725"/>
                </a:cubicBezTo>
                <a:cubicBezTo>
                  <a:pt x="28575" y="90986"/>
                  <a:pt x="24310" y="95250"/>
                  <a:pt x="19050" y="95250"/>
                </a:cubicBezTo>
                <a:lnTo>
                  <a:pt x="9525" y="95250"/>
                </a:lnTo>
                <a:cubicBezTo>
                  <a:pt x="4265" y="95250"/>
                  <a:pt x="0" y="90986"/>
                  <a:pt x="0" y="85725"/>
                </a:cubicBezTo>
                <a:cubicBezTo>
                  <a:pt x="0" y="80464"/>
                  <a:pt x="4265" y="76200"/>
                  <a:pt x="9525" y="76200"/>
                </a:cubicBezTo>
                <a:close/>
                <a:moveTo>
                  <a:pt x="85725" y="38100"/>
                </a:moveTo>
                <a:cubicBezTo>
                  <a:pt x="112027" y="38100"/>
                  <a:pt x="133350" y="58671"/>
                  <a:pt x="133350" y="85725"/>
                </a:cubicBezTo>
                <a:cubicBezTo>
                  <a:pt x="133350" y="100663"/>
                  <a:pt x="128144" y="107793"/>
                  <a:pt x="123174" y="114596"/>
                </a:cubicBezTo>
                <a:cubicBezTo>
                  <a:pt x="118639" y="120807"/>
                  <a:pt x="114300" y="126748"/>
                  <a:pt x="114300" y="138113"/>
                </a:cubicBezTo>
                <a:cubicBezTo>
                  <a:pt x="114300" y="147638"/>
                  <a:pt x="104775" y="152400"/>
                  <a:pt x="85725" y="152400"/>
                </a:cubicBezTo>
                <a:cubicBezTo>
                  <a:pt x="66675" y="152400"/>
                  <a:pt x="57150" y="147638"/>
                  <a:pt x="57150" y="138113"/>
                </a:cubicBezTo>
                <a:cubicBezTo>
                  <a:pt x="57150" y="126748"/>
                  <a:pt x="52811" y="120807"/>
                  <a:pt x="48275" y="114596"/>
                </a:cubicBezTo>
                <a:cubicBezTo>
                  <a:pt x="43306" y="107793"/>
                  <a:pt x="38100" y="100663"/>
                  <a:pt x="38100" y="85725"/>
                </a:cubicBezTo>
                <a:cubicBezTo>
                  <a:pt x="38100" y="57150"/>
                  <a:pt x="59422" y="38100"/>
                  <a:pt x="85725" y="38100"/>
                </a:cubicBezTo>
                <a:close/>
                <a:moveTo>
                  <a:pt x="136141" y="21840"/>
                </a:moveTo>
                <a:cubicBezTo>
                  <a:pt x="139860" y="18120"/>
                  <a:pt x="145891" y="18120"/>
                  <a:pt x="149611" y="21840"/>
                </a:cubicBezTo>
                <a:cubicBezTo>
                  <a:pt x="153330" y="25560"/>
                  <a:pt x="153330" y="31590"/>
                  <a:pt x="149611" y="35310"/>
                </a:cubicBezTo>
                <a:lnTo>
                  <a:pt x="140086" y="44835"/>
                </a:lnTo>
                <a:cubicBezTo>
                  <a:pt x="136366" y="48555"/>
                  <a:pt x="130335" y="48555"/>
                  <a:pt x="126616" y="44835"/>
                </a:cubicBezTo>
                <a:cubicBezTo>
                  <a:pt x="122896" y="41115"/>
                  <a:pt x="122896" y="35085"/>
                  <a:pt x="126616" y="31365"/>
                </a:cubicBezTo>
                <a:close/>
                <a:moveTo>
                  <a:pt x="21840" y="21840"/>
                </a:moveTo>
                <a:cubicBezTo>
                  <a:pt x="25560" y="18120"/>
                  <a:pt x="31590" y="18120"/>
                  <a:pt x="35310" y="21840"/>
                </a:cubicBezTo>
                <a:lnTo>
                  <a:pt x="44835" y="31365"/>
                </a:lnTo>
                <a:cubicBezTo>
                  <a:pt x="48555" y="35085"/>
                  <a:pt x="48555" y="41115"/>
                  <a:pt x="44835" y="44835"/>
                </a:cubicBezTo>
                <a:cubicBezTo>
                  <a:pt x="41115" y="48555"/>
                  <a:pt x="35085" y="48555"/>
                  <a:pt x="31365" y="44835"/>
                </a:cubicBezTo>
                <a:lnTo>
                  <a:pt x="21840" y="35310"/>
                </a:lnTo>
                <a:cubicBezTo>
                  <a:pt x="18120" y="31590"/>
                  <a:pt x="18120" y="25560"/>
                  <a:pt x="21840" y="21840"/>
                </a:cubicBezTo>
                <a:close/>
                <a:moveTo>
                  <a:pt x="85725" y="0"/>
                </a:moveTo>
                <a:cubicBezTo>
                  <a:pt x="90986" y="0"/>
                  <a:pt x="95250" y="4265"/>
                  <a:pt x="95250" y="9525"/>
                </a:cubicBezTo>
                <a:lnTo>
                  <a:pt x="95250" y="19050"/>
                </a:lnTo>
                <a:cubicBezTo>
                  <a:pt x="95250" y="24310"/>
                  <a:pt x="90986" y="28575"/>
                  <a:pt x="85725" y="28575"/>
                </a:cubicBezTo>
                <a:cubicBezTo>
                  <a:pt x="80464" y="28575"/>
                  <a:pt x="76200" y="24310"/>
                  <a:pt x="76200" y="19050"/>
                </a:cubicBezTo>
                <a:lnTo>
                  <a:pt x="76200" y="9525"/>
                </a:lnTo>
                <a:cubicBezTo>
                  <a:pt x="76200" y="4265"/>
                  <a:pt x="80464" y="0"/>
                  <a:pt x="85725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grpSp>
        <p:nvGrpSpPr>
          <p:cNvPr id="45" name="Группа 44">
            <a:extLst>
              <a:ext uri="{FF2B5EF4-FFF2-40B4-BE49-F238E27FC236}">
                <a16:creationId xmlns:a16="http://schemas.microsoft.com/office/drawing/2014/main" id="{92C43A9F-0476-8E46-8873-DC85E19B0D43}"/>
              </a:ext>
            </a:extLst>
          </p:cNvPr>
          <p:cNvGrpSpPr/>
          <p:nvPr userDrawn="1"/>
        </p:nvGrpSpPr>
        <p:grpSpPr>
          <a:xfrm>
            <a:off x="-2138458" y="3070447"/>
            <a:ext cx="1935384" cy="3787553"/>
            <a:chOff x="-2138458" y="3070447"/>
            <a:chExt cx="1935384" cy="3787553"/>
          </a:xfrm>
        </p:grpSpPr>
        <p:sp>
          <p:nvSpPr>
            <p:cNvPr id="47" name="Прямоугольник: скругленные углы 38">
              <a:extLst>
                <a:ext uri="{FF2B5EF4-FFF2-40B4-BE49-F238E27FC236}">
                  <a16:creationId xmlns:a16="http://schemas.microsoft.com/office/drawing/2014/main" id="{3592B896-2FA0-3D4A-8351-344EB42B4C02}"/>
                </a:ext>
              </a:extLst>
            </p:cNvPr>
            <p:cNvSpPr/>
            <p:nvPr userDrawn="1"/>
          </p:nvSpPr>
          <p:spPr>
            <a:xfrm>
              <a:off x="-2138458" y="3125312"/>
              <a:ext cx="1928241" cy="2468818"/>
            </a:xfrm>
            <a:prstGeom prst="roundRect">
              <a:avLst>
                <a:gd name="adj" fmla="val 5926"/>
              </a:avLst>
            </a:prstGeom>
            <a:solidFill>
              <a:schemeClr val="bg1"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8" name="Прямоугольник: скругленные верхние углы 39">
              <a:extLst>
                <a:ext uri="{FF2B5EF4-FFF2-40B4-BE49-F238E27FC236}">
                  <a16:creationId xmlns:a16="http://schemas.microsoft.com/office/drawing/2014/main" id="{75FBE025-BB73-DD4B-A8D5-C4C46ED5C679}"/>
                </a:ext>
              </a:extLst>
            </p:cNvPr>
            <p:cNvSpPr/>
            <p:nvPr/>
          </p:nvSpPr>
          <p:spPr>
            <a:xfrm>
              <a:off x="-2136930" y="3070447"/>
              <a:ext cx="1926713" cy="28800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36000" rtlCol="0" anchor="ctr"/>
            <a:lstStyle/>
            <a:p>
              <a:pPr algn="ctr"/>
              <a:r>
                <a:rPr lang="ru-RU" sz="1100" b="1">
                  <a:solidFill>
                    <a:schemeClr val="tx1"/>
                  </a:solidFill>
                </a:rPr>
                <a:t>Цвета </a:t>
              </a:r>
              <a:r>
                <a:rPr lang="en-US" sz="1100" b="1">
                  <a:solidFill>
                    <a:schemeClr val="tx1"/>
                  </a:solidFill>
                </a:rPr>
                <a:t>Ozon</a:t>
              </a:r>
              <a:endParaRPr lang="ru-RU" sz="1100" b="1">
                <a:solidFill>
                  <a:schemeClr val="tx1"/>
                </a:solidFill>
              </a:endParaRPr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056D7DD3-FFBE-7242-B7D2-176534F54E49}"/>
                </a:ext>
              </a:extLst>
            </p:cNvPr>
            <p:cNvSpPr txBox="1"/>
            <p:nvPr/>
          </p:nvSpPr>
          <p:spPr>
            <a:xfrm>
              <a:off x="-2003446" y="3412239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текста </a:t>
              </a:r>
            </a:p>
          </p:txBody>
        </p:sp>
        <p:sp>
          <p:nvSpPr>
            <p:cNvPr id="63" name="Прямоугольник: скругленные углы 41">
              <a:extLst>
                <a:ext uri="{FF2B5EF4-FFF2-40B4-BE49-F238E27FC236}">
                  <a16:creationId xmlns:a16="http://schemas.microsoft.com/office/drawing/2014/main" id="{B31AC03A-0175-D74C-8AE2-353A4ED6861A}"/>
                </a:ext>
              </a:extLst>
            </p:cNvPr>
            <p:cNvSpPr/>
            <p:nvPr/>
          </p:nvSpPr>
          <p:spPr>
            <a:xfrm>
              <a:off x="-2004344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8" name="Прямоугольник: скругленные углы 42">
              <a:extLst>
                <a:ext uri="{FF2B5EF4-FFF2-40B4-BE49-F238E27FC236}">
                  <a16:creationId xmlns:a16="http://schemas.microsoft.com/office/drawing/2014/main" id="{6F6124BF-174C-8944-B99C-0F4062465355}"/>
                </a:ext>
              </a:extLst>
            </p:cNvPr>
            <p:cNvSpPr/>
            <p:nvPr/>
          </p:nvSpPr>
          <p:spPr>
            <a:xfrm>
              <a:off x="-1738339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6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AD11BDA7-C5D8-C64B-AE1C-E8F8A1C9D14D}"/>
                </a:ext>
              </a:extLst>
            </p:cNvPr>
            <p:cNvSpPr txBox="1"/>
            <p:nvPr/>
          </p:nvSpPr>
          <p:spPr>
            <a:xfrm>
              <a:off x="-2003446" y="3935644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больших плашек</a:t>
              </a:r>
            </a:p>
          </p:txBody>
        </p:sp>
        <p:sp>
          <p:nvSpPr>
            <p:cNvPr id="70" name="Прямоугольник: скругленные углы 48">
              <a:extLst>
                <a:ext uri="{FF2B5EF4-FFF2-40B4-BE49-F238E27FC236}">
                  <a16:creationId xmlns:a16="http://schemas.microsoft.com/office/drawing/2014/main" id="{EF53E3A6-DFEC-C641-B0E2-A00E918B27C5}"/>
                </a:ext>
              </a:extLst>
            </p:cNvPr>
            <p:cNvSpPr/>
            <p:nvPr userDrawn="1"/>
          </p:nvSpPr>
          <p:spPr>
            <a:xfrm>
              <a:off x="-2004963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3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949C4BC9-A3AD-844A-96E6-79232F1CFBD8}"/>
                </a:ext>
              </a:extLst>
            </p:cNvPr>
            <p:cNvSpPr txBox="1"/>
            <p:nvPr/>
          </p:nvSpPr>
          <p:spPr>
            <a:xfrm>
              <a:off x="-2003446" y="4451492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а маленьких плашек</a:t>
              </a:r>
            </a:p>
          </p:txBody>
        </p:sp>
        <p:sp>
          <p:nvSpPr>
            <p:cNvPr id="72" name="Прямоугольник: скругленные углы 52">
              <a:extLst>
                <a:ext uri="{FF2B5EF4-FFF2-40B4-BE49-F238E27FC236}">
                  <a16:creationId xmlns:a16="http://schemas.microsoft.com/office/drawing/2014/main" id="{9EB91932-7AD2-6D48-8292-684A0FE4E8E9}"/>
                </a:ext>
              </a:extLst>
            </p:cNvPr>
            <p:cNvSpPr/>
            <p:nvPr/>
          </p:nvSpPr>
          <p:spPr>
            <a:xfrm>
              <a:off x="-1739900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B7EDC9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3" name="Прямоугольник: скругленные углы 53">
              <a:extLst>
                <a:ext uri="{FF2B5EF4-FFF2-40B4-BE49-F238E27FC236}">
                  <a16:creationId xmlns:a16="http://schemas.microsoft.com/office/drawing/2014/main" id="{F1123F95-61C9-BC41-851F-37A4F337A429}"/>
                </a:ext>
              </a:extLst>
            </p:cNvPr>
            <p:cNvSpPr/>
            <p:nvPr/>
          </p:nvSpPr>
          <p:spPr>
            <a:xfrm>
              <a:off x="-1474837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FA800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4" name="Прямоугольник: скругленные углы 54">
              <a:extLst>
                <a:ext uri="{FF2B5EF4-FFF2-40B4-BE49-F238E27FC236}">
                  <a16:creationId xmlns:a16="http://schemas.microsoft.com/office/drawing/2014/main" id="{58C05D7D-2813-064B-92D0-74BFD5806436}"/>
                </a:ext>
              </a:extLst>
            </p:cNvPr>
            <p:cNvSpPr/>
            <p:nvPr/>
          </p:nvSpPr>
          <p:spPr>
            <a:xfrm>
              <a:off x="-2004963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10C44C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07645BC9-A0BF-4D49-BE00-7DFC805081F8}"/>
                </a:ext>
              </a:extLst>
            </p:cNvPr>
            <p:cNvSpPr txBox="1"/>
            <p:nvPr/>
          </p:nvSpPr>
          <p:spPr>
            <a:xfrm>
              <a:off x="-2003446" y="4973480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900"/>
                <a:t>Рост / падение показателей</a:t>
              </a:r>
            </a:p>
          </p:txBody>
        </p:sp>
        <p:sp>
          <p:nvSpPr>
            <p:cNvPr id="76" name="Прямоугольник: скругленные углы 43">
              <a:extLst>
                <a:ext uri="{FF2B5EF4-FFF2-40B4-BE49-F238E27FC236}">
                  <a16:creationId xmlns:a16="http://schemas.microsoft.com/office/drawing/2014/main" id="{00C7E176-7354-C741-BDD2-0669745F93C1}"/>
                </a:ext>
              </a:extLst>
            </p:cNvPr>
            <p:cNvSpPr/>
            <p:nvPr/>
          </p:nvSpPr>
          <p:spPr>
            <a:xfrm>
              <a:off x="-2004963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3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7" name="Прямоугольник: скругленные углы 51">
              <a:extLst>
                <a:ext uri="{FF2B5EF4-FFF2-40B4-BE49-F238E27FC236}">
                  <a16:creationId xmlns:a16="http://schemas.microsoft.com/office/drawing/2014/main" id="{57909756-FFD4-3145-97F5-9BB79E50B758}"/>
                </a:ext>
              </a:extLst>
            </p:cNvPr>
            <p:cNvSpPr/>
            <p:nvPr/>
          </p:nvSpPr>
          <p:spPr>
            <a:xfrm>
              <a:off x="-1740264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2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8" name="Прямоугольник: скругленные углы 56">
              <a:extLst>
                <a:ext uri="{FF2B5EF4-FFF2-40B4-BE49-F238E27FC236}">
                  <a16:creationId xmlns:a16="http://schemas.microsoft.com/office/drawing/2014/main" id="{832B66E4-B192-A743-9E98-874C0FA10087}"/>
                </a:ext>
              </a:extLst>
            </p:cNvPr>
            <p:cNvSpPr/>
            <p:nvPr/>
          </p:nvSpPr>
          <p:spPr>
            <a:xfrm>
              <a:off x="-1474837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9" name="Прямоугольник: скругленные углы 57">
              <a:extLst>
                <a:ext uri="{FF2B5EF4-FFF2-40B4-BE49-F238E27FC236}">
                  <a16:creationId xmlns:a16="http://schemas.microsoft.com/office/drawing/2014/main" id="{969AA322-3BB8-2846-B111-4DF55CA946C4}"/>
                </a:ext>
              </a:extLst>
            </p:cNvPr>
            <p:cNvSpPr/>
            <p:nvPr/>
          </p:nvSpPr>
          <p:spPr>
            <a:xfrm>
              <a:off x="-2131314" y="5782119"/>
              <a:ext cx="1928240" cy="1075881"/>
            </a:xfrm>
            <a:prstGeom prst="roundRect">
              <a:avLst>
                <a:gd name="adj" fmla="val 12985"/>
              </a:avLst>
            </a:prstGeom>
            <a:solidFill>
              <a:schemeClr val="bg1"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0" name="TextBox 79">
              <a:extLst>
                <a:ext uri="{FF2B5EF4-FFF2-40B4-BE49-F238E27FC236}">
                  <a16:creationId xmlns:a16="http://schemas.microsoft.com/office/drawing/2014/main" id="{7DD47492-6CB9-E24B-8BA9-E4B195881205}"/>
                </a:ext>
              </a:extLst>
            </p:cNvPr>
            <p:cNvSpPr txBox="1"/>
            <p:nvPr/>
          </p:nvSpPr>
          <p:spPr>
            <a:xfrm>
              <a:off x="-1788338" y="5868204"/>
              <a:ext cx="1155882" cy="15109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l">
                <a:lnSpc>
                  <a:spcPct val="90000"/>
                </a:lnSpc>
              </a:pPr>
              <a:r>
                <a:rPr lang="ru-RU" sz="1000" b="1">
                  <a:solidFill>
                    <a:schemeClr val="accent1"/>
                  </a:solidFill>
                </a:rPr>
                <a:t>Шаблон </a:t>
              </a:r>
              <a:r>
                <a:rPr lang="en-US" sz="1000" b="1">
                  <a:solidFill>
                    <a:schemeClr val="accent1"/>
                  </a:solidFill>
                </a:rPr>
                <a:t>Ozon</a:t>
              </a:r>
              <a:endParaRPr lang="ru-RU" sz="1000" b="1">
                <a:solidFill>
                  <a:schemeClr val="accent1"/>
                </a:solidFill>
              </a:endParaRPr>
            </a:p>
          </p:txBody>
        </p:sp>
        <p:sp>
          <p:nvSpPr>
            <p:cNvPr id="81" name="Рисунок 93">
              <a:extLst>
                <a:ext uri="{FF2B5EF4-FFF2-40B4-BE49-F238E27FC236}">
                  <a16:creationId xmlns:a16="http://schemas.microsoft.com/office/drawing/2014/main" id="{5FE6F21E-47B9-FB43-BE0E-68513CDA9ED8}"/>
                </a:ext>
              </a:extLst>
            </p:cNvPr>
            <p:cNvSpPr/>
            <p:nvPr/>
          </p:nvSpPr>
          <p:spPr>
            <a:xfrm>
              <a:off x="-2004963" y="5853908"/>
              <a:ext cx="161099" cy="161099"/>
            </a:xfrm>
            <a:custGeom>
              <a:avLst/>
              <a:gdLst>
                <a:gd name="connsiteX0" fmla="*/ 85725 w 171450"/>
                <a:gd name="connsiteY0" fmla="*/ 171450 h 171450"/>
                <a:gd name="connsiteX1" fmla="*/ 171450 w 171450"/>
                <a:gd name="connsiteY1" fmla="*/ 85725 h 171450"/>
                <a:gd name="connsiteX2" fmla="*/ 85725 w 171450"/>
                <a:gd name="connsiteY2" fmla="*/ 0 h 171450"/>
                <a:gd name="connsiteX3" fmla="*/ 0 w 171450"/>
                <a:gd name="connsiteY3" fmla="*/ 85725 h 171450"/>
                <a:gd name="connsiteX4" fmla="*/ 85725 w 171450"/>
                <a:gd name="connsiteY4" fmla="*/ 171450 h 171450"/>
                <a:gd name="connsiteX5" fmla="*/ 130560 w 171450"/>
                <a:gd name="connsiteY5" fmla="*/ 73410 h 171450"/>
                <a:gd name="connsiteX6" fmla="*/ 82935 w 171450"/>
                <a:gd name="connsiteY6" fmla="*/ 121035 h 171450"/>
                <a:gd name="connsiteX7" fmla="*/ 69465 w 171450"/>
                <a:gd name="connsiteY7" fmla="*/ 121035 h 171450"/>
                <a:gd name="connsiteX8" fmla="*/ 40890 w 171450"/>
                <a:gd name="connsiteY8" fmla="*/ 92460 h 171450"/>
                <a:gd name="connsiteX9" fmla="*/ 40890 w 171450"/>
                <a:gd name="connsiteY9" fmla="*/ 78990 h 171450"/>
                <a:gd name="connsiteX10" fmla="*/ 54360 w 171450"/>
                <a:gd name="connsiteY10" fmla="*/ 78990 h 171450"/>
                <a:gd name="connsiteX11" fmla="*/ 76200 w 171450"/>
                <a:gd name="connsiteY11" fmla="*/ 100830 h 171450"/>
                <a:gd name="connsiteX12" fmla="*/ 117090 w 171450"/>
                <a:gd name="connsiteY12" fmla="*/ 59940 h 171450"/>
                <a:gd name="connsiteX13" fmla="*/ 130560 w 171450"/>
                <a:gd name="connsiteY13" fmla="*/ 59940 h 171450"/>
                <a:gd name="connsiteX14" fmla="*/ 130560 w 171450"/>
                <a:gd name="connsiteY14" fmla="*/ 7341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71450" h="171450">
                  <a:moveTo>
                    <a:pt x="85725" y="171450"/>
                  </a:moveTo>
                  <a:cubicBezTo>
                    <a:pt x="138915" y="171450"/>
                    <a:pt x="171450" y="138915"/>
                    <a:pt x="171450" y="85725"/>
                  </a:cubicBezTo>
                  <a:cubicBezTo>
                    <a:pt x="171450" y="32535"/>
                    <a:pt x="138915" y="0"/>
                    <a:pt x="85725" y="0"/>
                  </a:cubicBezTo>
                  <a:cubicBezTo>
                    <a:pt x="32535" y="0"/>
                    <a:pt x="0" y="32535"/>
                    <a:pt x="0" y="85725"/>
                  </a:cubicBezTo>
                  <a:cubicBezTo>
                    <a:pt x="0" y="138915"/>
                    <a:pt x="32535" y="171450"/>
                    <a:pt x="85725" y="171450"/>
                  </a:cubicBezTo>
                  <a:close/>
                  <a:moveTo>
                    <a:pt x="130560" y="73410"/>
                  </a:moveTo>
                  <a:lnTo>
                    <a:pt x="82935" y="121035"/>
                  </a:lnTo>
                  <a:cubicBezTo>
                    <a:pt x="79216" y="124755"/>
                    <a:pt x="73184" y="124755"/>
                    <a:pt x="69465" y="121035"/>
                  </a:cubicBezTo>
                  <a:lnTo>
                    <a:pt x="40890" y="92460"/>
                  </a:lnTo>
                  <a:cubicBezTo>
                    <a:pt x="37170" y="88741"/>
                    <a:pt x="37170" y="82709"/>
                    <a:pt x="40890" y="78990"/>
                  </a:cubicBezTo>
                  <a:cubicBezTo>
                    <a:pt x="44610" y="75270"/>
                    <a:pt x="50640" y="75270"/>
                    <a:pt x="54360" y="78990"/>
                  </a:cubicBezTo>
                  <a:lnTo>
                    <a:pt x="76200" y="100830"/>
                  </a:lnTo>
                  <a:lnTo>
                    <a:pt x="117090" y="59940"/>
                  </a:lnTo>
                  <a:cubicBezTo>
                    <a:pt x="120809" y="56220"/>
                    <a:pt x="126841" y="56220"/>
                    <a:pt x="130560" y="59940"/>
                  </a:cubicBezTo>
                  <a:cubicBezTo>
                    <a:pt x="134280" y="63660"/>
                    <a:pt x="134280" y="69691"/>
                    <a:pt x="130560" y="7341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41EFEE38-AFEB-7548-87F9-5EF298944F17}"/>
                </a:ext>
              </a:extLst>
            </p:cNvPr>
            <p:cNvSpPr txBox="1"/>
            <p:nvPr userDrawn="1"/>
          </p:nvSpPr>
          <p:spPr>
            <a:xfrm>
              <a:off x="-2004962" y="6072106"/>
              <a:ext cx="1687587" cy="60024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>
                <a:lnSpc>
                  <a:spcPct val="110000"/>
                </a:lnSpc>
              </a:pPr>
              <a:r>
                <a:rPr lang="ru-RU" sz="900" spc="-30" baseline="0">
                  <a:solidFill>
                    <a:schemeClr val="tx2"/>
                  </a:solidFill>
                </a:rPr>
                <a:t>Если нужно больше материалов: </a:t>
              </a:r>
              <a:r>
                <a:rPr lang="ru-RU" sz="900" b="1" spc="-30" baseline="0">
                  <a:solidFill>
                    <a:schemeClr val="tx2"/>
                  </a:solidFill>
                </a:rPr>
                <a:t>правое меню </a:t>
              </a:r>
              <a:r>
                <a:rPr lang="en-US" sz="900" b="1" spc="-30" baseline="0">
                  <a:solidFill>
                    <a:schemeClr val="tx2"/>
                  </a:solidFill>
                </a:rPr>
                <a:t>Staff — Brand </a:t>
              </a:r>
              <a:r>
                <a:rPr lang="ru-RU" sz="900" b="1" spc="-30" baseline="0">
                  <a:solidFill>
                    <a:schemeClr val="tx2"/>
                  </a:solidFill>
                </a:rPr>
                <a:t>— Всё для презентаций. </a:t>
              </a:r>
              <a:r>
                <a:rPr lang="ru-RU" sz="900" b="0" spc="-30" baseline="0">
                  <a:solidFill>
                    <a:schemeClr val="tx2"/>
                  </a:solidFill>
                </a:rPr>
                <a:t>Или пиши нам на </a:t>
              </a:r>
              <a:r>
                <a:rPr lang="en-US" sz="900" b="0" spc="-30" baseline="0">
                  <a:solidFill>
                    <a:schemeClr val="tx2"/>
                  </a:solidFill>
                </a:rPr>
                <a:t>presentations@ozon.ru.</a:t>
              </a:r>
              <a:r>
                <a:rPr lang="ru-RU" sz="900" b="0" spc="-30" baseline="0">
                  <a:solidFill>
                    <a:schemeClr val="tx2"/>
                  </a:solidFill>
                </a:rPr>
                <a:t> </a:t>
              </a:r>
            </a:p>
          </p:txBody>
        </p:sp>
        <p:sp>
          <p:nvSpPr>
            <p:cNvPr id="83" name="Прямоугольник: скругленные углы 63">
              <a:extLst>
                <a:ext uri="{FF2B5EF4-FFF2-40B4-BE49-F238E27FC236}">
                  <a16:creationId xmlns:a16="http://schemas.microsoft.com/office/drawing/2014/main" id="{B096428A-BA57-714F-AE88-83D0A1C5C8CE}"/>
                </a:ext>
              </a:extLst>
            </p:cNvPr>
            <p:cNvSpPr/>
            <p:nvPr/>
          </p:nvSpPr>
          <p:spPr>
            <a:xfrm>
              <a:off x="-944711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53C14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4" name="Прямоугольник: скругленные углы 64">
              <a:extLst>
                <a:ext uri="{FF2B5EF4-FFF2-40B4-BE49-F238E27FC236}">
                  <a16:creationId xmlns:a16="http://schemas.microsoft.com/office/drawing/2014/main" id="{D8358B04-5791-8242-8695-3D6689CC1F4B}"/>
                </a:ext>
              </a:extLst>
            </p:cNvPr>
            <p:cNvSpPr/>
            <p:nvPr/>
          </p:nvSpPr>
          <p:spPr>
            <a:xfrm>
              <a:off x="-679648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CC4B8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5" name="Прямоугольник: скругленные углы 65">
              <a:extLst>
                <a:ext uri="{FF2B5EF4-FFF2-40B4-BE49-F238E27FC236}">
                  <a16:creationId xmlns:a16="http://schemas.microsoft.com/office/drawing/2014/main" id="{A9198495-B106-B445-BBF9-AAA4D713653A}"/>
                </a:ext>
              </a:extLst>
            </p:cNvPr>
            <p:cNvSpPr/>
            <p:nvPr/>
          </p:nvSpPr>
          <p:spPr>
            <a:xfrm>
              <a:off x="-1209774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FE5B2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6" name="Прямоугольник: скругленные верхние углы 12">
              <a:extLst>
                <a:ext uri="{FF2B5EF4-FFF2-40B4-BE49-F238E27FC236}">
                  <a16:creationId xmlns:a16="http://schemas.microsoft.com/office/drawing/2014/main" id="{BB476DC2-4E90-224A-B664-9896A68CC16E}"/>
                </a:ext>
              </a:extLst>
            </p:cNvPr>
            <p:cNvSpPr/>
            <p:nvPr/>
          </p:nvSpPr>
          <p:spPr>
            <a:xfrm>
              <a:off x="-2136930" y="3070447"/>
              <a:ext cx="1926713" cy="28800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36000" rtlCol="0" anchor="ctr"/>
            <a:lstStyle/>
            <a:p>
              <a:pPr algn="ctr"/>
              <a:r>
                <a:rPr lang="ru-RU" sz="1100" b="1">
                  <a:solidFill>
                    <a:schemeClr val="tx1"/>
                  </a:solidFill>
                </a:rPr>
                <a:t>Цвета </a:t>
              </a:r>
              <a:r>
                <a:rPr lang="en-US" sz="1100" b="1">
                  <a:solidFill>
                    <a:schemeClr val="tx1"/>
                  </a:solidFill>
                </a:rPr>
                <a:t>Ozon</a:t>
              </a:r>
              <a:endParaRPr lang="ru-RU" sz="1100" b="1">
                <a:solidFill>
                  <a:schemeClr val="tx1"/>
                </a:solidFill>
              </a:endParaRPr>
            </a:p>
          </p:txBody>
        </p:sp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39C50795-E14E-5549-85AC-9F99FA10E81B}"/>
                </a:ext>
              </a:extLst>
            </p:cNvPr>
            <p:cNvSpPr txBox="1"/>
            <p:nvPr/>
          </p:nvSpPr>
          <p:spPr>
            <a:xfrm>
              <a:off x="-2003446" y="3412239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текста </a:t>
              </a:r>
            </a:p>
          </p:txBody>
        </p:sp>
        <p:sp>
          <p:nvSpPr>
            <p:cNvPr id="88" name="Прямоугольник: скругленные углы 15">
              <a:extLst>
                <a:ext uri="{FF2B5EF4-FFF2-40B4-BE49-F238E27FC236}">
                  <a16:creationId xmlns:a16="http://schemas.microsoft.com/office/drawing/2014/main" id="{241AB51B-A791-DE4F-B0C0-F7C6B1020A0C}"/>
                </a:ext>
              </a:extLst>
            </p:cNvPr>
            <p:cNvSpPr/>
            <p:nvPr/>
          </p:nvSpPr>
          <p:spPr>
            <a:xfrm>
              <a:off x="-2004344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9" name="Прямоугольник: скругленные углы 16">
              <a:extLst>
                <a:ext uri="{FF2B5EF4-FFF2-40B4-BE49-F238E27FC236}">
                  <a16:creationId xmlns:a16="http://schemas.microsoft.com/office/drawing/2014/main" id="{77BEC62D-D479-B345-8CEF-1A31FEF8388B}"/>
                </a:ext>
              </a:extLst>
            </p:cNvPr>
            <p:cNvSpPr/>
            <p:nvPr/>
          </p:nvSpPr>
          <p:spPr>
            <a:xfrm>
              <a:off x="-1738339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6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0" name="TextBox 89">
              <a:extLst>
                <a:ext uri="{FF2B5EF4-FFF2-40B4-BE49-F238E27FC236}">
                  <a16:creationId xmlns:a16="http://schemas.microsoft.com/office/drawing/2014/main" id="{B024F6F0-6699-9F47-8ED3-42B0BCFD5EBA}"/>
                </a:ext>
              </a:extLst>
            </p:cNvPr>
            <p:cNvSpPr txBox="1"/>
            <p:nvPr/>
          </p:nvSpPr>
          <p:spPr>
            <a:xfrm>
              <a:off x="-1788338" y="5868204"/>
              <a:ext cx="1155882" cy="15109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l">
                <a:lnSpc>
                  <a:spcPct val="90000"/>
                </a:lnSpc>
              </a:pPr>
              <a:r>
                <a:rPr lang="ru-RU" sz="1000" b="1">
                  <a:solidFill>
                    <a:schemeClr val="accent1"/>
                  </a:solidFill>
                </a:rPr>
                <a:t>Шаблон </a:t>
              </a:r>
              <a:r>
                <a:rPr lang="en-US" sz="1000" b="1">
                  <a:solidFill>
                    <a:schemeClr val="accent1"/>
                  </a:solidFill>
                </a:rPr>
                <a:t>Ozon</a:t>
              </a:r>
              <a:endParaRPr lang="ru-RU" sz="1000" b="1">
                <a:solidFill>
                  <a:schemeClr val="accent1"/>
                </a:solidFill>
              </a:endParaRPr>
            </a:p>
          </p:txBody>
        </p:sp>
        <p:sp>
          <p:nvSpPr>
            <p:cNvPr id="91" name="Прямоугольник: скругленные углы 48">
              <a:extLst>
                <a:ext uri="{FF2B5EF4-FFF2-40B4-BE49-F238E27FC236}">
                  <a16:creationId xmlns:a16="http://schemas.microsoft.com/office/drawing/2014/main" id="{DFD2B243-C457-3449-AEBD-AAB7B16D77BC}"/>
                </a:ext>
              </a:extLst>
            </p:cNvPr>
            <p:cNvSpPr/>
            <p:nvPr userDrawn="1"/>
          </p:nvSpPr>
          <p:spPr>
            <a:xfrm>
              <a:off x="-1741352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1">
                <a:lumMod val="75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15860554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8">
          <p15:clr>
            <a:srgbClr val="F26B43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Read 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: скругленные углы 1">
            <a:extLst>
              <a:ext uri="{FF2B5EF4-FFF2-40B4-BE49-F238E27FC236}">
                <a16:creationId xmlns:a16="http://schemas.microsoft.com/office/drawing/2014/main" id="{842F427E-A7B0-ED26-5BAD-60F49256F445}"/>
              </a:ext>
            </a:extLst>
          </p:cNvPr>
          <p:cNvSpPr/>
          <p:nvPr/>
        </p:nvSpPr>
        <p:spPr>
          <a:xfrm>
            <a:off x="8769966" y="411163"/>
            <a:ext cx="2780684" cy="3570453"/>
          </a:xfrm>
          <a:prstGeom prst="roundRect">
            <a:avLst>
              <a:gd name="adj" fmla="val 5689"/>
            </a:avLst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0000"/>
              </a:solidFill>
            </a:endParaRPr>
          </a:p>
        </p:txBody>
      </p:sp>
      <p:sp>
        <p:nvSpPr>
          <p:cNvPr id="4" name="Прямоугольник: скругленные углы 3">
            <a:extLst>
              <a:ext uri="{FF2B5EF4-FFF2-40B4-BE49-F238E27FC236}">
                <a16:creationId xmlns:a16="http://schemas.microsoft.com/office/drawing/2014/main" id="{0C473BD7-ACD7-EB2B-FB86-6B31E90DB1BC}"/>
              </a:ext>
            </a:extLst>
          </p:cNvPr>
          <p:cNvSpPr/>
          <p:nvPr/>
        </p:nvSpPr>
        <p:spPr>
          <a:xfrm>
            <a:off x="638969" y="1721762"/>
            <a:ext cx="3636962" cy="2552284"/>
          </a:xfrm>
          <a:prstGeom prst="roundRect">
            <a:avLst>
              <a:gd name="adj" fmla="val 5361"/>
            </a:avLst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0000"/>
              </a:solidFill>
            </a:endParaRPr>
          </a:p>
        </p:txBody>
      </p:sp>
      <p:sp>
        <p:nvSpPr>
          <p:cNvPr id="5" name="Рисунок 7">
            <a:extLst>
              <a:ext uri="{FF2B5EF4-FFF2-40B4-BE49-F238E27FC236}">
                <a16:creationId xmlns:a16="http://schemas.microsoft.com/office/drawing/2014/main" id="{D3FB9A76-953C-033C-61F9-0AC886567100}"/>
              </a:ext>
            </a:extLst>
          </p:cNvPr>
          <p:cNvSpPr/>
          <p:nvPr/>
        </p:nvSpPr>
        <p:spPr>
          <a:xfrm>
            <a:off x="3983413" y="1943086"/>
            <a:ext cx="145227" cy="145227"/>
          </a:xfrm>
          <a:custGeom>
            <a:avLst/>
            <a:gdLst>
              <a:gd name="connsiteX0" fmla="*/ 77217 w 152401"/>
              <a:gd name="connsiteY0" fmla="*/ 22562 h 152401"/>
              <a:gd name="connsiteX1" fmla="*/ 92075 w 152401"/>
              <a:gd name="connsiteY1" fmla="*/ 7 h 152401"/>
              <a:gd name="connsiteX2" fmla="*/ 133350 w 152401"/>
              <a:gd name="connsiteY2" fmla="*/ 19051 h 152401"/>
              <a:gd name="connsiteX3" fmla="*/ 152394 w 152401"/>
              <a:gd name="connsiteY3" fmla="*/ 60327 h 152401"/>
              <a:gd name="connsiteX4" fmla="*/ 129839 w 152401"/>
              <a:gd name="connsiteY4" fmla="*/ 75185 h 152401"/>
              <a:gd name="connsiteX5" fmla="*/ 104775 w 152401"/>
              <a:gd name="connsiteY5" fmla="*/ 85726 h 152401"/>
              <a:gd name="connsiteX6" fmla="*/ 95250 w 152401"/>
              <a:gd name="connsiteY6" fmla="*/ 114301 h 152401"/>
              <a:gd name="connsiteX7" fmla="*/ 79661 w 152401"/>
              <a:gd name="connsiteY7" fmla="*/ 142876 h 152401"/>
              <a:gd name="connsiteX8" fmla="*/ 45652 w 152401"/>
              <a:gd name="connsiteY8" fmla="*/ 120220 h 152401"/>
              <a:gd name="connsiteX9" fmla="*/ 16260 w 152401"/>
              <a:gd name="connsiteY9" fmla="*/ 149611 h 152401"/>
              <a:gd name="connsiteX10" fmla="*/ 2790 w 152401"/>
              <a:gd name="connsiteY10" fmla="*/ 149611 h 152401"/>
              <a:gd name="connsiteX11" fmla="*/ 2790 w 152401"/>
              <a:gd name="connsiteY11" fmla="*/ 136141 h 152401"/>
              <a:gd name="connsiteX12" fmla="*/ 32181 w 152401"/>
              <a:gd name="connsiteY12" fmla="*/ 106750 h 152401"/>
              <a:gd name="connsiteX13" fmla="*/ 9525 w 152401"/>
              <a:gd name="connsiteY13" fmla="*/ 72740 h 152401"/>
              <a:gd name="connsiteX14" fmla="*/ 38100 w 152401"/>
              <a:gd name="connsiteY14" fmla="*/ 57151 h 152401"/>
              <a:gd name="connsiteX15" fmla="*/ 66675 w 152401"/>
              <a:gd name="connsiteY15" fmla="*/ 47626 h 152401"/>
              <a:gd name="connsiteX16" fmla="*/ 77217 w 152401"/>
              <a:gd name="connsiteY16" fmla="*/ 22562 h 152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2401" h="152401">
                <a:moveTo>
                  <a:pt x="77217" y="22562"/>
                </a:moveTo>
                <a:cubicBezTo>
                  <a:pt x="78455" y="11424"/>
                  <a:pt x="79696" y="259"/>
                  <a:pt x="92075" y="7"/>
                </a:cubicBezTo>
                <a:cubicBezTo>
                  <a:pt x="105589" y="-267"/>
                  <a:pt x="121580" y="7281"/>
                  <a:pt x="133350" y="19051"/>
                </a:cubicBezTo>
                <a:cubicBezTo>
                  <a:pt x="145120" y="30821"/>
                  <a:pt x="152669" y="46812"/>
                  <a:pt x="152394" y="60327"/>
                </a:cubicBezTo>
                <a:cubicBezTo>
                  <a:pt x="152143" y="72705"/>
                  <a:pt x="140978" y="73947"/>
                  <a:pt x="129839" y="75185"/>
                </a:cubicBezTo>
                <a:cubicBezTo>
                  <a:pt x="119294" y="76356"/>
                  <a:pt x="112095" y="78457"/>
                  <a:pt x="104775" y="85726"/>
                </a:cubicBezTo>
                <a:cubicBezTo>
                  <a:pt x="98766" y="91699"/>
                  <a:pt x="95250" y="103983"/>
                  <a:pt x="95250" y="114301"/>
                </a:cubicBezTo>
                <a:cubicBezTo>
                  <a:pt x="95250" y="124621"/>
                  <a:pt x="95247" y="142876"/>
                  <a:pt x="79661" y="142876"/>
                </a:cubicBezTo>
                <a:cubicBezTo>
                  <a:pt x="73049" y="142876"/>
                  <a:pt x="59265" y="132876"/>
                  <a:pt x="45652" y="120220"/>
                </a:cubicBezTo>
                <a:lnTo>
                  <a:pt x="16260" y="149611"/>
                </a:lnTo>
                <a:cubicBezTo>
                  <a:pt x="12540" y="153332"/>
                  <a:pt x="6510" y="153332"/>
                  <a:pt x="2790" y="149611"/>
                </a:cubicBezTo>
                <a:cubicBezTo>
                  <a:pt x="-930" y="145892"/>
                  <a:pt x="-930" y="139861"/>
                  <a:pt x="2790" y="136141"/>
                </a:cubicBezTo>
                <a:lnTo>
                  <a:pt x="32181" y="106750"/>
                </a:lnTo>
                <a:cubicBezTo>
                  <a:pt x="19525" y="93137"/>
                  <a:pt x="9525" y="79353"/>
                  <a:pt x="9525" y="72740"/>
                </a:cubicBezTo>
                <a:cubicBezTo>
                  <a:pt x="9525" y="57154"/>
                  <a:pt x="27781" y="57151"/>
                  <a:pt x="38100" y="57151"/>
                </a:cubicBezTo>
                <a:cubicBezTo>
                  <a:pt x="48419" y="57151"/>
                  <a:pt x="60702" y="53635"/>
                  <a:pt x="66675" y="47626"/>
                </a:cubicBezTo>
                <a:cubicBezTo>
                  <a:pt x="73017" y="39560"/>
                  <a:pt x="76045" y="33113"/>
                  <a:pt x="77217" y="22562"/>
                </a:cubicBezTo>
                <a:close/>
              </a:path>
            </a:pathLst>
          </a:custGeom>
          <a:solidFill>
            <a:schemeClr val="accent6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49C6957-2D3E-DC29-1E26-B13045C7740D}"/>
              </a:ext>
            </a:extLst>
          </p:cNvPr>
          <p:cNvSpPr txBox="1"/>
          <p:nvPr/>
        </p:nvSpPr>
        <p:spPr>
          <a:xfrm>
            <a:off x="851401" y="1908000"/>
            <a:ext cx="2741705" cy="25329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</a:pPr>
            <a:r>
              <a:rPr lang="ru-RU" b="1" dirty="0">
                <a:solidFill>
                  <a:schemeClr val="tx1"/>
                </a:solidFill>
              </a:rPr>
              <a:t>И шрифтом единым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9217C2A-0738-0EEE-9E4D-8690A4CD65E8}"/>
              </a:ext>
            </a:extLst>
          </p:cNvPr>
          <p:cNvSpPr txBox="1"/>
          <p:nvPr/>
        </p:nvSpPr>
        <p:spPr>
          <a:xfrm>
            <a:off x="835809" y="2582400"/>
            <a:ext cx="3092566" cy="20233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</a:pPr>
            <a:r>
              <a:rPr lang="en-US" sz="1200">
                <a:latin typeface="+mj-lt"/>
              </a:rPr>
              <a:t>Arial Black </a:t>
            </a:r>
            <a:r>
              <a:rPr lang="ru-RU" sz="1200" spc="-30"/>
              <a:t>— заголовки и крупные цифры</a:t>
            </a:r>
            <a:r>
              <a:rPr lang="en-US" sz="1200" spc="-30"/>
              <a:t>.</a:t>
            </a:r>
            <a:endParaRPr lang="ru-RU" sz="1200" spc="-3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00CEFE1-B494-61DA-7233-8F84B2D4A63F}"/>
              </a:ext>
            </a:extLst>
          </p:cNvPr>
          <p:cNvSpPr txBox="1"/>
          <p:nvPr/>
        </p:nvSpPr>
        <p:spPr>
          <a:xfrm>
            <a:off x="835809" y="2805095"/>
            <a:ext cx="1985972" cy="20233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</a:pPr>
            <a:r>
              <a:rPr lang="en-US" sz="1200"/>
              <a:t>Arial</a:t>
            </a:r>
            <a:r>
              <a:rPr lang="ru-RU" sz="1200"/>
              <a:t> </a:t>
            </a:r>
            <a:r>
              <a:rPr lang="ru-RU" sz="1200" spc="-30"/>
              <a:t>— любой другой текст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9796C81-ACEB-6FF7-3F09-50647F7191D9}"/>
              </a:ext>
            </a:extLst>
          </p:cNvPr>
          <p:cNvSpPr txBox="1"/>
          <p:nvPr/>
        </p:nvSpPr>
        <p:spPr>
          <a:xfrm>
            <a:off x="851401" y="2291808"/>
            <a:ext cx="3339825" cy="2023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ru-RU" sz="1200" dirty="0"/>
              <a:t>Настроили универсальные шрифты.*</a:t>
            </a:r>
          </a:p>
        </p:txBody>
      </p:sp>
      <p:sp>
        <p:nvSpPr>
          <p:cNvPr id="10" name="Прямоугольник: скругленные углы 9">
            <a:extLst>
              <a:ext uri="{FF2B5EF4-FFF2-40B4-BE49-F238E27FC236}">
                <a16:creationId xmlns:a16="http://schemas.microsoft.com/office/drawing/2014/main" id="{6104178C-EF19-C749-314C-B1E58E8E5C6D}"/>
              </a:ext>
            </a:extLst>
          </p:cNvPr>
          <p:cNvSpPr/>
          <p:nvPr/>
        </p:nvSpPr>
        <p:spPr>
          <a:xfrm>
            <a:off x="1023002" y="3108184"/>
            <a:ext cx="728387" cy="570495"/>
          </a:xfrm>
          <a:prstGeom prst="roundRect">
            <a:avLst>
              <a:gd name="adj" fmla="val 8253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900">
              <a:solidFill>
                <a:schemeClr val="tx2"/>
              </a:solidFill>
            </a:endParaRPr>
          </a:p>
        </p:txBody>
      </p:sp>
      <p:sp>
        <p:nvSpPr>
          <p:cNvPr id="11" name="Прямоугольник: скругленные углы 10">
            <a:extLst>
              <a:ext uri="{FF2B5EF4-FFF2-40B4-BE49-F238E27FC236}">
                <a16:creationId xmlns:a16="http://schemas.microsoft.com/office/drawing/2014/main" id="{3F3BD349-C9D0-48CC-C2A2-95B33D646EDF}"/>
              </a:ext>
            </a:extLst>
          </p:cNvPr>
          <p:cNvSpPr/>
          <p:nvPr/>
        </p:nvSpPr>
        <p:spPr>
          <a:xfrm>
            <a:off x="835809" y="3108185"/>
            <a:ext cx="147470" cy="242152"/>
          </a:xfrm>
          <a:prstGeom prst="roundRect">
            <a:avLst>
              <a:gd name="adj" fmla="val 20249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400" err="1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D30B6D2-C461-1492-330C-20FD7AE1013F}"/>
              </a:ext>
            </a:extLst>
          </p:cNvPr>
          <p:cNvSpPr txBox="1"/>
          <p:nvPr/>
        </p:nvSpPr>
        <p:spPr>
          <a:xfrm>
            <a:off x="1844353" y="3115599"/>
            <a:ext cx="2235410" cy="54717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ru-RU" sz="1200" spc="-30"/>
              <a:t>Слева от слайда добавили подсказки по подбору размера текста в разных ситуациях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11821C8-FA09-F9AC-8D01-112C77DF8540}"/>
              </a:ext>
            </a:extLst>
          </p:cNvPr>
          <p:cNvSpPr txBox="1"/>
          <p:nvPr/>
        </p:nvSpPr>
        <p:spPr>
          <a:xfrm>
            <a:off x="851401" y="3789831"/>
            <a:ext cx="2916590" cy="3344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ru-RU" sz="1000">
                <a:solidFill>
                  <a:schemeClr val="accent6">
                    <a:lumMod val="75000"/>
                  </a:schemeClr>
                </a:solidFill>
              </a:rPr>
              <a:t>* По правилам бренда фирменный шрифт </a:t>
            </a:r>
            <a:r>
              <a:rPr lang="en-US" sz="1000">
                <a:solidFill>
                  <a:schemeClr val="accent6">
                    <a:lumMod val="75000"/>
                  </a:schemeClr>
                </a:solidFill>
              </a:rPr>
              <a:t>Ozon GT </a:t>
            </a:r>
            <a:r>
              <a:rPr lang="en-US" sz="1000" err="1">
                <a:solidFill>
                  <a:schemeClr val="accent6">
                    <a:lumMod val="75000"/>
                  </a:schemeClr>
                </a:solidFill>
              </a:rPr>
              <a:t>Eesti</a:t>
            </a:r>
            <a:r>
              <a:rPr lang="en-US" sz="1000">
                <a:solidFill>
                  <a:schemeClr val="accent6">
                    <a:lumMod val="75000"/>
                  </a:schemeClr>
                </a:solidFill>
              </a:rPr>
              <a:t> </a:t>
            </a:r>
            <a:r>
              <a:rPr lang="ru-RU" sz="1000">
                <a:solidFill>
                  <a:schemeClr val="accent6">
                    <a:lumMod val="75000"/>
                  </a:schemeClr>
                </a:solidFill>
              </a:rPr>
              <a:t>в презентациях не используется.</a:t>
            </a:r>
          </a:p>
        </p:txBody>
      </p:sp>
      <p:sp>
        <p:nvSpPr>
          <p:cNvPr id="14" name="Прямоугольник: скругленные углы 13">
            <a:extLst>
              <a:ext uri="{FF2B5EF4-FFF2-40B4-BE49-F238E27FC236}">
                <a16:creationId xmlns:a16="http://schemas.microsoft.com/office/drawing/2014/main" id="{C4AD015F-EE11-7D88-0C79-B09991610136}"/>
              </a:ext>
            </a:extLst>
          </p:cNvPr>
          <p:cNvSpPr/>
          <p:nvPr/>
        </p:nvSpPr>
        <p:spPr>
          <a:xfrm>
            <a:off x="639763" y="4535412"/>
            <a:ext cx="3636962" cy="1734939"/>
          </a:xfrm>
          <a:prstGeom prst="roundRect">
            <a:avLst>
              <a:gd name="adj" fmla="val 10391"/>
            </a:avLst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0000"/>
              </a:solidFill>
            </a:endParaRPr>
          </a:p>
        </p:txBody>
      </p:sp>
      <p:sp>
        <p:nvSpPr>
          <p:cNvPr id="15" name="Рисунок 7">
            <a:extLst>
              <a:ext uri="{FF2B5EF4-FFF2-40B4-BE49-F238E27FC236}">
                <a16:creationId xmlns:a16="http://schemas.microsoft.com/office/drawing/2014/main" id="{FA43BDE8-D7A0-0C27-C6CD-029C50B868D5}"/>
              </a:ext>
            </a:extLst>
          </p:cNvPr>
          <p:cNvSpPr/>
          <p:nvPr/>
        </p:nvSpPr>
        <p:spPr>
          <a:xfrm>
            <a:off x="3984207" y="4656592"/>
            <a:ext cx="145227" cy="145227"/>
          </a:xfrm>
          <a:custGeom>
            <a:avLst/>
            <a:gdLst>
              <a:gd name="connsiteX0" fmla="*/ 77217 w 152401"/>
              <a:gd name="connsiteY0" fmla="*/ 22562 h 152401"/>
              <a:gd name="connsiteX1" fmla="*/ 92075 w 152401"/>
              <a:gd name="connsiteY1" fmla="*/ 7 h 152401"/>
              <a:gd name="connsiteX2" fmla="*/ 133350 w 152401"/>
              <a:gd name="connsiteY2" fmla="*/ 19051 h 152401"/>
              <a:gd name="connsiteX3" fmla="*/ 152394 w 152401"/>
              <a:gd name="connsiteY3" fmla="*/ 60327 h 152401"/>
              <a:gd name="connsiteX4" fmla="*/ 129839 w 152401"/>
              <a:gd name="connsiteY4" fmla="*/ 75185 h 152401"/>
              <a:gd name="connsiteX5" fmla="*/ 104775 w 152401"/>
              <a:gd name="connsiteY5" fmla="*/ 85726 h 152401"/>
              <a:gd name="connsiteX6" fmla="*/ 95250 w 152401"/>
              <a:gd name="connsiteY6" fmla="*/ 114301 h 152401"/>
              <a:gd name="connsiteX7" fmla="*/ 79661 w 152401"/>
              <a:gd name="connsiteY7" fmla="*/ 142876 h 152401"/>
              <a:gd name="connsiteX8" fmla="*/ 45652 w 152401"/>
              <a:gd name="connsiteY8" fmla="*/ 120220 h 152401"/>
              <a:gd name="connsiteX9" fmla="*/ 16260 w 152401"/>
              <a:gd name="connsiteY9" fmla="*/ 149611 h 152401"/>
              <a:gd name="connsiteX10" fmla="*/ 2790 w 152401"/>
              <a:gd name="connsiteY10" fmla="*/ 149611 h 152401"/>
              <a:gd name="connsiteX11" fmla="*/ 2790 w 152401"/>
              <a:gd name="connsiteY11" fmla="*/ 136141 h 152401"/>
              <a:gd name="connsiteX12" fmla="*/ 32181 w 152401"/>
              <a:gd name="connsiteY12" fmla="*/ 106750 h 152401"/>
              <a:gd name="connsiteX13" fmla="*/ 9525 w 152401"/>
              <a:gd name="connsiteY13" fmla="*/ 72740 h 152401"/>
              <a:gd name="connsiteX14" fmla="*/ 38100 w 152401"/>
              <a:gd name="connsiteY14" fmla="*/ 57151 h 152401"/>
              <a:gd name="connsiteX15" fmla="*/ 66675 w 152401"/>
              <a:gd name="connsiteY15" fmla="*/ 47626 h 152401"/>
              <a:gd name="connsiteX16" fmla="*/ 77217 w 152401"/>
              <a:gd name="connsiteY16" fmla="*/ 22562 h 152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2401" h="152401">
                <a:moveTo>
                  <a:pt x="77217" y="22562"/>
                </a:moveTo>
                <a:cubicBezTo>
                  <a:pt x="78455" y="11424"/>
                  <a:pt x="79696" y="259"/>
                  <a:pt x="92075" y="7"/>
                </a:cubicBezTo>
                <a:cubicBezTo>
                  <a:pt x="105589" y="-267"/>
                  <a:pt x="121580" y="7281"/>
                  <a:pt x="133350" y="19051"/>
                </a:cubicBezTo>
                <a:cubicBezTo>
                  <a:pt x="145120" y="30821"/>
                  <a:pt x="152669" y="46812"/>
                  <a:pt x="152394" y="60327"/>
                </a:cubicBezTo>
                <a:cubicBezTo>
                  <a:pt x="152143" y="72705"/>
                  <a:pt x="140978" y="73947"/>
                  <a:pt x="129839" y="75185"/>
                </a:cubicBezTo>
                <a:cubicBezTo>
                  <a:pt x="119294" y="76356"/>
                  <a:pt x="112095" y="78457"/>
                  <a:pt x="104775" y="85726"/>
                </a:cubicBezTo>
                <a:cubicBezTo>
                  <a:pt x="98766" y="91699"/>
                  <a:pt x="95250" y="103983"/>
                  <a:pt x="95250" y="114301"/>
                </a:cubicBezTo>
                <a:cubicBezTo>
                  <a:pt x="95250" y="124621"/>
                  <a:pt x="95247" y="142876"/>
                  <a:pt x="79661" y="142876"/>
                </a:cubicBezTo>
                <a:cubicBezTo>
                  <a:pt x="73049" y="142876"/>
                  <a:pt x="59265" y="132876"/>
                  <a:pt x="45652" y="120220"/>
                </a:cubicBezTo>
                <a:lnTo>
                  <a:pt x="16260" y="149611"/>
                </a:lnTo>
                <a:cubicBezTo>
                  <a:pt x="12540" y="153332"/>
                  <a:pt x="6510" y="153332"/>
                  <a:pt x="2790" y="149611"/>
                </a:cubicBezTo>
                <a:cubicBezTo>
                  <a:pt x="-930" y="145892"/>
                  <a:pt x="-930" y="139861"/>
                  <a:pt x="2790" y="136141"/>
                </a:cubicBezTo>
                <a:lnTo>
                  <a:pt x="32181" y="106750"/>
                </a:lnTo>
                <a:cubicBezTo>
                  <a:pt x="19525" y="93137"/>
                  <a:pt x="9525" y="79353"/>
                  <a:pt x="9525" y="72740"/>
                </a:cubicBezTo>
                <a:cubicBezTo>
                  <a:pt x="9525" y="57154"/>
                  <a:pt x="27781" y="57151"/>
                  <a:pt x="38100" y="57151"/>
                </a:cubicBezTo>
                <a:cubicBezTo>
                  <a:pt x="48419" y="57151"/>
                  <a:pt x="60702" y="53635"/>
                  <a:pt x="66675" y="47626"/>
                </a:cubicBezTo>
                <a:cubicBezTo>
                  <a:pt x="73017" y="39560"/>
                  <a:pt x="76045" y="33113"/>
                  <a:pt x="77217" y="22562"/>
                </a:cubicBezTo>
                <a:close/>
              </a:path>
            </a:pathLst>
          </a:custGeom>
          <a:solidFill>
            <a:schemeClr val="accent6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30F08A5-A097-D2DF-E5ED-50245BA1511D}"/>
              </a:ext>
            </a:extLst>
          </p:cNvPr>
          <p:cNvSpPr txBox="1"/>
          <p:nvPr/>
        </p:nvSpPr>
        <p:spPr>
          <a:xfrm>
            <a:off x="852195" y="4682793"/>
            <a:ext cx="2741705" cy="25329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</a:pPr>
            <a:r>
              <a:rPr lang="ru-RU" b="1">
                <a:solidFill>
                  <a:schemeClr val="accent1"/>
                </a:solidFill>
              </a:rPr>
              <a:t>Классные таблицы</a:t>
            </a:r>
          </a:p>
        </p:txBody>
      </p:sp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3B8DA76D-193B-C485-5922-0905FBE36CC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57406" y="5041239"/>
            <a:ext cx="1336787" cy="596097"/>
          </a:xfrm>
          <a:prstGeom prst="roundRect">
            <a:avLst>
              <a:gd name="adj" fmla="val 8135"/>
            </a:avLst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E6016BEF-43F4-C513-6E8D-2D3F43E850C9}"/>
              </a:ext>
            </a:extLst>
          </p:cNvPr>
          <p:cNvSpPr txBox="1"/>
          <p:nvPr/>
        </p:nvSpPr>
        <p:spPr>
          <a:xfrm>
            <a:off x="2310490" y="5041239"/>
            <a:ext cx="1737427" cy="82060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ru-RU" sz="1200" spc="-30"/>
              <a:t>Настроили специальный стиль для работы </a:t>
            </a:r>
            <a:br>
              <a:rPr lang="ru-RU" sz="1200" spc="-30"/>
            </a:br>
            <a:r>
              <a:rPr lang="ru-RU" sz="1200" spc="-30"/>
              <a:t>с таблицами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A59D513-03D7-E112-73C4-AEF053F1B8A3}"/>
              </a:ext>
            </a:extLst>
          </p:cNvPr>
          <p:cNvSpPr txBox="1"/>
          <p:nvPr/>
        </p:nvSpPr>
        <p:spPr>
          <a:xfrm>
            <a:off x="852195" y="5727560"/>
            <a:ext cx="3277239" cy="4041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ru-RU" sz="1200"/>
              <a:t>Настраивай вид таблицы в несколько кликов в разделе «Конструктор таблиц»</a:t>
            </a:r>
          </a:p>
        </p:txBody>
      </p:sp>
      <p:sp>
        <p:nvSpPr>
          <p:cNvPr id="20" name="Прямоугольник: скругленные углы 19">
            <a:extLst>
              <a:ext uri="{FF2B5EF4-FFF2-40B4-BE49-F238E27FC236}">
                <a16:creationId xmlns:a16="http://schemas.microsoft.com/office/drawing/2014/main" id="{D17B9CA6-6150-A43F-D409-1A3029BF4C87}"/>
              </a:ext>
            </a:extLst>
          </p:cNvPr>
          <p:cNvSpPr/>
          <p:nvPr/>
        </p:nvSpPr>
        <p:spPr>
          <a:xfrm>
            <a:off x="835809" y="3382445"/>
            <a:ext cx="147470" cy="173301"/>
          </a:xfrm>
          <a:prstGeom prst="roundRect">
            <a:avLst>
              <a:gd name="adj" fmla="val 18868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400" err="1"/>
          </a:p>
        </p:txBody>
      </p:sp>
      <p:sp>
        <p:nvSpPr>
          <p:cNvPr id="21" name="Прямоугольник: скругленные углы 20">
            <a:extLst>
              <a:ext uri="{FF2B5EF4-FFF2-40B4-BE49-F238E27FC236}">
                <a16:creationId xmlns:a16="http://schemas.microsoft.com/office/drawing/2014/main" id="{E0C63BED-38C1-7FE4-2365-63A32A9AAC60}"/>
              </a:ext>
            </a:extLst>
          </p:cNvPr>
          <p:cNvSpPr/>
          <p:nvPr/>
        </p:nvSpPr>
        <p:spPr>
          <a:xfrm>
            <a:off x="835809" y="3587854"/>
            <a:ext cx="147470" cy="99462"/>
          </a:xfrm>
          <a:prstGeom prst="roundRect">
            <a:avLst>
              <a:gd name="adj" fmla="val 29916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400" err="1"/>
          </a:p>
        </p:txBody>
      </p:sp>
      <p:sp>
        <p:nvSpPr>
          <p:cNvPr id="24" name="Прямоугольник: скругленные углы 23">
            <a:extLst>
              <a:ext uri="{FF2B5EF4-FFF2-40B4-BE49-F238E27FC236}">
                <a16:creationId xmlns:a16="http://schemas.microsoft.com/office/drawing/2014/main" id="{DB56BD41-1107-8D34-A153-D854D92E8037}"/>
              </a:ext>
            </a:extLst>
          </p:cNvPr>
          <p:cNvSpPr/>
          <p:nvPr/>
        </p:nvSpPr>
        <p:spPr>
          <a:xfrm>
            <a:off x="4542838" y="411163"/>
            <a:ext cx="3961015" cy="5851525"/>
          </a:xfrm>
          <a:prstGeom prst="roundRect">
            <a:avLst>
              <a:gd name="adj" fmla="val 5112"/>
            </a:avLst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0000"/>
              </a:solidFill>
            </a:endParaRPr>
          </a:p>
        </p:txBody>
      </p:sp>
      <p:sp>
        <p:nvSpPr>
          <p:cNvPr id="25" name="Рисунок 7">
            <a:extLst>
              <a:ext uri="{FF2B5EF4-FFF2-40B4-BE49-F238E27FC236}">
                <a16:creationId xmlns:a16="http://schemas.microsoft.com/office/drawing/2014/main" id="{BE35B28F-D3E3-8C7F-F57E-6C61167D7222}"/>
              </a:ext>
            </a:extLst>
          </p:cNvPr>
          <p:cNvSpPr/>
          <p:nvPr/>
        </p:nvSpPr>
        <p:spPr>
          <a:xfrm>
            <a:off x="8208625" y="534179"/>
            <a:ext cx="145227" cy="145227"/>
          </a:xfrm>
          <a:custGeom>
            <a:avLst/>
            <a:gdLst>
              <a:gd name="connsiteX0" fmla="*/ 77217 w 152401"/>
              <a:gd name="connsiteY0" fmla="*/ 22562 h 152401"/>
              <a:gd name="connsiteX1" fmla="*/ 92075 w 152401"/>
              <a:gd name="connsiteY1" fmla="*/ 7 h 152401"/>
              <a:gd name="connsiteX2" fmla="*/ 133350 w 152401"/>
              <a:gd name="connsiteY2" fmla="*/ 19051 h 152401"/>
              <a:gd name="connsiteX3" fmla="*/ 152394 w 152401"/>
              <a:gd name="connsiteY3" fmla="*/ 60327 h 152401"/>
              <a:gd name="connsiteX4" fmla="*/ 129839 w 152401"/>
              <a:gd name="connsiteY4" fmla="*/ 75185 h 152401"/>
              <a:gd name="connsiteX5" fmla="*/ 104775 w 152401"/>
              <a:gd name="connsiteY5" fmla="*/ 85726 h 152401"/>
              <a:gd name="connsiteX6" fmla="*/ 95250 w 152401"/>
              <a:gd name="connsiteY6" fmla="*/ 114301 h 152401"/>
              <a:gd name="connsiteX7" fmla="*/ 79661 w 152401"/>
              <a:gd name="connsiteY7" fmla="*/ 142876 h 152401"/>
              <a:gd name="connsiteX8" fmla="*/ 45652 w 152401"/>
              <a:gd name="connsiteY8" fmla="*/ 120220 h 152401"/>
              <a:gd name="connsiteX9" fmla="*/ 16260 w 152401"/>
              <a:gd name="connsiteY9" fmla="*/ 149611 h 152401"/>
              <a:gd name="connsiteX10" fmla="*/ 2790 w 152401"/>
              <a:gd name="connsiteY10" fmla="*/ 149611 h 152401"/>
              <a:gd name="connsiteX11" fmla="*/ 2790 w 152401"/>
              <a:gd name="connsiteY11" fmla="*/ 136141 h 152401"/>
              <a:gd name="connsiteX12" fmla="*/ 32181 w 152401"/>
              <a:gd name="connsiteY12" fmla="*/ 106750 h 152401"/>
              <a:gd name="connsiteX13" fmla="*/ 9525 w 152401"/>
              <a:gd name="connsiteY13" fmla="*/ 72740 h 152401"/>
              <a:gd name="connsiteX14" fmla="*/ 38100 w 152401"/>
              <a:gd name="connsiteY14" fmla="*/ 57151 h 152401"/>
              <a:gd name="connsiteX15" fmla="*/ 66675 w 152401"/>
              <a:gd name="connsiteY15" fmla="*/ 47626 h 152401"/>
              <a:gd name="connsiteX16" fmla="*/ 77217 w 152401"/>
              <a:gd name="connsiteY16" fmla="*/ 22562 h 152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2401" h="152401">
                <a:moveTo>
                  <a:pt x="77217" y="22562"/>
                </a:moveTo>
                <a:cubicBezTo>
                  <a:pt x="78455" y="11424"/>
                  <a:pt x="79696" y="259"/>
                  <a:pt x="92075" y="7"/>
                </a:cubicBezTo>
                <a:cubicBezTo>
                  <a:pt x="105589" y="-267"/>
                  <a:pt x="121580" y="7281"/>
                  <a:pt x="133350" y="19051"/>
                </a:cubicBezTo>
                <a:cubicBezTo>
                  <a:pt x="145120" y="30821"/>
                  <a:pt x="152669" y="46812"/>
                  <a:pt x="152394" y="60327"/>
                </a:cubicBezTo>
                <a:cubicBezTo>
                  <a:pt x="152143" y="72705"/>
                  <a:pt x="140978" y="73947"/>
                  <a:pt x="129839" y="75185"/>
                </a:cubicBezTo>
                <a:cubicBezTo>
                  <a:pt x="119294" y="76356"/>
                  <a:pt x="112095" y="78457"/>
                  <a:pt x="104775" y="85726"/>
                </a:cubicBezTo>
                <a:cubicBezTo>
                  <a:pt x="98766" y="91699"/>
                  <a:pt x="95250" y="103983"/>
                  <a:pt x="95250" y="114301"/>
                </a:cubicBezTo>
                <a:cubicBezTo>
                  <a:pt x="95250" y="124621"/>
                  <a:pt x="95247" y="142876"/>
                  <a:pt x="79661" y="142876"/>
                </a:cubicBezTo>
                <a:cubicBezTo>
                  <a:pt x="73049" y="142876"/>
                  <a:pt x="59265" y="132876"/>
                  <a:pt x="45652" y="120220"/>
                </a:cubicBezTo>
                <a:lnTo>
                  <a:pt x="16260" y="149611"/>
                </a:lnTo>
                <a:cubicBezTo>
                  <a:pt x="12540" y="153332"/>
                  <a:pt x="6510" y="153332"/>
                  <a:pt x="2790" y="149611"/>
                </a:cubicBezTo>
                <a:cubicBezTo>
                  <a:pt x="-930" y="145892"/>
                  <a:pt x="-930" y="139861"/>
                  <a:pt x="2790" y="136141"/>
                </a:cubicBezTo>
                <a:lnTo>
                  <a:pt x="32181" y="106750"/>
                </a:lnTo>
                <a:cubicBezTo>
                  <a:pt x="19525" y="93137"/>
                  <a:pt x="9525" y="79353"/>
                  <a:pt x="9525" y="72740"/>
                </a:cubicBezTo>
                <a:cubicBezTo>
                  <a:pt x="9525" y="57154"/>
                  <a:pt x="27781" y="57151"/>
                  <a:pt x="38100" y="57151"/>
                </a:cubicBezTo>
                <a:cubicBezTo>
                  <a:pt x="48419" y="57151"/>
                  <a:pt x="60702" y="53635"/>
                  <a:pt x="66675" y="47626"/>
                </a:cubicBezTo>
                <a:cubicBezTo>
                  <a:pt x="73017" y="39560"/>
                  <a:pt x="76045" y="33113"/>
                  <a:pt x="77217" y="22562"/>
                </a:cubicBezTo>
                <a:close/>
              </a:path>
            </a:pathLst>
          </a:custGeom>
          <a:solidFill>
            <a:schemeClr val="accent6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47" name="Рисунок 7">
            <a:extLst>
              <a:ext uri="{FF2B5EF4-FFF2-40B4-BE49-F238E27FC236}">
                <a16:creationId xmlns:a16="http://schemas.microsoft.com/office/drawing/2014/main" id="{3FB86F63-95B4-8D2E-1A9A-F785D45CAB4B}"/>
              </a:ext>
            </a:extLst>
          </p:cNvPr>
          <p:cNvSpPr/>
          <p:nvPr/>
        </p:nvSpPr>
        <p:spPr>
          <a:xfrm>
            <a:off x="11248712" y="534179"/>
            <a:ext cx="145227" cy="145227"/>
          </a:xfrm>
          <a:custGeom>
            <a:avLst/>
            <a:gdLst>
              <a:gd name="connsiteX0" fmla="*/ 77217 w 152401"/>
              <a:gd name="connsiteY0" fmla="*/ 22562 h 152401"/>
              <a:gd name="connsiteX1" fmla="*/ 92075 w 152401"/>
              <a:gd name="connsiteY1" fmla="*/ 7 h 152401"/>
              <a:gd name="connsiteX2" fmla="*/ 133350 w 152401"/>
              <a:gd name="connsiteY2" fmla="*/ 19051 h 152401"/>
              <a:gd name="connsiteX3" fmla="*/ 152394 w 152401"/>
              <a:gd name="connsiteY3" fmla="*/ 60327 h 152401"/>
              <a:gd name="connsiteX4" fmla="*/ 129839 w 152401"/>
              <a:gd name="connsiteY4" fmla="*/ 75185 h 152401"/>
              <a:gd name="connsiteX5" fmla="*/ 104775 w 152401"/>
              <a:gd name="connsiteY5" fmla="*/ 85726 h 152401"/>
              <a:gd name="connsiteX6" fmla="*/ 95250 w 152401"/>
              <a:gd name="connsiteY6" fmla="*/ 114301 h 152401"/>
              <a:gd name="connsiteX7" fmla="*/ 79661 w 152401"/>
              <a:gd name="connsiteY7" fmla="*/ 142876 h 152401"/>
              <a:gd name="connsiteX8" fmla="*/ 45652 w 152401"/>
              <a:gd name="connsiteY8" fmla="*/ 120220 h 152401"/>
              <a:gd name="connsiteX9" fmla="*/ 16260 w 152401"/>
              <a:gd name="connsiteY9" fmla="*/ 149611 h 152401"/>
              <a:gd name="connsiteX10" fmla="*/ 2790 w 152401"/>
              <a:gd name="connsiteY10" fmla="*/ 149611 h 152401"/>
              <a:gd name="connsiteX11" fmla="*/ 2790 w 152401"/>
              <a:gd name="connsiteY11" fmla="*/ 136141 h 152401"/>
              <a:gd name="connsiteX12" fmla="*/ 32181 w 152401"/>
              <a:gd name="connsiteY12" fmla="*/ 106750 h 152401"/>
              <a:gd name="connsiteX13" fmla="*/ 9525 w 152401"/>
              <a:gd name="connsiteY13" fmla="*/ 72740 h 152401"/>
              <a:gd name="connsiteX14" fmla="*/ 38100 w 152401"/>
              <a:gd name="connsiteY14" fmla="*/ 57151 h 152401"/>
              <a:gd name="connsiteX15" fmla="*/ 66675 w 152401"/>
              <a:gd name="connsiteY15" fmla="*/ 47626 h 152401"/>
              <a:gd name="connsiteX16" fmla="*/ 77217 w 152401"/>
              <a:gd name="connsiteY16" fmla="*/ 22562 h 152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2401" h="152401">
                <a:moveTo>
                  <a:pt x="77217" y="22562"/>
                </a:moveTo>
                <a:cubicBezTo>
                  <a:pt x="78455" y="11424"/>
                  <a:pt x="79696" y="259"/>
                  <a:pt x="92075" y="7"/>
                </a:cubicBezTo>
                <a:cubicBezTo>
                  <a:pt x="105589" y="-267"/>
                  <a:pt x="121580" y="7281"/>
                  <a:pt x="133350" y="19051"/>
                </a:cubicBezTo>
                <a:cubicBezTo>
                  <a:pt x="145120" y="30821"/>
                  <a:pt x="152669" y="46812"/>
                  <a:pt x="152394" y="60327"/>
                </a:cubicBezTo>
                <a:cubicBezTo>
                  <a:pt x="152143" y="72705"/>
                  <a:pt x="140978" y="73947"/>
                  <a:pt x="129839" y="75185"/>
                </a:cubicBezTo>
                <a:cubicBezTo>
                  <a:pt x="119294" y="76356"/>
                  <a:pt x="112095" y="78457"/>
                  <a:pt x="104775" y="85726"/>
                </a:cubicBezTo>
                <a:cubicBezTo>
                  <a:pt x="98766" y="91699"/>
                  <a:pt x="95250" y="103983"/>
                  <a:pt x="95250" y="114301"/>
                </a:cubicBezTo>
                <a:cubicBezTo>
                  <a:pt x="95250" y="124621"/>
                  <a:pt x="95247" y="142876"/>
                  <a:pt x="79661" y="142876"/>
                </a:cubicBezTo>
                <a:cubicBezTo>
                  <a:pt x="73049" y="142876"/>
                  <a:pt x="59265" y="132876"/>
                  <a:pt x="45652" y="120220"/>
                </a:cubicBezTo>
                <a:lnTo>
                  <a:pt x="16260" y="149611"/>
                </a:lnTo>
                <a:cubicBezTo>
                  <a:pt x="12540" y="153332"/>
                  <a:pt x="6510" y="153332"/>
                  <a:pt x="2790" y="149611"/>
                </a:cubicBezTo>
                <a:cubicBezTo>
                  <a:pt x="-930" y="145892"/>
                  <a:pt x="-930" y="139861"/>
                  <a:pt x="2790" y="136141"/>
                </a:cubicBezTo>
                <a:lnTo>
                  <a:pt x="32181" y="106750"/>
                </a:lnTo>
                <a:cubicBezTo>
                  <a:pt x="19525" y="93137"/>
                  <a:pt x="9525" y="79353"/>
                  <a:pt x="9525" y="72740"/>
                </a:cubicBezTo>
                <a:cubicBezTo>
                  <a:pt x="9525" y="57154"/>
                  <a:pt x="27781" y="57151"/>
                  <a:pt x="38100" y="57151"/>
                </a:cubicBezTo>
                <a:cubicBezTo>
                  <a:pt x="48419" y="57151"/>
                  <a:pt x="60702" y="53635"/>
                  <a:pt x="66675" y="47626"/>
                </a:cubicBezTo>
                <a:cubicBezTo>
                  <a:pt x="73017" y="39560"/>
                  <a:pt x="76045" y="33113"/>
                  <a:pt x="77217" y="22562"/>
                </a:cubicBezTo>
                <a:close/>
              </a:path>
            </a:pathLst>
          </a:custGeom>
          <a:solidFill>
            <a:schemeClr val="accent6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FAFB31A0-09C1-9043-1A77-84FD4D90313B}"/>
              </a:ext>
            </a:extLst>
          </p:cNvPr>
          <p:cNvSpPr txBox="1"/>
          <p:nvPr/>
        </p:nvSpPr>
        <p:spPr>
          <a:xfrm>
            <a:off x="8972687" y="587649"/>
            <a:ext cx="2421252" cy="32446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</a:pPr>
            <a:r>
              <a:rPr lang="ru-RU" b="1" dirty="0">
                <a:solidFill>
                  <a:schemeClr val="tx1"/>
                </a:solidFill>
              </a:rPr>
              <a:t>Всё будет ровно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F5E12F67-07D8-7040-A6DE-E851CCEA0DC7}"/>
              </a:ext>
            </a:extLst>
          </p:cNvPr>
          <p:cNvSpPr txBox="1"/>
          <p:nvPr/>
        </p:nvSpPr>
        <p:spPr>
          <a:xfrm>
            <a:off x="8972688" y="927055"/>
            <a:ext cx="2383504" cy="109117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ru-RU" sz="1200"/>
              <a:t>Чтобы тебе было проще выравнивать контент</a:t>
            </a:r>
            <a:r>
              <a:rPr lang="en-US" sz="1200"/>
              <a:t>,</a:t>
            </a:r>
            <a:r>
              <a:rPr lang="ru-RU" sz="1200"/>
              <a:t> в шаблоне настроены направляющие. Включи их, нажав Alt+F9 </a:t>
            </a:r>
            <a:br>
              <a:rPr lang="ru-RU" sz="1200"/>
            </a:br>
            <a:r>
              <a:rPr lang="ru-RU" sz="1200"/>
              <a:t>или через вкладку «Вид» — «Направляющие»</a:t>
            </a:r>
            <a:r>
              <a:rPr lang="en-US" sz="1200"/>
              <a:t>.</a:t>
            </a:r>
            <a:r>
              <a:rPr lang="ru-RU" sz="1200"/>
              <a:t> 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0116D428-F5AA-A1D9-F109-4424B5FEEFC6}"/>
              </a:ext>
            </a:extLst>
          </p:cNvPr>
          <p:cNvSpPr txBox="1"/>
          <p:nvPr/>
        </p:nvSpPr>
        <p:spPr>
          <a:xfrm>
            <a:off x="9199437" y="2109168"/>
            <a:ext cx="1708894" cy="161969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400"/>
              </a:spcAft>
            </a:pPr>
            <a:r>
              <a:rPr lang="ru-RU" sz="1200"/>
              <a:t>Красными линиями обозначены границы слайда. Не размещай контент за их пределами. </a:t>
            </a:r>
          </a:p>
          <a:p>
            <a:pPr>
              <a:spcAft>
                <a:spcPts val="400"/>
              </a:spcAft>
            </a:pPr>
            <a:r>
              <a:rPr lang="ru-RU" sz="1200"/>
              <a:t>По серым линиям можно выравнивать контент внутри слайда.</a:t>
            </a:r>
          </a:p>
          <a:p>
            <a:pPr algn="l">
              <a:spcAft>
                <a:spcPts val="400"/>
              </a:spcAft>
            </a:pPr>
            <a:endParaRPr lang="ru-RU" sz="1400"/>
          </a:p>
        </p:txBody>
      </p:sp>
      <p:sp>
        <p:nvSpPr>
          <p:cNvPr id="53" name="Прямоугольник: скругленные углы 52">
            <a:extLst>
              <a:ext uri="{FF2B5EF4-FFF2-40B4-BE49-F238E27FC236}">
                <a16:creationId xmlns:a16="http://schemas.microsoft.com/office/drawing/2014/main" id="{09360FA4-F8F2-B1A6-D90C-CE0095F5B7F6}"/>
              </a:ext>
            </a:extLst>
          </p:cNvPr>
          <p:cNvSpPr/>
          <p:nvPr/>
        </p:nvSpPr>
        <p:spPr>
          <a:xfrm>
            <a:off x="8769965" y="4247728"/>
            <a:ext cx="2782273" cy="2022623"/>
          </a:xfrm>
          <a:prstGeom prst="roundRect">
            <a:avLst>
              <a:gd name="adj" fmla="val 10391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0000"/>
              </a:solidFill>
            </a:endParaRPr>
          </a:p>
        </p:txBody>
      </p:sp>
      <p:sp>
        <p:nvSpPr>
          <p:cNvPr id="54" name="Рисунок 7">
            <a:extLst>
              <a:ext uri="{FF2B5EF4-FFF2-40B4-BE49-F238E27FC236}">
                <a16:creationId xmlns:a16="http://schemas.microsoft.com/office/drawing/2014/main" id="{F0DB6D7E-CA8B-946C-BADB-B831EA01BE74}"/>
              </a:ext>
            </a:extLst>
          </p:cNvPr>
          <p:cNvSpPr/>
          <p:nvPr/>
        </p:nvSpPr>
        <p:spPr>
          <a:xfrm>
            <a:off x="11259721" y="4368825"/>
            <a:ext cx="145227" cy="145227"/>
          </a:xfrm>
          <a:custGeom>
            <a:avLst/>
            <a:gdLst>
              <a:gd name="connsiteX0" fmla="*/ 77217 w 152401"/>
              <a:gd name="connsiteY0" fmla="*/ 22562 h 152401"/>
              <a:gd name="connsiteX1" fmla="*/ 92075 w 152401"/>
              <a:gd name="connsiteY1" fmla="*/ 7 h 152401"/>
              <a:gd name="connsiteX2" fmla="*/ 133350 w 152401"/>
              <a:gd name="connsiteY2" fmla="*/ 19051 h 152401"/>
              <a:gd name="connsiteX3" fmla="*/ 152394 w 152401"/>
              <a:gd name="connsiteY3" fmla="*/ 60327 h 152401"/>
              <a:gd name="connsiteX4" fmla="*/ 129839 w 152401"/>
              <a:gd name="connsiteY4" fmla="*/ 75185 h 152401"/>
              <a:gd name="connsiteX5" fmla="*/ 104775 w 152401"/>
              <a:gd name="connsiteY5" fmla="*/ 85726 h 152401"/>
              <a:gd name="connsiteX6" fmla="*/ 95250 w 152401"/>
              <a:gd name="connsiteY6" fmla="*/ 114301 h 152401"/>
              <a:gd name="connsiteX7" fmla="*/ 79661 w 152401"/>
              <a:gd name="connsiteY7" fmla="*/ 142876 h 152401"/>
              <a:gd name="connsiteX8" fmla="*/ 45652 w 152401"/>
              <a:gd name="connsiteY8" fmla="*/ 120220 h 152401"/>
              <a:gd name="connsiteX9" fmla="*/ 16260 w 152401"/>
              <a:gd name="connsiteY9" fmla="*/ 149611 h 152401"/>
              <a:gd name="connsiteX10" fmla="*/ 2790 w 152401"/>
              <a:gd name="connsiteY10" fmla="*/ 149611 h 152401"/>
              <a:gd name="connsiteX11" fmla="*/ 2790 w 152401"/>
              <a:gd name="connsiteY11" fmla="*/ 136141 h 152401"/>
              <a:gd name="connsiteX12" fmla="*/ 32181 w 152401"/>
              <a:gd name="connsiteY12" fmla="*/ 106750 h 152401"/>
              <a:gd name="connsiteX13" fmla="*/ 9525 w 152401"/>
              <a:gd name="connsiteY13" fmla="*/ 72740 h 152401"/>
              <a:gd name="connsiteX14" fmla="*/ 38100 w 152401"/>
              <a:gd name="connsiteY14" fmla="*/ 57151 h 152401"/>
              <a:gd name="connsiteX15" fmla="*/ 66675 w 152401"/>
              <a:gd name="connsiteY15" fmla="*/ 47626 h 152401"/>
              <a:gd name="connsiteX16" fmla="*/ 77217 w 152401"/>
              <a:gd name="connsiteY16" fmla="*/ 22562 h 152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2401" h="152401">
                <a:moveTo>
                  <a:pt x="77217" y="22562"/>
                </a:moveTo>
                <a:cubicBezTo>
                  <a:pt x="78455" y="11424"/>
                  <a:pt x="79696" y="259"/>
                  <a:pt x="92075" y="7"/>
                </a:cubicBezTo>
                <a:cubicBezTo>
                  <a:pt x="105589" y="-267"/>
                  <a:pt x="121580" y="7281"/>
                  <a:pt x="133350" y="19051"/>
                </a:cubicBezTo>
                <a:cubicBezTo>
                  <a:pt x="145120" y="30821"/>
                  <a:pt x="152669" y="46812"/>
                  <a:pt x="152394" y="60327"/>
                </a:cubicBezTo>
                <a:cubicBezTo>
                  <a:pt x="152143" y="72705"/>
                  <a:pt x="140978" y="73947"/>
                  <a:pt x="129839" y="75185"/>
                </a:cubicBezTo>
                <a:cubicBezTo>
                  <a:pt x="119294" y="76356"/>
                  <a:pt x="112095" y="78457"/>
                  <a:pt x="104775" y="85726"/>
                </a:cubicBezTo>
                <a:cubicBezTo>
                  <a:pt x="98766" y="91699"/>
                  <a:pt x="95250" y="103983"/>
                  <a:pt x="95250" y="114301"/>
                </a:cubicBezTo>
                <a:cubicBezTo>
                  <a:pt x="95250" y="124621"/>
                  <a:pt x="95247" y="142876"/>
                  <a:pt x="79661" y="142876"/>
                </a:cubicBezTo>
                <a:cubicBezTo>
                  <a:pt x="73049" y="142876"/>
                  <a:pt x="59265" y="132876"/>
                  <a:pt x="45652" y="120220"/>
                </a:cubicBezTo>
                <a:lnTo>
                  <a:pt x="16260" y="149611"/>
                </a:lnTo>
                <a:cubicBezTo>
                  <a:pt x="12540" y="153332"/>
                  <a:pt x="6510" y="153332"/>
                  <a:pt x="2790" y="149611"/>
                </a:cubicBezTo>
                <a:cubicBezTo>
                  <a:pt x="-930" y="145892"/>
                  <a:pt x="-930" y="139861"/>
                  <a:pt x="2790" y="136141"/>
                </a:cubicBezTo>
                <a:lnTo>
                  <a:pt x="32181" y="106750"/>
                </a:lnTo>
                <a:cubicBezTo>
                  <a:pt x="19525" y="93137"/>
                  <a:pt x="9525" y="79353"/>
                  <a:pt x="9525" y="72740"/>
                </a:cubicBezTo>
                <a:cubicBezTo>
                  <a:pt x="9525" y="57154"/>
                  <a:pt x="27781" y="57151"/>
                  <a:pt x="38100" y="57151"/>
                </a:cubicBezTo>
                <a:cubicBezTo>
                  <a:pt x="48419" y="57151"/>
                  <a:pt x="60702" y="53635"/>
                  <a:pt x="66675" y="47626"/>
                </a:cubicBezTo>
                <a:cubicBezTo>
                  <a:pt x="73017" y="39560"/>
                  <a:pt x="76045" y="33113"/>
                  <a:pt x="77217" y="22562"/>
                </a:cubicBez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66102E31-758C-204D-1505-E97C6AAE6F58}"/>
              </a:ext>
            </a:extLst>
          </p:cNvPr>
          <p:cNvSpPr txBox="1"/>
          <p:nvPr/>
        </p:nvSpPr>
        <p:spPr>
          <a:xfrm>
            <a:off x="9596651" y="4400331"/>
            <a:ext cx="1809961" cy="42021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85000"/>
              </a:lnSpc>
            </a:pPr>
            <a:r>
              <a:rPr lang="ru-RU" b="1" dirty="0">
                <a:solidFill>
                  <a:schemeClr val="accent2"/>
                </a:solidFill>
              </a:rPr>
              <a:t>Нужна </a:t>
            </a:r>
          </a:p>
          <a:p>
            <a:pPr algn="l">
              <a:lnSpc>
                <a:spcPct val="85000"/>
              </a:lnSpc>
            </a:pPr>
            <a:r>
              <a:rPr lang="ru-RU" b="1" dirty="0">
                <a:solidFill>
                  <a:schemeClr val="accent2"/>
                </a:solidFill>
              </a:rPr>
              <a:t>поддержка?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B8BF44CC-6485-312F-FA38-3DBA3F0D15E3}"/>
              </a:ext>
            </a:extLst>
          </p:cNvPr>
          <p:cNvSpPr txBox="1"/>
          <p:nvPr/>
        </p:nvSpPr>
        <p:spPr>
          <a:xfrm>
            <a:off x="8972688" y="4956676"/>
            <a:ext cx="2383504" cy="109117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ru-RU" sz="1200">
                <a:solidFill>
                  <a:schemeClr val="bg1"/>
                </a:solidFill>
              </a:rPr>
              <a:t>Заходи на нашу страницу через </a:t>
            </a:r>
            <a:r>
              <a:rPr lang="en-US" sz="1200">
                <a:solidFill>
                  <a:schemeClr val="bg1"/>
                </a:solidFill>
              </a:rPr>
              <a:t>Staff </a:t>
            </a:r>
            <a:r>
              <a:rPr lang="ru-RU" sz="1200">
                <a:solidFill>
                  <a:schemeClr val="bg1"/>
                </a:solidFill>
              </a:rPr>
              <a:t>—  </a:t>
            </a:r>
            <a:r>
              <a:rPr lang="en-US" sz="1200">
                <a:solidFill>
                  <a:schemeClr val="bg1"/>
                </a:solidFill>
              </a:rPr>
              <a:t>Brand Ozon </a:t>
            </a:r>
            <a:r>
              <a:rPr lang="ru-RU" sz="1200">
                <a:solidFill>
                  <a:schemeClr val="bg1"/>
                </a:solidFill>
              </a:rPr>
              <a:t>— Всё для презентаций</a:t>
            </a:r>
            <a:r>
              <a:rPr lang="en-US" sz="1200">
                <a:solidFill>
                  <a:schemeClr val="bg1"/>
                </a:solidFill>
              </a:rPr>
              <a:t>. </a:t>
            </a:r>
            <a:r>
              <a:rPr lang="ru-RU" sz="1200">
                <a:solidFill>
                  <a:schemeClr val="bg1"/>
                </a:solidFill>
              </a:rPr>
              <a:t>Там можно скачать дополнительные материалы </a:t>
            </a:r>
            <a:br>
              <a:rPr lang="ru-RU" sz="1200">
                <a:solidFill>
                  <a:schemeClr val="bg1"/>
                </a:solidFill>
              </a:rPr>
            </a:br>
            <a:r>
              <a:rPr lang="ru-RU" sz="1200">
                <a:solidFill>
                  <a:schemeClr val="bg1"/>
                </a:solidFill>
              </a:rPr>
              <a:t>или записаться на консультацию. </a:t>
            </a:r>
          </a:p>
          <a:p>
            <a:pPr algn="l"/>
            <a:r>
              <a:rPr lang="ru-RU" sz="1200">
                <a:solidFill>
                  <a:schemeClr val="bg1"/>
                </a:solidFill>
              </a:rPr>
              <a:t>Результативных презентаций!</a:t>
            </a:r>
          </a:p>
        </p:txBody>
      </p:sp>
      <p:sp>
        <p:nvSpPr>
          <p:cNvPr id="59" name="Прямоугольник: скругленные углы 58">
            <a:extLst>
              <a:ext uri="{FF2B5EF4-FFF2-40B4-BE49-F238E27FC236}">
                <a16:creationId xmlns:a16="http://schemas.microsoft.com/office/drawing/2014/main" id="{F0D66FEF-47C6-AB0A-D089-59CF7BFB6471}"/>
              </a:ext>
            </a:extLst>
          </p:cNvPr>
          <p:cNvSpPr/>
          <p:nvPr/>
        </p:nvSpPr>
        <p:spPr>
          <a:xfrm>
            <a:off x="639763" y="411163"/>
            <a:ext cx="3636962" cy="1049233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400" err="1"/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1FC5D6F7-0828-909F-707A-FC316B32BAFB}"/>
              </a:ext>
            </a:extLst>
          </p:cNvPr>
          <p:cNvSpPr txBox="1"/>
          <p:nvPr/>
        </p:nvSpPr>
        <p:spPr>
          <a:xfrm>
            <a:off x="1614616" y="530912"/>
            <a:ext cx="2722578" cy="87921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110000"/>
              </a:lnSpc>
              <a:spcAft>
                <a:spcPts val="600"/>
              </a:spcAft>
            </a:pPr>
            <a:r>
              <a:rPr lang="ru-RU" sz="1200" b="1" dirty="0">
                <a:solidFill>
                  <a:schemeClr val="bg1"/>
                </a:solidFill>
              </a:rPr>
              <a:t>Ты вовремя! </a:t>
            </a:r>
            <a:br>
              <a:rPr lang="en-US" sz="1200" b="1" dirty="0">
                <a:solidFill>
                  <a:schemeClr val="bg1"/>
                </a:solidFill>
              </a:rPr>
            </a:br>
            <a:r>
              <a:rPr lang="ru-RU" sz="1200" b="1" dirty="0">
                <a:solidFill>
                  <a:schemeClr val="bg1"/>
                </a:solidFill>
              </a:rPr>
              <a:t>Сейчас расскажу</a:t>
            </a:r>
            <a:r>
              <a:rPr lang="en-US" sz="1200" b="1" dirty="0">
                <a:solidFill>
                  <a:schemeClr val="bg1"/>
                </a:solidFill>
              </a:rPr>
              <a:t> </a:t>
            </a:r>
            <a:r>
              <a:rPr lang="ru-RU" sz="1200" b="1" dirty="0">
                <a:solidFill>
                  <a:schemeClr val="bg1"/>
                </a:solidFill>
              </a:rPr>
              <a:t>про шаблон</a:t>
            </a:r>
            <a:br>
              <a:rPr lang="ru-RU" sz="1200" b="1" dirty="0">
                <a:solidFill>
                  <a:schemeClr val="bg1"/>
                </a:solidFill>
              </a:rPr>
            </a:br>
            <a:r>
              <a:rPr lang="ru-RU" sz="1200" b="1" dirty="0">
                <a:solidFill>
                  <a:schemeClr val="bg1"/>
                </a:solidFill>
              </a:rPr>
              <a:t>            </a:t>
            </a:r>
            <a:r>
              <a:rPr lang="en-US" sz="1200" b="1" dirty="0">
                <a:solidFill>
                  <a:schemeClr val="bg1"/>
                </a:solidFill>
              </a:rPr>
              <a:t>      </a:t>
            </a:r>
            <a:r>
              <a:rPr lang="ru-RU" sz="1200" b="1" dirty="0">
                <a:solidFill>
                  <a:schemeClr val="bg1"/>
                </a:solidFill>
              </a:rPr>
              <a:t>   презентаций</a:t>
            </a:r>
            <a:r>
              <a:rPr lang="en-US" sz="1200" b="1" dirty="0">
                <a:solidFill>
                  <a:schemeClr val="bg1"/>
                </a:solidFill>
              </a:rPr>
              <a:t> </a:t>
            </a:r>
            <a:br>
              <a:rPr lang="en-US" sz="1200" b="1" dirty="0">
                <a:solidFill>
                  <a:schemeClr val="bg1"/>
                </a:solidFill>
              </a:rPr>
            </a:br>
            <a:r>
              <a:rPr lang="en-US" sz="1200" b="1" dirty="0">
                <a:solidFill>
                  <a:schemeClr val="bg1"/>
                </a:solidFill>
              </a:rPr>
              <a:t>                  </a:t>
            </a:r>
            <a:r>
              <a:rPr lang="ru-RU" sz="1200" b="1" dirty="0">
                <a:solidFill>
                  <a:schemeClr val="bg1"/>
                </a:solidFill>
              </a:rPr>
              <a:t>   </a:t>
            </a:r>
            <a:r>
              <a:rPr lang="ru-RU" sz="1200" b="1" dirty="0" err="1">
                <a:solidFill>
                  <a:schemeClr val="bg1"/>
                </a:solidFill>
              </a:rPr>
              <a:t>Ozon</a:t>
            </a:r>
            <a:r>
              <a:rPr lang="ru-RU" sz="1200" b="1" dirty="0">
                <a:solidFill>
                  <a:schemeClr val="bg1"/>
                </a:solidFill>
              </a:rPr>
              <a:t> </a:t>
            </a:r>
            <a:r>
              <a:rPr lang="en-US" sz="1200" b="1" dirty="0">
                <a:solidFill>
                  <a:schemeClr val="bg1"/>
                </a:solidFill>
              </a:rPr>
              <a:t>Tech</a:t>
            </a:r>
            <a:endParaRPr lang="ru-RU" sz="1200" b="1" dirty="0">
              <a:solidFill>
                <a:schemeClr val="bg1"/>
              </a:solidFill>
            </a:endParaRPr>
          </a:p>
        </p:txBody>
      </p:sp>
      <p:sp>
        <p:nvSpPr>
          <p:cNvPr id="23" name="Рисунок 7">
            <a:extLst>
              <a:ext uri="{FF2B5EF4-FFF2-40B4-BE49-F238E27FC236}">
                <a16:creationId xmlns:a16="http://schemas.microsoft.com/office/drawing/2014/main" id="{1EE27734-862A-F6AE-44D8-CEBEED0269DA}"/>
              </a:ext>
            </a:extLst>
          </p:cNvPr>
          <p:cNvSpPr/>
          <p:nvPr userDrawn="1"/>
        </p:nvSpPr>
        <p:spPr>
          <a:xfrm>
            <a:off x="3983413" y="1943086"/>
            <a:ext cx="145227" cy="145227"/>
          </a:xfrm>
          <a:custGeom>
            <a:avLst/>
            <a:gdLst>
              <a:gd name="connsiteX0" fmla="*/ 77217 w 152401"/>
              <a:gd name="connsiteY0" fmla="*/ 22562 h 152401"/>
              <a:gd name="connsiteX1" fmla="*/ 92075 w 152401"/>
              <a:gd name="connsiteY1" fmla="*/ 7 h 152401"/>
              <a:gd name="connsiteX2" fmla="*/ 133350 w 152401"/>
              <a:gd name="connsiteY2" fmla="*/ 19051 h 152401"/>
              <a:gd name="connsiteX3" fmla="*/ 152394 w 152401"/>
              <a:gd name="connsiteY3" fmla="*/ 60327 h 152401"/>
              <a:gd name="connsiteX4" fmla="*/ 129839 w 152401"/>
              <a:gd name="connsiteY4" fmla="*/ 75185 h 152401"/>
              <a:gd name="connsiteX5" fmla="*/ 104775 w 152401"/>
              <a:gd name="connsiteY5" fmla="*/ 85726 h 152401"/>
              <a:gd name="connsiteX6" fmla="*/ 95250 w 152401"/>
              <a:gd name="connsiteY6" fmla="*/ 114301 h 152401"/>
              <a:gd name="connsiteX7" fmla="*/ 79661 w 152401"/>
              <a:gd name="connsiteY7" fmla="*/ 142876 h 152401"/>
              <a:gd name="connsiteX8" fmla="*/ 45652 w 152401"/>
              <a:gd name="connsiteY8" fmla="*/ 120220 h 152401"/>
              <a:gd name="connsiteX9" fmla="*/ 16260 w 152401"/>
              <a:gd name="connsiteY9" fmla="*/ 149611 h 152401"/>
              <a:gd name="connsiteX10" fmla="*/ 2790 w 152401"/>
              <a:gd name="connsiteY10" fmla="*/ 149611 h 152401"/>
              <a:gd name="connsiteX11" fmla="*/ 2790 w 152401"/>
              <a:gd name="connsiteY11" fmla="*/ 136141 h 152401"/>
              <a:gd name="connsiteX12" fmla="*/ 32181 w 152401"/>
              <a:gd name="connsiteY12" fmla="*/ 106750 h 152401"/>
              <a:gd name="connsiteX13" fmla="*/ 9525 w 152401"/>
              <a:gd name="connsiteY13" fmla="*/ 72740 h 152401"/>
              <a:gd name="connsiteX14" fmla="*/ 38100 w 152401"/>
              <a:gd name="connsiteY14" fmla="*/ 57151 h 152401"/>
              <a:gd name="connsiteX15" fmla="*/ 66675 w 152401"/>
              <a:gd name="connsiteY15" fmla="*/ 47626 h 152401"/>
              <a:gd name="connsiteX16" fmla="*/ 77217 w 152401"/>
              <a:gd name="connsiteY16" fmla="*/ 22562 h 152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2401" h="152401">
                <a:moveTo>
                  <a:pt x="77217" y="22562"/>
                </a:moveTo>
                <a:cubicBezTo>
                  <a:pt x="78455" y="11424"/>
                  <a:pt x="79696" y="259"/>
                  <a:pt x="92075" y="7"/>
                </a:cubicBezTo>
                <a:cubicBezTo>
                  <a:pt x="105589" y="-267"/>
                  <a:pt x="121580" y="7281"/>
                  <a:pt x="133350" y="19051"/>
                </a:cubicBezTo>
                <a:cubicBezTo>
                  <a:pt x="145120" y="30821"/>
                  <a:pt x="152669" y="46812"/>
                  <a:pt x="152394" y="60327"/>
                </a:cubicBezTo>
                <a:cubicBezTo>
                  <a:pt x="152143" y="72705"/>
                  <a:pt x="140978" y="73947"/>
                  <a:pt x="129839" y="75185"/>
                </a:cubicBezTo>
                <a:cubicBezTo>
                  <a:pt x="119294" y="76356"/>
                  <a:pt x="112095" y="78457"/>
                  <a:pt x="104775" y="85726"/>
                </a:cubicBezTo>
                <a:cubicBezTo>
                  <a:pt x="98766" y="91699"/>
                  <a:pt x="95250" y="103983"/>
                  <a:pt x="95250" y="114301"/>
                </a:cubicBezTo>
                <a:cubicBezTo>
                  <a:pt x="95250" y="124621"/>
                  <a:pt x="95247" y="142876"/>
                  <a:pt x="79661" y="142876"/>
                </a:cubicBezTo>
                <a:cubicBezTo>
                  <a:pt x="73049" y="142876"/>
                  <a:pt x="59265" y="132876"/>
                  <a:pt x="45652" y="120220"/>
                </a:cubicBezTo>
                <a:lnTo>
                  <a:pt x="16260" y="149611"/>
                </a:lnTo>
                <a:cubicBezTo>
                  <a:pt x="12540" y="153332"/>
                  <a:pt x="6510" y="153332"/>
                  <a:pt x="2790" y="149611"/>
                </a:cubicBezTo>
                <a:cubicBezTo>
                  <a:pt x="-930" y="145892"/>
                  <a:pt x="-930" y="139861"/>
                  <a:pt x="2790" y="136141"/>
                </a:cubicBezTo>
                <a:lnTo>
                  <a:pt x="32181" y="106750"/>
                </a:lnTo>
                <a:cubicBezTo>
                  <a:pt x="19525" y="93137"/>
                  <a:pt x="9525" y="79353"/>
                  <a:pt x="9525" y="72740"/>
                </a:cubicBezTo>
                <a:cubicBezTo>
                  <a:pt x="9525" y="57154"/>
                  <a:pt x="27781" y="57151"/>
                  <a:pt x="38100" y="57151"/>
                </a:cubicBezTo>
                <a:cubicBezTo>
                  <a:pt x="48419" y="57151"/>
                  <a:pt x="60702" y="53635"/>
                  <a:pt x="66675" y="47626"/>
                </a:cubicBezTo>
                <a:cubicBezTo>
                  <a:pt x="73017" y="39560"/>
                  <a:pt x="76045" y="33113"/>
                  <a:pt x="77217" y="22562"/>
                </a:cubicBezTo>
                <a:close/>
              </a:path>
            </a:pathLst>
          </a:custGeom>
          <a:solidFill>
            <a:schemeClr val="accent6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5" name="Прямоугольник: скругленные углы 64">
            <a:extLst>
              <a:ext uri="{FF2B5EF4-FFF2-40B4-BE49-F238E27FC236}">
                <a16:creationId xmlns:a16="http://schemas.microsoft.com/office/drawing/2014/main" id="{DDA1F3F9-A479-B8F3-23B0-F2EACC0A4F89}"/>
              </a:ext>
            </a:extLst>
          </p:cNvPr>
          <p:cNvSpPr/>
          <p:nvPr userDrawn="1"/>
        </p:nvSpPr>
        <p:spPr>
          <a:xfrm>
            <a:off x="1023002" y="3108184"/>
            <a:ext cx="728387" cy="570495"/>
          </a:xfrm>
          <a:prstGeom prst="roundRect">
            <a:avLst>
              <a:gd name="adj" fmla="val 8253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900">
              <a:solidFill>
                <a:schemeClr val="tx2"/>
              </a:solidFill>
            </a:endParaRPr>
          </a:p>
        </p:txBody>
      </p:sp>
      <p:sp>
        <p:nvSpPr>
          <p:cNvPr id="66" name="Прямоугольник: скругленные углы 65">
            <a:extLst>
              <a:ext uri="{FF2B5EF4-FFF2-40B4-BE49-F238E27FC236}">
                <a16:creationId xmlns:a16="http://schemas.microsoft.com/office/drawing/2014/main" id="{CB21CD65-F986-7C6D-2086-B846D95DC8EB}"/>
              </a:ext>
            </a:extLst>
          </p:cNvPr>
          <p:cNvSpPr/>
          <p:nvPr userDrawn="1"/>
        </p:nvSpPr>
        <p:spPr>
          <a:xfrm>
            <a:off x="835809" y="3108185"/>
            <a:ext cx="147470" cy="242152"/>
          </a:xfrm>
          <a:prstGeom prst="roundRect">
            <a:avLst>
              <a:gd name="adj" fmla="val 20249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400" err="1"/>
          </a:p>
        </p:txBody>
      </p:sp>
      <p:sp>
        <p:nvSpPr>
          <p:cNvPr id="69" name="Прямоугольник: скругленные углы 68">
            <a:extLst>
              <a:ext uri="{FF2B5EF4-FFF2-40B4-BE49-F238E27FC236}">
                <a16:creationId xmlns:a16="http://schemas.microsoft.com/office/drawing/2014/main" id="{21C57030-9375-A53F-9B9B-1BD595DB4BC0}"/>
              </a:ext>
            </a:extLst>
          </p:cNvPr>
          <p:cNvSpPr/>
          <p:nvPr userDrawn="1"/>
        </p:nvSpPr>
        <p:spPr>
          <a:xfrm>
            <a:off x="639763" y="4535412"/>
            <a:ext cx="3636962" cy="1734939"/>
          </a:xfrm>
          <a:prstGeom prst="roundRect">
            <a:avLst>
              <a:gd name="adj" fmla="val 10391"/>
            </a:avLst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0000"/>
              </a:solidFill>
            </a:endParaRPr>
          </a:p>
        </p:txBody>
      </p:sp>
      <p:sp>
        <p:nvSpPr>
          <p:cNvPr id="70" name="Рисунок 7">
            <a:extLst>
              <a:ext uri="{FF2B5EF4-FFF2-40B4-BE49-F238E27FC236}">
                <a16:creationId xmlns:a16="http://schemas.microsoft.com/office/drawing/2014/main" id="{F2B7419B-60EF-5C59-E6F9-B644857AC378}"/>
              </a:ext>
            </a:extLst>
          </p:cNvPr>
          <p:cNvSpPr/>
          <p:nvPr userDrawn="1"/>
        </p:nvSpPr>
        <p:spPr>
          <a:xfrm>
            <a:off x="3984207" y="4656592"/>
            <a:ext cx="145227" cy="145227"/>
          </a:xfrm>
          <a:custGeom>
            <a:avLst/>
            <a:gdLst>
              <a:gd name="connsiteX0" fmla="*/ 77217 w 152401"/>
              <a:gd name="connsiteY0" fmla="*/ 22562 h 152401"/>
              <a:gd name="connsiteX1" fmla="*/ 92075 w 152401"/>
              <a:gd name="connsiteY1" fmla="*/ 7 h 152401"/>
              <a:gd name="connsiteX2" fmla="*/ 133350 w 152401"/>
              <a:gd name="connsiteY2" fmla="*/ 19051 h 152401"/>
              <a:gd name="connsiteX3" fmla="*/ 152394 w 152401"/>
              <a:gd name="connsiteY3" fmla="*/ 60327 h 152401"/>
              <a:gd name="connsiteX4" fmla="*/ 129839 w 152401"/>
              <a:gd name="connsiteY4" fmla="*/ 75185 h 152401"/>
              <a:gd name="connsiteX5" fmla="*/ 104775 w 152401"/>
              <a:gd name="connsiteY5" fmla="*/ 85726 h 152401"/>
              <a:gd name="connsiteX6" fmla="*/ 95250 w 152401"/>
              <a:gd name="connsiteY6" fmla="*/ 114301 h 152401"/>
              <a:gd name="connsiteX7" fmla="*/ 79661 w 152401"/>
              <a:gd name="connsiteY7" fmla="*/ 142876 h 152401"/>
              <a:gd name="connsiteX8" fmla="*/ 45652 w 152401"/>
              <a:gd name="connsiteY8" fmla="*/ 120220 h 152401"/>
              <a:gd name="connsiteX9" fmla="*/ 16260 w 152401"/>
              <a:gd name="connsiteY9" fmla="*/ 149611 h 152401"/>
              <a:gd name="connsiteX10" fmla="*/ 2790 w 152401"/>
              <a:gd name="connsiteY10" fmla="*/ 149611 h 152401"/>
              <a:gd name="connsiteX11" fmla="*/ 2790 w 152401"/>
              <a:gd name="connsiteY11" fmla="*/ 136141 h 152401"/>
              <a:gd name="connsiteX12" fmla="*/ 32181 w 152401"/>
              <a:gd name="connsiteY12" fmla="*/ 106750 h 152401"/>
              <a:gd name="connsiteX13" fmla="*/ 9525 w 152401"/>
              <a:gd name="connsiteY13" fmla="*/ 72740 h 152401"/>
              <a:gd name="connsiteX14" fmla="*/ 38100 w 152401"/>
              <a:gd name="connsiteY14" fmla="*/ 57151 h 152401"/>
              <a:gd name="connsiteX15" fmla="*/ 66675 w 152401"/>
              <a:gd name="connsiteY15" fmla="*/ 47626 h 152401"/>
              <a:gd name="connsiteX16" fmla="*/ 77217 w 152401"/>
              <a:gd name="connsiteY16" fmla="*/ 22562 h 152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2401" h="152401">
                <a:moveTo>
                  <a:pt x="77217" y="22562"/>
                </a:moveTo>
                <a:cubicBezTo>
                  <a:pt x="78455" y="11424"/>
                  <a:pt x="79696" y="259"/>
                  <a:pt x="92075" y="7"/>
                </a:cubicBezTo>
                <a:cubicBezTo>
                  <a:pt x="105589" y="-267"/>
                  <a:pt x="121580" y="7281"/>
                  <a:pt x="133350" y="19051"/>
                </a:cubicBezTo>
                <a:cubicBezTo>
                  <a:pt x="145120" y="30821"/>
                  <a:pt x="152669" y="46812"/>
                  <a:pt x="152394" y="60327"/>
                </a:cubicBezTo>
                <a:cubicBezTo>
                  <a:pt x="152143" y="72705"/>
                  <a:pt x="140978" y="73947"/>
                  <a:pt x="129839" y="75185"/>
                </a:cubicBezTo>
                <a:cubicBezTo>
                  <a:pt x="119294" y="76356"/>
                  <a:pt x="112095" y="78457"/>
                  <a:pt x="104775" y="85726"/>
                </a:cubicBezTo>
                <a:cubicBezTo>
                  <a:pt x="98766" y="91699"/>
                  <a:pt x="95250" y="103983"/>
                  <a:pt x="95250" y="114301"/>
                </a:cubicBezTo>
                <a:cubicBezTo>
                  <a:pt x="95250" y="124621"/>
                  <a:pt x="95247" y="142876"/>
                  <a:pt x="79661" y="142876"/>
                </a:cubicBezTo>
                <a:cubicBezTo>
                  <a:pt x="73049" y="142876"/>
                  <a:pt x="59265" y="132876"/>
                  <a:pt x="45652" y="120220"/>
                </a:cubicBezTo>
                <a:lnTo>
                  <a:pt x="16260" y="149611"/>
                </a:lnTo>
                <a:cubicBezTo>
                  <a:pt x="12540" y="153332"/>
                  <a:pt x="6510" y="153332"/>
                  <a:pt x="2790" y="149611"/>
                </a:cubicBezTo>
                <a:cubicBezTo>
                  <a:pt x="-930" y="145892"/>
                  <a:pt x="-930" y="139861"/>
                  <a:pt x="2790" y="136141"/>
                </a:cubicBezTo>
                <a:lnTo>
                  <a:pt x="32181" y="106750"/>
                </a:lnTo>
                <a:cubicBezTo>
                  <a:pt x="19525" y="93137"/>
                  <a:pt x="9525" y="79353"/>
                  <a:pt x="9525" y="72740"/>
                </a:cubicBezTo>
                <a:cubicBezTo>
                  <a:pt x="9525" y="57154"/>
                  <a:pt x="27781" y="57151"/>
                  <a:pt x="38100" y="57151"/>
                </a:cubicBezTo>
                <a:cubicBezTo>
                  <a:pt x="48419" y="57151"/>
                  <a:pt x="60702" y="53635"/>
                  <a:pt x="66675" y="47626"/>
                </a:cubicBezTo>
                <a:cubicBezTo>
                  <a:pt x="73017" y="39560"/>
                  <a:pt x="76045" y="33113"/>
                  <a:pt x="77217" y="22562"/>
                </a:cubicBezTo>
                <a:close/>
              </a:path>
            </a:pathLst>
          </a:custGeom>
          <a:solidFill>
            <a:schemeClr val="accent6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E8E9C7D4-7F19-AC51-33F9-D8BBCA267888}"/>
              </a:ext>
            </a:extLst>
          </p:cNvPr>
          <p:cNvSpPr txBox="1"/>
          <p:nvPr userDrawn="1"/>
        </p:nvSpPr>
        <p:spPr>
          <a:xfrm>
            <a:off x="852195" y="4682793"/>
            <a:ext cx="2741705" cy="25329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</a:pPr>
            <a:r>
              <a:rPr lang="ru-RU" b="1">
                <a:solidFill>
                  <a:schemeClr val="tx1"/>
                </a:solidFill>
              </a:rPr>
              <a:t>Таблицы на стиле</a:t>
            </a:r>
          </a:p>
        </p:txBody>
      </p:sp>
      <p:pic>
        <p:nvPicPr>
          <p:cNvPr id="72" name="Рисунок 71">
            <a:extLst>
              <a:ext uri="{FF2B5EF4-FFF2-40B4-BE49-F238E27FC236}">
                <a16:creationId xmlns:a16="http://schemas.microsoft.com/office/drawing/2014/main" id="{839CAEAD-5A29-77AC-24B1-9B23EA722D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57406" y="5041239"/>
            <a:ext cx="1336787" cy="596097"/>
          </a:xfrm>
          <a:prstGeom prst="roundRect">
            <a:avLst>
              <a:gd name="adj" fmla="val 8135"/>
            </a:avLst>
          </a:prstGeom>
        </p:spPr>
      </p:pic>
      <p:sp>
        <p:nvSpPr>
          <p:cNvPr id="73" name="TextBox 72">
            <a:extLst>
              <a:ext uri="{FF2B5EF4-FFF2-40B4-BE49-F238E27FC236}">
                <a16:creationId xmlns:a16="http://schemas.microsoft.com/office/drawing/2014/main" id="{668AA1F6-2C48-284A-413B-4F3F92A6F793}"/>
              </a:ext>
            </a:extLst>
          </p:cNvPr>
          <p:cNvSpPr txBox="1"/>
          <p:nvPr userDrawn="1"/>
        </p:nvSpPr>
        <p:spPr>
          <a:xfrm>
            <a:off x="2310490" y="5041239"/>
            <a:ext cx="1737427" cy="82060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ru-RU" sz="1200" spc="-30" dirty="0"/>
              <a:t>Настроили специальный стиль для работы </a:t>
            </a:r>
            <a:br>
              <a:rPr lang="ru-RU" sz="1200" spc="-30" dirty="0"/>
            </a:br>
            <a:r>
              <a:rPr lang="ru-RU" sz="1200" spc="-30" dirty="0"/>
              <a:t>с таблицами.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1E8D18C9-F6FE-2916-B3E7-94839200DFEB}"/>
              </a:ext>
            </a:extLst>
          </p:cNvPr>
          <p:cNvSpPr txBox="1"/>
          <p:nvPr userDrawn="1"/>
        </p:nvSpPr>
        <p:spPr>
          <a:xfrm>
            <a:off x="852195" y="5727560"/>
            <a:ext cx="3277239" cy="4041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ru-RU" sz="1200" dirty="0"/>
              <a:t>Настраивай вид таблицы в несколько кликов в разделе «Конструктор таблиц».</a:t>
            </a:r>
          </a:p>
        </p:txBody>
      </p:sp>
      <p:sp>
        <p:nvSpPr>
          <p:cNvPr id="75" name="Прямоугольник: скругленные углы 74">
            <a:extLst>
              <a:ext uri="{FF2B5EF4-FFF2-40B4-BE49-F238E27FC236}">
                <a16:creationId xmlns:a16="http://schemas.microsoft.com/office/drawing/2014/main" id="{4229081F-D723-2FAA-3892-E9FC912BF1F8}"/>
              </a:ext>
            </a:extLst>
          </p:cNvPr>
          <p:cNvSpPr/>
          <p:nvPr userDrawn="1"/>
        </p:nvSpPr>
        <p:spPr>
          <a:xfrm>
            <a:off x="835809" y="3382445"/>
            <a:ext cx="147470" cy="173301"/>
          </a:xfrm>
          <a:prstGeom prst="roundRect">
            <a:avLst>
              <a:gd name="adj" fmla="val 18868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400" err="1"/>
          </a:p>
        </p:txBody>
      </p:sp>
      <p:sp>
        <p:nvSpPr>
          <p:cNvPr id="76" name="Прямоугольник: скругленные углы 75">
            <a:extLst>
              <a:ext uri="{FF2B5EF4-FFF2-40B4-BE49-F238E27FC236}">
                <a16:creationId xmlns:a16="http://schemas.microsoft.com/office/drawing/2014/main" id="{96C9CBD6-99B5-BB03-C015-6A5DEA4AD943}"/>
              </a:ext>
            </a:extLst>
          </p:cNvPr>
          <p:cNvSpPr/>
          <p:nvPr userDrawn="1"/>
        </p:nvSpPr>
        <p:spPr>
          <a:xfrm>
            <a:off x="835809" y="3587854"/>
            <a:ext cx="147470" cy="99462"/>
          </a:xfrm>
          <a:prstGeom prst="roundRect">
            <a:avLst>
              <a:gd name="adj" fmla="val 29916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400" err="1"/>
          </a:p>
        </p:txBody>
      </p:sp>
      <p:sp>
        <p:nvSpPr>
          <p:cNvPr id="78" name="Рисунок 7">
            <a:extLst>
              <a:ext uri="{FF2B5EF4-FFF2-40B4-BE49-F238E27FC236}">
                <a16:creationId xmlns:a16="http://schemas.microsoft.com/office/drawing/2014/main" id="{F05551BF-F822-F259-F28D-A7BF32D70259}"/>
              </a:ext>
            </a:extLst>
          </p:cNvPr>
          <p:cNvSpPr/>
          <p:nvPr userDrawn="1"/>
        </p:nvSpPr>
        <p:spPr>
          <a:xfrm>
            <a:off x="8208625" y="534179"/>
            <a:ext cx="145227" cy="145227"/>
          </a:xfrm>
          <a:custGeom>
            <a:avLst/>
            <a:gdLst>
              <a:gd name="connsiteX0" fmla="*/ 77217 w 152401"/>
              <a:gd name="connsiteY0" fmla="*/ 22562 h 152401"/>
              <a:gd name="connsiteX1" fmla="*/ 92075 w 152401"/>
              <a:gd name="connsiteY1" fmla="*/ 7 h 152401"/>
              <a:gd name="connsiteX2" fmla="*/ 133350 w 152401"/>
              <a:gd name="connsiteY2" fmla="*/ 19051 h 152401"/>
              <a:gd name="connsiteX3" fmla="*/ 152394 w 152401"/>
              <a:gd name="connsiteY3" fmla="*/ 60327 h 152401"/>
              <a:gd name="connsiteX4" fmla="*/ 129839 w 152401"/>
              <a:gd name="connsiteY4" fmla="*/ 75185 h 152401"/>
              <a:gd name="connsiteX5" fmla="*/ 104775 w 152401"/>
              <a:gd name="connsiteY5" fmla="*/ 85726 h 152401"/>
              <a:gd name="connsiteX6" fmla="*/ 95250 w 152401"/>
              <a:gd name="connsiteY6" fmla="*/ 114301 h 152401"/>
              <a:gd name="connsiteX7" fmla="*/ 79661 w 152401"/>
              <a:gd name="connsiteY7" fmla="*/ 142876 h 152401"/>
              <a:gd name="connsiteX8" fmla="*/ 45652 w 152401"/>
              <a:gd name="connsiteY8" fmla="*/ 120220 h 152401"/>
              <a:gd name="connsiteX9" fmla="*/ 16260 w 152401"/>
              <a:gd name="connsiteY9" fmla="*/ 149611 h 152401"/>
              <a:gd name="connsiteX10" fmla="*/ 2790 w 152401"/>
              <a:gd name="connsiteY10" fmla="*/ 149611 h 152401"/>
              <a:gd name="connsiteX11" fmla="*/ 2790 w 152401"/>
              <a:gd name="connsiteY11" fmla="*/ 136141 h 152401"/>
              <a:gd name="connsiteX12" fmla="*/ 32181 w 152401"/>
              <a:gd name="connsiteY12" fmla="*/ 106750 h 152401"/>
              <a:gd name="connsiteX13" fmla="*/ 9525 w 152401"/>
              <a:gd name="connsiteY13" fmla="*/ 72740 h 152401"/>
              <a:gd name="connsiteX14" fmla="*/ 38100 w 152401"/>
              <a:gd name="connsiteY14" fmla="*/ 57151 h 152401"/>
              <a:gd name="connsiteX15" fmla="*/ 66675 w 152401"/>
              <a:gd name="connsiteY15" fmla="*/ 47626 h 152401"/>
              <a:gd name="connsiteX16" fmla="*/ 77217 w 152401"/>
              <a:gd name="connsiteY16" fmla="*/ 22562 h 152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2401" h="152401">
                <a:moveTo>
                  <a:pt x="77217" y="22562"/>
                </a:moveTo>
                <a:cubicBezTo>
                  <a:pt x="78455" y="11424"/>
                  <a:pt x="79696" y="259"/>
                  <a:pt x="92075" y="7"/>
                </a:cubicBezTo>
                <a:cubicBezTo>
                  <a:pt x="105589" y="-267"/>
                  <a:pt x="121580" y="7281"/>
                  <a:pt x="133350" y="19051"/>
                </a:cubicBezTo>
                <a:cubicBezTo>
                  <a:pt x="145120" y="30821"/>
                  <a:pt x="152669" y="46812"/>
                  <a:pt x="152394" y="60327"/>
                </a:cubicBezTo>
                <a:cubicBezTo>
                  <a:pt x="152143" y="72705"/>
                  <a:pt x="140978" y="73947"/>
                  <a:pt x="129839" y="75185"/>
                </a:cubicBezTo>
                <a:cubicBezTo>
                  <a:pt x="119294" y="76356"/>
                  <a:pt x="112095" y="78457"/>
                  <a:pt x="104775" y="85726"/>
                </a:cubicBezTo>
                <a:cubicBezTo>
                  <a:pt x="98766" y="91699"/>
                  <a:pt x="95250" y="103983"/>
                  <a:pt x="95250" y="114301"/>
                </a:cubicBezTo>
                <a:cubicBezTo>
                  <a:pt x="95250" y="124621"/>
                  <a:pt x="95247" y="142876"/>
                  <a:pt x="79661" y="142876"/>
                </a:cubicBezTo>
                <a:cubicBezTo>
                  <a:pt x="73049" y="142876"/>
                  <a:pt x="59265" y="132876"/>
                  <a:pt x="45652" y="120220"/>
                </a:cubicBezTo>
                <a:lnTo>
                  <a:pt x="16260" y="149611"/>
                </a:lnTo>
                <a:cubicBezTo>
                  <a:pt x="12540" y="153332"/>
                  <a:pt x="6510" y="153332"/>
                  <a:pt x="2790" y="149611"/>
                </a:cubicBezTo>
                <a:cubicBezTo>
                  <a:pt x="-930" y="145892"/>
                  <a:pt x="-930" y="139861"/>
                  <a:pt x="2790" y="136141"/>
                </a:cubicBezTo>
                <a:lnTo>
                  <a:pt x="32181" y="106750"/>
                </a:lnTo>
                <a:cubicBezTo>
                  <a:pt x="19525" y="93137"/>
                  <a:pt x="9525" y="79353"/>
                  <a:pt x="9525" y="72740"/>
                </a:cubicBezTo>
                <a:cubicBezTo>
                  <a:pt x="9525" y="57154"/>
                  <a:pt x="27781" y="57151"/>
                  <a:pt x="38100" y="57151"/>
                </a:cubicBezTo>
                <a:cubicBezTo>
                  <a:pt x="48419" y="57151"/>
                  <a:pt x="60702" y="53635"/>
                  <a:pt x="66675" y="47626"/>
                </a:cubicBezTo>
                <a:cubicBezTo>
                  <a:pt x="73017" y="39560"/>
                  <a:pt x="76045" y="33113"/>
                  <a:pt x="77217" y="22562"/>
                </a:cubicBezTo>
                <a:close/>
              </a:path>
            </a:pathLst>
          </a:custGeom>
          <a:solidFill>
            <a:schemeClr val="accent6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00" name="Рисунок 7">
            <a:extLst>
              <a:ext uri="{FF2B5EF4-FFF2-40B4-BE49-F238E27FC236}">
                <a16:creationId xmlns:a16="http://schemas.microsoft.com/office/drawing/2014/main" id="{BF8EACDE-C000-C872-7DD4-D2D6912EA863}"/>
              </a:ext>
            </a:extLst>
          </p:cNvPr>
          <p:cNvSpPr/>
          <p:nvPr userDrawn="1"/>
        </p:nvSpPr>
        <p:spPr>
          <a:xfrm>
            <a:off x="11248712" y="534179"/>
            <a:ext cx="145227" cy="145227"/>
          </a:xfrm>
          <a:custGeom>
            <a:avLst/>
            <a:gdLst>
              <a:gd name="connsiteX0" fmla="*/ 77217 w 152401"/>
              <a:gd name="connsiteY0" fmla="*/ 22562 h 152401"/>
              <a:gd name="connsiteX1" fmla="*/ 92075 w 152401"/>
              <a:gd name="connsiteY1" fmla="*/ 7 h 152401"/>
              <a:gd name="connsiteX2" fmla="*/ 133350 w 152401"/>
              <a:gd name="connsiteY2" fmla="*/ 19051 h 152401"/>
              <a:gd name="connsiteX3" fmla="*/ 152394 w 152401"/>
              <a:gd name="connsiteY3" fmla="*/ 60327 h 152401"/>
              <a:gd name="connsiteX4" fmla="*/ 129839 w 152401"/>
              <a:gd name="connsiteY4" fmla="*/ 75185 h 152401"/>
              <a:gd name="connsiteX5" fmla="*/ 104775 w 152401"/>
              <a:gd name="connsiteY5" fmla="*/ 85726 h 152401"/>
              <a:gd name="connsiteX6" fmla="*/ 95250 w 152401"/>
              <a:gd name="connsiteY6" fmla="*/ 114301 h 152401"/>
              <a:gd name="connsiteX7" fmla="*/ 79661 w 152401"/>
              <a:gd name="connsiteY7" fmla="*/ 142876 h 152401"/>
              <a:gd name="connsiteX8" fmla="*/ 45652 w 152401"/>
              <a:gd name="connsiteY8" fmla="*/ 120220 h 152401"/>
              <a:gd name="connsiteX9" fmla="*/ 16260 w 152401"/>
              <a:gd name="connsiteY9" fmla="*/ 149611 h 152401"/>
              <a:gd name="connsiteX10" fmla="*/ 2790 w 152401"/>
              <a:gd name="connsiteY10" fmla="*/ 149611 h 152401"/>
              <a:gd name="connsiteX11" fmla="*/ 2790 w 152401"/>
              <a:gd name="connsiteY11" fmla="*/ 136141 h 152401"/>
              <a:gd name="connsiteX12" fmla="*/ 32181 w 152401"/>
              <a:gd name="connsiteY12" fmla="*/ 106750 h 152401"/>
              <a:gd name="connsiteX13" fmla="*/ 9525 w 152401"/>
              <a:gd name="connsiteY13" fmla="*/ 72740 h 152401"/>
              <a:gd name="connsiteX14" fmla="*/ 38100 w 152401"/>
              <a:gd name="connsiteY14" fmla="*/ 57151 h 152401"/>
              <a:gd name="connsiteX15" fmla="*/ 66675 w 152401"/>
              <a:gd name="connsiteY15" fmla="*/ 47626 h 152401"/>
              <a:gd name="connsiteX16" fmla="*/ 77217 w 152401"/>
              <a:gd name="connsiteY16" fmla="*/ 22562 h 152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2401" h="152401">
                <a:moveTo>
                  <a:pt x="77217" y="22562"/>
                </a:moveTo>
                <a:cubicBezTo>
                  <a:pt x="78455" y="11424"/>
                  <a:pt x="79696" y="259"/>
                  <a:pt x="92075" y="7"/>
                </a:cubicBezTo>
                <a:cubicBezTo>
                  <a:pt x="105589" y="-267"/>
                  <a:pt x="121580" y="7281"/>
                  <a:pt x="133350" y="19051"/>
                </a:cubicBezTo>
                <a:cubicBezTo>
                  <a:pt x="145120" y="30821"/>
                  <a:pt x="152669" y="46812"/>
                  <a:pt x="152394" y="60327"/>
                </a:cubicBezTo>
                <a:cubicBezTo>
                  <a:pt x="152143" y="72705"/>
                  <a:pt x="140978" y="73947"/>
                  <a:pt x="129839" y="75185"/>
                </a:cubicBezTo>
                <a:cubicBezTo>
                  <a:pt x="119294" y="76356"/>
                  <a:pt x="112095" y="78457"/>
                  <a:pt x="104775" y="85726"/>
                </a:cubicBezTo>
                <a:cubicBezTo>
                  <a:pt x="98766" y="91699"/>
                  <a:pt x="95250" y="103983"/>
                  <a:pt x="95250" y="114301"/>
                </a:cubicBezTo>
                <a:cubicBezTo>
                  <a:pt x="95250" y="124621"/>
                  <a:pt x="95247" y="142876"/>
                  <a:pt x="79661" y="142876"/>
                </a:cubicBezTo>
                <a:cubicBezTo>
                  <a:pt x="73049" y="142876"/>
                  <a:pt x="59265" y="132876"/>
                  <a:pt x="45652" y="120220"/>
                </a:cubicBezTo>
                <a:lnTo>
                  <a:pt x="16260" y="149611"/>
                </a:lnTo>
                <a:cubicBezTo>
                  <a:pt x="12540" y="153332"/>
                  <a:pt x="6510" y="153332"/>
                  <a:pt x="2790" y="149611"/>
                </a:cubicBezTo>
                <a:cubicBezTo>
                  <a:pt x="-930" y="145892"/>
                  <a:pt x="-930" y="139861"/>
                  <a:pt x="2790" y="136141"/>
                </a:cubicBezTo>
                <a:lnTo>
                  <a:pt x="32181" y="106750"/>
                </a:lnTo>
                <a:cubicBezTo>
                  <a:pt x="19525" y="93137"/>
                  <a:pt x="9525" y="79353"/>
                  <a:pt x="9525" y="72740"/>
                </a:cubicBezTo>
                <a:cubicBezTo>
                  <a:pt x="9525" y="57154"/>
                  <a:pt x="27781" y="57151"/>
                  <a:pt x="38100" y="57151"/>
                </a:cubicBezTo>
                <a:cubicBezTo>
                  <a:pt x="48419" y="57151"/>
                  <a:pt x="60702" y="53635"/>
                  <a:pt x="66675" y="47626"/>
                </a:cubicBezTo>
                <a:cubicBezTo>
                  <a:pt x="73017" y="39560"/>
                  <a:pt x="76045" y="33113"/>
                  <a:pt x="77217" y="22562"/>
                </a:cubicBezTo>
                <a:close/>
              </a:path>
            </a:pathLst>
          </a:custGeom>
          <a:solidFill>
            <a:schemeClr val="accent6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pic>
        <p:nvPicPr>
          <p:cNvPr id="103" name="Рисунок 102">
            <a:extLst>
              <a:ext uri="{FF2B5EF4-FFF2-40B4-BE49-F238E27FC236}">
                <a16:creationId xmlns:a16="http://schemas.microsoft.com/office/drawing/2014/main" id="{0F92B201-50C1-310E-C726-28247CA7DC4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72687" y="2117100"/>
            <a:ext cx="166759" cy="166759"/>
          </a:xfrm>
          <a:prstGeom prst="rect">
            <a:avLst/>
          </a:prstGeom>
        </p:spPr>
      </p:pic>
      <p:pic>
        <p:nvPicPr>
          <p:cNvPr id="104" name="Рисунок 103">
            <a:extLst>
              <a:ext uri="{FF2B5EF4-FFF2-40B4-BE49-F238E27FC236}">
                <a16:creationId xmlns:a16="http://schemas.microsoft.com/office/drawing/2014/main" id="{19E94223-E790-58A9-6376-F634F65BD8B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72687" y="3092518"/>
            <a:ext cx="166759" cy="166759"/>
          </a:xfrm>
          <a:prstGeom prst="rect">
            <a:avLst/>
          </a:prstGeom>
        </p:spPr>
      </p:pic>
      <p:sp>
        <p:nvSpPr>
          <p:cNvPr id="107" name="Рисунок 7">
            <a:extLst>
              <a:ext uri="{FF2B5EF4-FFF2-40B4-BE49-F238E27FC236}">
                <a16:creationId xmlns:a16="http://schemas.microsoft.com/office/drawing/2014/main" id="{BDCE8111-42D6-40F9-4114-0169203FB13D}"/>
              </a:ext>
            </a:extLst>
          </p:cNvPr>
          <p:cNvSpPr/>
          <p:nvPr userDrawn="1"/>
        </p:nvSpPr>
        <p:spPr>
          <a:xfrm>
            <a:off x="11259721" y="4368825"/>
            <a:ext cx="145227" cy="145227"/>
          </a:xfrm>
          <a:custGeom>
            <a:avLst/>
            <a:gdLst>
              <a:gd name="connsiteX0" fmla="*/ 77217 w 152401"/>
              <a:gd name="connsiteY0" fmla="*/ 22562 h 152401"/>
              <a:gd name="connsiteX1" fmla="*/ 92075 w 152401"/>
              <a:gd name="connsiteY1" fmla="*/ 7 h 152401"/>
              <a:gd name="connsiteX2" fmla="*/ 133350 w 152401"/>
              <a:gd name="connsiteY2" fmla="*/ 19051 h 152401"/>
              <a:gd name="connsiteX3" fmla="*/ 152394 w 152401"/>
              <a:gd name="connsiteY3" fmla="*/ 60327 h 152401"/>
              <a:gd name="connsiteX4" fmla="*/ 129839 w 152401"/>
              <a:gd name="connsiteY4" fmla="*/ 75185 h 152401"/>
              <a:gd name="connsiteX5" fmla="*/ 104775 w 152401"/>
              <a:gd name="connsiteY5" fmla="*/ 85726 h 152401"/>
              <a:gd name="connsiteX6" fmla="*/ 95250 w 152401"/>
              <a:gd name="connsiteY6" fmla="*/ 114301 h 152401"/>
              <a:gd name="connsiteX7" fmla="*/ 79661 w 152401"/>
              <a:gd name="connsiteY7" fmla="*/ 142876 h 152401"/>
              <a:gd name="connsiteX8" fmla="*/ 45652 w 152401"/>
              <a:gd name="connsiteY8" fmla="*/ 120220 h 152401"/>
              <a:gd name="connsiteX9" fmla="*/ 16260 w 152401"/>
              <a:gd name="connsiteY9" fmla="*/ 149611 h 152401"/>
              <a:gd name="connsiteX10" fmla="*/ 2790 w 152401"/>
              <a:gd name="connsiteY10" fmla="*/ 149611 h 152401"/>
              <a:gd name="connsiteX11" fmla="*/ 2790 w 152401"/>
              <a:gd name="connsiteY11" fmla="*/ 136141 h 152401"/>
              <a:gd name="connsiteX12" fmla="*/ 32181 w 152401"/>
              <a:gd name="connsiteY12" fmla="*/ 106750 h 152401"/>
              <a:gd name="connsiteX13" fmla="*/ 9525 w 152401"/>
              <a:gd name="connsiteY13" fmla="*/ 72740 h 152401"/>
              <a:gd name="connsiteX14" fmla="*/ 38100 w 152401"/>
              <a:gd name="connsiteY14" fmla="*/ 57151 h 152401"/>
              <a:gd name="connsiteX15" fmla="*/ 66675 w 152401"/>
              <a:gd name="connsiteY15" fmla="*/ 47626 h 152401"/>
              <a:gd name="connsiteX16" fmla="*/ 77217 w 152401"/>
              <a:gd name="connsiteY16" fmla="*/ 22562 h 152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2401" h="152401">
                <a:moveTo>
                  <a:pt x="77217" y="22562"/>
                </a:moveTo>
                <a:cubicBezTo>
                  <a:pt x="78455" y="11424"/>
                  <a:pt x="79696" y="259"/>
                  <a:pt x="92075" y="7"/>
                </a:cubicBezTo>
                <a:cubicBezTo>
                  <a:pt x="105589" y="-267"/>
                  <a:pt x="121580" y="7281"/>
                  <a:pt x="133350" y="19051"/>
                </a:cubicBezTo>
                <a:cubicBezTo>
                  <a:pt x="145120" y="30821"/>
                  <a:pt x="152669" y="46812"/>
                  <a:pt x="152394" y="60327"/>
                </a:cubicBezTo>
                <a:cubicBezTo>
                  <a:pt x="152143" y="72705"/>
                  <a:pt x="140978" y="73947"/>
                  <a:pt x="129839" y="75185"/>
                </a:cubicBezTo>
                <a:cubicBezTo>
                  <a:pt x="119294" y="76356"/>
                  <a:pt x="112095" y="78457"/>
                  <a:pt x="104775" y="85726"/>
                </a:cubicBezTo>
                <a:cubicBezTo>
                  <a:pt x="98766" y="91699"/>
                  <a:pt x="95250" y="103983"/>
                  <a:pt x="95250" y="114301"/>
                </a:cubicBezTo>
                <a:cubicBezTo>
                  <a:pt x="95250" y="124621"/>
                  <a:pt x="95247" y="142876"/>
                  <a:pt x="79661" y="142876"/>
                </a:cubicBezTo>
                <a:cubicBezTo>
                  <a:pt x="73049" y="142876"/>
                  <a:pt x="59265" y="132876"/>
                  <a:pt x="45652" y="120220"/>
                </a:cubicBezTo>
                <a:lnTo>
                  <a:pt x="16260" y="149611"/>
                </a:lnTo>
                <a:cubicBezTo>
                  <a:pt x="12540" y="153332"/>
                  <a:pt x="6510" y="153332"/>
                  <a:pt x="2790" y="149611"/>
                </a:cubicBezTo>
                <a:cubicBezTo>
                  <a:pt x="-930" y="145892"/>
                  <a:pt x="-930" y="139861"/>
                  <a:pt x="2790" y="136141"/>
                </a:cubicBezTo>
                <a:lnTo>
                  <a:pt x="32181" y="106750"/>
                </a:lnTo>
                <a:cubicBezTo>
                  <a:pt x="19525" y="93137"/>
                  <a:pt x="9525" y="79353"/>
                  <a:pt x="9525" y="72740"/>
                </a:cubicBezTo>
                <a:cubicBezTo>
                  <a:pt x="9525" y="57154"/>
                  <a:pt x="27781" y="57151"/>
                  <a:pt x="38100" y="57151"/>
                </a:cubicBezTo>
                <a:cubicBezTo>
                  <a:pt x="48419" y="57151"/>
                  <a:pt x="60702" y="53635"/>
                  <a:pt x="66675" y="47626"/>
                </a:cubicBezTo>
                <a:cubicBezTo>
                  <a:pt x="73017" y="39560"/>
                  <a:pt x="76045" y="33113"/>
                  <a:pt x="77217" y="22562"/>
                </a:cubicBez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pic>
        <p:nvPicPr>
          <p:cNvPr id="77" name="Рисунок 76" descr="Изображение выглядит как графическая вставка, Графика, графический дизайн, иллюстрация&#10;&#10;Автоматически созданное описание">
            <a:extLst>
              <a:ext uri="{FF2B5EF4-FFF2-40B4-BE49-F238E27FC236}">
                <a16:creationId xmlns:a16="http://schemas.microsoft.com/office/drawing/2014/main" id="{276BF3AB-DC00-0546-93DF-2A740B4A669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645" y="647902"/>
            <a:ext cx="1659941" cy="803412"/>
          </a:xfrm>
          <a:prstGeom prst="rect">
            <a:avLst/>
          </a:prstGeom>
        </p:spPr>
      </p:pic>
      <p:pic>
        <p:nvPicPr>
          <p:cNvPr id="79" name="Рисунок 78" descr="Изображение выглядит как графическая вставка, мультфильм, Детское искусство, иллюстрация&#10;&#10;Автоматически созданное описание">
            <a:extLst>
              <a:ext uri="{FF2B5EF4-FFF2-40B4-BE49-F238E27FC236}">
                <a16:creationId xmlns:a16="http://schemas.microsoft.com/office/drawing/2014/main" id="{FADF100C-4902-314A-A475-3D020BAD1CC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75159" y="4333974"/>
            <a:ext cx="531911" cy="531911"/>
          </a:xfrm>
          <a:prstGeom prst="rect">
            <a:avLst/>
          </a:prstGeom>
        </p:spPr>
      </p:pic>
      <p:grpSp>
        <p:nvGrpSpPr>
          <p:cNvPr id="83" name="Группа 82">
            <a:extLst>
              <a:ext uri="{FF2B5EF4-FFF2-40B4-BE49-F238E27FC236}">
                <a16:creationId xmlns:a16="http://schemas.microsoft.com/office/drawing/2014/main" id="{2E914D65-6B19-2C49-A6F3-DBF88ABA0691}"/>
              </a:ext>
            </a:extLst>
          </p:cNvPr>
          <p:cNvGrpSpPr/>
          <p:nvPr/>
        </p:nvGrpSpPr>
        <p:grpSpPr>
          <a:xfrm>
            <a:off x="4712045" y="585020"/>
            <a:ext cx="3679822" cy="5212740"/>
            <a:chOff x="4746894" y="587649"/>
            <a:chExt cx="3679822" cy="5212740"/>
          </a:xfrm>
        </p:grpSpPr>
        <p:pic>
          <p:nvPicPr>
            <p:cNvPr id="125" name="Рисунок 124">
              <a:extLst>
                <a:ext uri="{FF2B5EF4-FFF2-40B4-BE49-F238E27FC236}">
                  <a16:creationId xmlns:a16="http://schemas.microsoft.com/office/drawing/2014/main" id="{E3079F11-CA78-FB11-42F8-457DF2F7DCD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746894" y="1316353"/>
              <a:ext cx="1564527" cy="2330494"/>
            </a:xfrm>
            <a:prstGeom prst="rect">
              <a:avLst/>
            </a:prstGeom>
          </p:spPr>
        </p:pic>
        <p:pic>
          <p:nvPicPr>
            <p:cNvPr id="126" name="Рисунок 125">
              <a:extLst>
                <a:ext uri="{FF2B5EF4-FFF2-40B4-BE49-F238E27FC236}">
                  <a16:creationId xmlns:a16="http://schemas.microsoft.com/office/drawing/2014/main" id="{2E4DA317-AF6A-4C4C-B7DD-279BA9C46C3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766203" y="1608873"/>
              <a:ext cx="1474279" cy="2023321"/>
            </a:xfrm>
            <a:prstGeom prst="rect">
              <a:avLst/>
            </a:prstGeom>
          </p:spPr>
        </p:pic>
        <p:sp>
          <p:nvSpPr>
            <p:cNvPr id="127" name="Прямоугольник: скругленные углы 69">
              <a:extLst>
                <a:ext uri="{FF2B5EF4-FFF2-40B4-BE49-F238E27FC236}">
                  <a16:creationId xmlns:a16="http://schemas.microsoft.com/office/drawing/2014/main" id="{8F97E0D8-5259-1442-9794-751FF43EAF97}"/>
                </a:ext>
              </a:extLst>
            </p:cNvPr>
            <p:cNvSpPr/>
            <p:nvPr/>
          </p:nvSpPr>
          <p:spPr>
            <a:xfrm>
              <a:off x="5622966" y="1867607"/>
              <a:ext cx="94330" cy="103698"/>
            </a:xfrm>
            <a:prstGeom prst="roundRect">
              <a:avLst>
                <a:gd name="adj" fmla="val 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00" err="1"/>
            </a:p>
          </p:txBody>
        </p:sp>
        <p:sp>
          <p:nvSpPr>
            <p:cNvPr id="129" name="TextBox 128">
              <a:extLst>
                <a:ext uri="{FF2B5EF4-FFF2-40B4-BE49-F238E27FC236}">
                  <a16:creationId xmlns:a16="http://schemas.microsoft.com/office/drawing/2014/main" id="{CB4CE404-E034-5EA4-6A2F-25540E37FFD6}"/>
                </a:ext>
              </a:extLst>
            </p:cNvPr>
            <p:cNvSpPr txBox="1"/>
            <p:nvPr/>
          </p:nvSpPr>
          <p:spPr>
            <a:xfrm>
              <a:off x="4754328" y="587649"/>
              <a:ext cx="2741705" cy="25329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>
                <a:lnSpc>
                  <a:spcPct val="90000"/>
                </a:lnSpc>
              </a:pPr>
              <a:r>
                <a:rPr lang="ru-RU" b="1" dirty="0"/>
                <a:t>Настройся на цвет</a:t>
              </a:r>
            </a:p>
          </p:txBody>
        </p:sp>
        <p:sp>
          <p:nvSpPr>
            <p:cNvPr id="130" name="TextBox 129">
              <a:extLst>
                <a:ext uri="{FF2B5EF4-FFF2-40B4-BE49-F238E27FC236}">
                  <a16:creationId xmlns:a16="http://schemas.microsoft.com/office/drawing/2014/main" id="{8148D88D-B440-B167-A76A-F041BC960E25}"/>
                </a:ext>
              </a:extLst>
            </p:cNvPr>
            <p:cNvSpPr txBox="1"/>
            <p:nvPr/>
          </p:nvSpPr>
          <p:spPr>
            <a:xfrm>
              <a:off x="4754328" y="927719"/>
              <a:ext cx="3339825" cy="39577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200" dirty="0"/>
                <a:t>Подобрали цвета для разных задач </a:t>
              </a:r>
              <a:br>
                <a:rPr lang="ru-RU" sz="1200" dirty="0"/>
              </a:br>
              <a:r>
                <a:rPr lang="ru-RU" sz="1200" dirty="0"/>
                <a:t>и элементов и вшили их в шаблон.</a:t>
              </a:r>
            </a:p>
          </p:txBody>
        </p:sp>
        <p:sp>
          <p:nvSpPr>
            <p:cNvPr id="131" name="Прямоугольник: скругленные углы 49">
              <a:extLst>
                <a:ext uri="{FF2B5EF4-FFF2-40B4-BE49-F238E27FC236}">
                  <a16:creationId xmlns:a16="http://schemas.microsoft.com/office/drawing/2014/main" id="{0A0F66EF-CFCC-77BD-9275-23172110E19C}"/>
                </a:ext>
              </a:extLst>
            </p:cNvPr>
            <p:cNvSpPr/>
            <p:nvPr/>
          </p:nvSpPr>
          <p:spPr>
            <a:xfrm>
              <a:off x="4786313" y="1846263"/>
              <a:ext cx="128588" cy="129930"/>
            </a:xfrm>
            <a:prstGeom prst="roundRect">
              <a:avLst/>
            </a:prstGeom>
            <a:solidFill>
              <a:schemeClr val="accent6">
                <a:alpha val="10000"/>
              </a:schemeClr>
            </a:solidFill>
            <a:ln w="3175"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ru-RU" sz="800" b="1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132" name="Прямоугольник: скругленные углы 50">
              <a:extLst>
                <a:ext uri="{FF2B5EF4-FFF2-40B4-BE49-F238E27FC236}">
                  <a16:creationId xmlns:a16="http://schemas.microsoft.com/office/drawing/2014/main" id="{BA99DA5C-72A6-76A3-B3AD-0C86E0CE70F7}"/>
                </a:ext>
              </a:extLst>
            </p:cNvPr>
            <p:cNvSpPr/>
            <p:nvPr/>
          </p:nvSpPr>
          <p:spPr>
            <a:xfrm>
              <a:off x="4925305" y="1846263"/>
              <a:ext cx="128588" cy="129930"/>
            </a:xfrm>
            <a:prstGeom prst="roundRect">
              <a:avLst/>
            </a:prstGeom>
            <a:solidFill>
              <a:schemeClr val="accent6">
                <a:alpha val="10000"/>
              </a:schemeClr>
            </a:solidFill>
            <a:ln w="3175"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ru-RU" sz="800" b="1">
                  <a:solidFill>
                    <a:schemeClr val="bg1"/>
                  </a:solidFill>
                </a:rPr>
                <a:t>2</a:t>
              </a:r>
            </a:p>
          </p:txBody>
        </p:sp>
        <p:sp>
          <p:nvSpPr>
            <p:cNvPr id="133" name="Прямоугольник: скругленные углы 51">
              <a:extLst>
                <a:ext uri="{FF2B5EF4-FFF2-40B4-BE49-F238E27FC236}">
                  <a16:creationId xmlns:a16="http://schemas.microsoft.com/office/drawing/2014/main" id="{28146186-D17F-C1E9-4155-AC99C46AE4B3}"/>
                </a:ext>
              </a:extLst>
            </p:cNvPr>
            <p:cNvSpPr/>
            <p:nvPr/>
          </p:nvSpPr>
          <p:spPr>
            <a:xfrm>
              <a:off x="5326083" y="1802649"/>
              <a:ext cx="427511" cy="222730"/>
            </a:xfrm>
            <a:prstGeom prst="roundRect">
              <a:avLst/>
            </a:prstGeom>
            <a:noFill/>
            <a:ln w="3175"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ru-RU" sz="800" b="1" dirty="0">
                  <a:solidFill>
                    <a:schemeClr val="tx1"/>
                  </a:solidFill>
                </a:rPr>
                <a:t>     4</a:t>
              </a:r>
            </a:p>
          </p:txBody>
        </p:sp>
        <p:sp>
          <p:nvSpPr>
            <p:cNvPr id="134" name="Прямоугольник: скругленные углы 52">
              <a:extLst>
                <a:ext uri="{FF2B5EF4-FFF2-40B4-BE49-F238E27FC236}">
                  <a16:creationId xmlns:a16="http://schemas.microsoft.com/office/drawing/2014/main" id="{452F4643-71DB-811F-5C4B-E1C7F21FA06A}"/>
                </a:ext>
              </a:extLst>
            </p:cNvPr>
            <p:cNvSpPr/>
            <p:nvPr/>
          </p:nvSpPr>
          <p:spPr>
            <a:xfrm>
              <a:off x="6031196" y="2052754"/>
              <a:ext cx="128588" cy="129930"/>
            </a:xfrm>
            <a:prstGeom prst="roundRect">
              <a:avLst/>
            </a:prstGeom>
            <a:solidFill>
              <a:schemeClr val="accent6">
                <a:alpha val="10000"/>
              </a:schemeClr>
            </a:solidFill>
            <a:ln w="3175"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ru-RU" sz="800" b="1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135" name="Прямоугольник: скругленные углы 53">
              <a:extLst>
                <a:ext uri="{FF2B5EF4-FFF2-40B4-BE49-F238E27FC236}">
                  <a16:creationId xmlns:a16="http://schemas.microsoft.com/office/drawing/2014/main" id="{691C8B0D-C366-E3A0-3A9D-B0805BF7D526}"/>
                </a:ext>
              </a:extLst>
            </p:cNvPr>
            <p:cNvSpPr/>
            <p:nvPr/>
          </p:nvSpPr>
          <p:spPr>
            <a:xfrm>
              <a:off x="4786312" y="2965276"/>
              <a:ext cx="417647" cy="129930"/>
            </a:xfrm>
            <a:prstGeom prst="roundRect">
              <a:avLst/>
            </a:prstGeom>
            <a:solidFill>
              <a:schemeClr val="bg1">
                <a:alpha val="45000"/>
              </a:schemeClr>
            </a:solidFill>
            <a:ln w="3175"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ru-RU" sz="800" b="1">
                  <a:solidFill>
                    <a:schemeClr val="tx1"/>
                  </a:solidFill>
                </a:rPr>
                <a:t>8</a:t>
              </a:r>
            </a:p>
          </p:txBody>
        </p:sp>
        <p:grpSp>
          <p:nvGrpSpPr>
            <p:cNvPr id="136" name="Группа 135">
              <a:extLst>
                <a:ext uri="{FF2B5EF4-FFF2-40B4-BE49-F238E27FC236}">
                  <a16:creationId xmlns:a16="http://schemas.microsoft.com/office/drawing/2014/main" id="{29F5C26B-646A-5234-1901-00ECB2D410FD}"/>
                </a:ext>
              </a:extLst>
            </p:cNvPr>
            <p:cNvGrpSpPr/>
            <p:nvPr/>
          </p:nvGrpSpPr>
          <p:grpSpPr>
            <a:xfrm>
              <a:off x="4776934" y="3171767"/>
              <a:ext cx="1506353" cy="447322"/>
              <a:chOff x="4776934" y="3171767"/>
              <a:chExt cx="1506353" cy="447322"/>
            </a:xfrm>
          </p:grpSpPr>
          <p:cxnSp>
            <p:nvCxnSpPr>
              <p:cNvPr id="148" name="Прямая соединительная линия 147">
                <a:extLst>
                  <a:ext uri="{FF2B5EF4-FFF2-40B4-BE49-F238E27FC236}">
                    <a16:creationId xmlns:a16="http://schemas.microsoft.com/office/drawing/2014/main" id="{C2B165CD-4755-2151-C4E8-ED92D9BDF1B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776934" y="3171767"/>
                <a:ext cx="1506353" cy="447322"/>
              </a:xfrm>
              <a:prstGeom prst="line">
                <a:avLst/>
              </a:prstGeom>
              <a:ln w="28575" cap="rnd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9" name="Прямая соединительная линия 148">
                <a:extLst>
                  <a:ext uri="{FF2B5EF4-FFF2-40B4-BE49-F238E27FC236}">
                    <a16:creationId xmlns:a16="http://schemas.microsoft.com/office/drawing/2014/main" id="{A67D9A16-BC97-2FB7-364C-E6EFF72F1E9B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4776934" y="3171767"/>
                <a:ext cx="1506353" cy="447322"/>
              </a:xfrm>
              <a:prstGeom prst="line">
                <a:avLst/>
              </a:prstGeom>
              <a:ln w="28575" cap="rnd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37" name="Прямоугольник: скругленные углы 60">
              <a:extLst>
                <a:ext uri="{FF2B5EF4-FFF2-40B4-BE49-F238E27FC236}">
                  <a16:creationId xmlns:a16="http://schemas.microsoft.com/office/drawing/2014/main" id="{F9F2583D-7AC8-9EE4-273C-642B2D503E74}"/>
                </a:ext>
              </a:extLst>
            </p:cNvPr>
            <p:cNvSpPr/>
            <p:nvPr/>
          </p:nvSpPr>
          <p:spPr>
            <a:xfrm>
              <a:off x="5613973" y="1852201"/>
              <a:ext cx="128588" cy="129930"/>
            </a:xfrm>
            <a:prstGeom prst="roundRect">
              <a:avLst/>
            </a:prstGeom>
            <a:noFill/>
            <a:ln w="3175"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ru-RU" sz="800" b="1" dirty="0">
                  <a:solidFill>
                    <a:schemeClr val="bg1"/>
                  </a:solidFill>
                </a:rPr>
                <a:t>7</a:t>
              </a:r>
            </a:p>
          </p:txBody>
        </p:sp>
        <p:sp>
          <p:nvSpPr>
            <p:cNvPr id="138" name="TextBox 137">
              <a:extLst>
                <a:ext uri="{FF2B5EF4-FFF2-40B4-BE49-F238E27FC236}">
                  <a16:creationId xmlns:a16="http://schemas.microsoft.com/office/drawing/2014/main" id="{AE701400-5CBD-252E-038B-DBBC6163029F}"/>
                </a:ext>
              </a:extLst>
            </p:cNvPr>
            <p:cNvSpPr txBox="1"/>
            <p:nvPr/>
          </p:nvSpPr>
          <p:spPr>
            <a:xfrm>
              <a:off x="6446251" y="1591086"/>
              <a:ext cx="1980465" cy="202800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182563" indent="-182563" algn="l">
                <a:spcAft>
                  <a:spcPts val="600"/>
                </a:spcAft>
                <a:buAutoNum type="arabicPeriod"/>
              </a:pPr>
              <a:r>
                <a:rPr lang="ru-RU" sz="1200" dirty="0"/>
                <a:t>Цвет фона светлой темы.</a:t>
              </a:r>
            </a:p>
            <a:p>
              <a:pPr marL="182563" indent="-182563" algn="l">
                <a:spcAft>
                  <a:spcPts val="600"/>
                </a:spcAft>
                <a:buAutoNum type="arabicPeriod"/>
              </a:pPr>
              <a:r>
                <a:rPr lang="ru-RU" sz="1200" dirty="0"/>
                <a:t>Цвет текста для светлой темы.</a:t>
              </a:r>
            </a:p>
            <a:p>
              <a:pPr marL="182563" indent="-182563" algn="l">
                <a:spcAft>
                  <a:spcPts val="600"/>
                </a:spcAft>
                <a:buAutoNum type="arabicPeriod"/>
              </a:pPr>
              <a:r>
                <a:rPr lang="ru-RU" sz="1200" dirty="0"/>
                <a:t>Цвет фона для тёмной темы.</a:t>
              </a:r>
            </a:p>
            <a:p>
              <a:pPr marL="182563" indent="-182563" algn="l">
                <a:spcAft>
                  <a:spcPts val="600"/>
                </a:spcAft>
                <a:buAutoNum type="arabicPeriod"/>
              </a:pPr>
              <a:r>
                <a:rPr lang="ru-RU" sz="1200" dirty="0"/>
                <a:t>Основные акцентные цвета.</a:t>
              </a:r>
            </a:p>
            <a:p>
              <a:pPr marL="182563" indent="-182563" algn="l">
                <a:spcAft>
                  <a:spcPts val="600"/>
                </a:spcAft>
                <a:buAutoNum type="arabicPeriod"/>
              </a:pPr>
              <a:r>
                <a:rPr lang="ru-RU" sz="1200" dirty="0"/>
                <a:t>Цвет для больших плашек в светлой теме.</a:t>
              </a:r>
            </a:p>
            <a:p>
              <a:pPr marL="228600" indent="-228600" algn="l">
                <a:spcAft>
                  <a:spcPts val="600"/>
                </a:spcAft>
                <a:buFont typeface="+mj-lt"/>
                <a:buAutoNum type="arabicPeriod" startAt="3"/>
              </a:pPr>
              <a:endParaRPr lang="ru-RU" sz="1200" dirty="0"/>
            </a:p>
          </p:txBody>
        </p:sp>
        <p:sp>
          <p:nvSpPr>
            <p:cNvPr id="139" name="Прямоугольник: скругленные углы 63">
              <a:extLst>
                <a:ext uri="{FF2B5EF4-FFF2-40B4-BE49-F238E27FC236}">
                  <a16:creationId xmlns:a16="http://schemas.microsoft.com/office/drawing/2014/main" id="{827AC2BC-2F1F-7171-8A32-84E433F38FB6}"/>
                </a:ext>
              </a:extLst>
            </p:cNvPr>
            <p:cNvSpPr/>
            <p:nvPr/>
          </p:nvSpPr>
          <p:spPr>
            <a:xfrm>
              <a:off x="5889228" y="1846263"/>
              <a:ext cx="128588" cy="129930"/>
            </a:xfrm>
            <a:prstGeom prst="roundRect">
              <a:avLst/>
            </a:prstGeom>
            <a:solidFill>
              <a:schemeClr val="accent6">
                <a:alpha val="10000"/>
              </a:schemeClr>
            </a:solidFill>
            <a:ln w="3175"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ru-RU" sz="800" b="1" dirty="0">
                  <a:solidFill>
                    <a:schemeClr val="tx1"/>
                  </a:solidFill>
                </a:rPr>
                <a:t>5</a:t>
              </a:r>
            </a:p>
          </p:txBody>
        </p:sp>
        <p:sp>
          <p:nvSpPr>
            <p:cNvPr id="140" name="Прямоугольник: скругленные углы 64">
              <a:extLst>
                <a:ext uri="{FF2B5EF4-FFF2-40B4-BE49-F238E27FC236}">
                  <a16:creationId xmlns:a16="http://schemas.microsoft.com/office/drawing/2014/main" id="{73190C78-DB36-C915-C2FE-248D4BFEC4D7}"/>
                </a:ext>
              </a:extLst>
            </p:cNvPr>
            <p:cNvSpPr/>
            <p:nvPr/>
          </p:nvSpPr>
          <p:spPr>
            <a:xfrm>
              <a:off x="6029005" y="1848082"/>
              <a:ext cx="128588" cy="129930"/>
            </a:xfrm>
            <a:prstGeom prst="roundRect">
              <a:avLst/>
            </a:prstGeom>
            <a:solidFill>
              <a:schemeClr val="accent6">
                <a:alpha val="10000"/>
              </a:schemeClr>
            </a:solidFill>
            <a:ln w="3175"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ru-RU" sz="800" b="1" dirty="0">
                  <a:solidFill>
                    <a:schemeClr val="bg1"/>
                  </a:solidFill>
                </a:rPr>
                <a:t>5</a:t>
              </a:r>
            </a:p>
          </p:txBody>
        </p:sp>
        <p:sp>
          <p:nvSpPr>
            <p:cNvPr id="141" name="TextBox 140">
              <a:extLst>
                <a:ext uri="{FF2B5EF4-FFF2-40B4-BE49-F238E27FC236}">
                  <a16:creationId xmlns:a16="http://schemas.microsoft.com/office/drawing/2014/main" id="{9EA09BDF-4524-69CB-7A66-6638D40E47CB}"/>
                </a:ext>
              </a:extLst>
            </p:cNvPr>
            <p:cNvSpPr txBox="1"/>
            <p:nvPr/>
          </p:nvSpPr>
          <p:spPr>
            <a:xfrm>
              <a:off x="4754328" y="3908670"/>
              <a:ext cx="3538564" cy="125895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>
              <a:defPPr>
                <a:defRPr lang="ru-RU"/>
              </a:defPPr>
              <a:lvl1pPr marL="228600" indent="-228600">
                <a:spcAft>
                  <a:spcPts val="600"/>
                </a:spcAft>
                <a:buAutoNum type="arabicPeriod"/>
                <a:defRPr sz="1200"/>
              </a:lvl1pPr>
            </a:lstStyle>
            <a:p>
              <a:pPr>
                <a:buFont typeface="+mj-lt"/>
                <a:buAutoNum type="arabicPeriod" startAt="6"/>
              </a:pPr>
              <a:r>
                <a:rPr lang="ru-RU" dirty="0"/>
                <a:t>Цвет вспомогательного текста.</a:t>
              </a:r>
            </a:p>
            <a:p>
              <a:pPr>
                <a:buFont typeface="+mj-lt"/>
                <a:buAutoNum type="arabicPeriod" startAt="6"/>
              </a:pPr>
              <a:r>
                <a:rPr lang="ru-RU" dirty="0"/>
                <a:t>Цвет больших плашек в тёмной теме.</a:t>
              </a:r>
            </a:p>
            <a:p>
              <a:pPr>
                <a:buFont typeface="+mj-lt"/>
                <a:buAutoNum type="arabicPeriod" startAt="6"/>
              </a:pPr>
              <a:r>
                <a:rPr lang="ru-RU" dirty="0"/>
                <a:t>Цвета для маркировки роста/падения показателей в таблицах.</a:t>
              </a:r>
            </a:p>
          </p:txBody>
        </p:sp>
        <p:sp>
          <p:nvSpPr>
            <p:cNvPr id="142" name="Прямоугольник: скругленные углы 66">
              <a:extLst>
                <a:ext uri="{FF2B5EF4-FFF2-40B4-BE49-F238E27FC236}">
                  <a16:creationId xmlns:a16="http://schemas.microsoft.com/office/drawing/2014/main" id="{7F578ABB-86DA-2D28-FB0D-6F26F3F51616}"/>
                </a:ext>
              </a:extLst>
            </p:cNvPr>
            <p:cNvSpPr/>
            <p:nvPr/>
          </p:nvSpPr>
          <p:spPr>
            <a:xfrm>
              <a:off x="4967311" y="5221257"/>
              <a:ext cx="728387" cy="570495"/>
            </a:xfrm>
            <a:prstGeom prst="roundRect">
              <a:avLst>
                <a:gd name="adj" fmla="val 8253"/>
              </a:avLst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900">
                <a:solidFill>
                  <a:schemeClr val="tx2"/>
                </a:solidFill>
              </a:endParaRPr>
            </a:p>
          </p:txBody>
        </p:sp>
        <p:sp>
          <p:nvSpPr>
            <p:cNvPr id="143" name="Прямоугольник: скругленные углы 67">
              <a:extLst>
                <a:ext uri="{FF2B5EF4-FFF2-40B4-BE49-F238E27FC236}">
                  <a16:creationId xmlns:a16="http://schemas.microsoft.com/office/drawing/2014/main" id="{34BA46B6-4EAD-3D49-E4A6-147FE2E4976A}"/>
                </a:ext>
              </a:extLst>
            </p:cNvPr>
            <p:cNvSpPr/>
            <p:nvPr/>
          </p:nvSpPr>
          <p:spPr>
            <a:xfrm>
              <a:off x="4780118" y="5221258"/>
              <a:ext cx="147470" cy="242152"/>
            </a:xfrm>
            <a:prstGeom prst="roundRect">
              <a:avLst>
                <a:gd name="adj" fmla="val 20249"/>
              </a:avLst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00" err="1"/>
            </a:p>
          </p:txBody>
        </p:sp>
        <p:sp>
          <p:nvSpPr>
            <p:cNvPr id="144" name="TextBox 143">
              <a:extLst>
                <a:ext uri="{FF2B5EF4-FFF2-40B4-BE49-F238E27FC236}">
                  <a16:creationId xmlns:a16="http://schemas.microsoft.com/office/drawing/2014/main" id="{3DFF2BDC-351B-9189-BF06-4368E6CFA142}"/>
                </a:ext>
              </a:extLst>
            </p:cNvPr>
            <p:cNvSpPr txBox="1"/>
            <p:nvPr/>
          </p:nvSpPr>
          <p:spPr>
            <a:xfrm>
              <a:off x="5788662" y="5228672"/>
              <a:ext cx="2235410" cy="54717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200" spc="-30" dirty="0"/>
                <a:t>Слева от слайда добавили подсказку по выбору цветов, которая дублирует информацию выше. </a:t>
              </a:r>
            </a:p>
          </p:txBody>
        </p:sp>
        <p:sp>
          <p:nvSpPr>
            <p:cNvPr id="145" name="Прямоугольник: скругленные углы 69">
              <a:extLst>
                <a:ext uri="{FF2B5EF4-FFF2-40B4-BE49-F238E27FC236}">
                  <a16:creationId xmlns:a16="http://schemas.microsoft.com/office/drawing/2014/main" id="{4159EF26-62C4-8B58-ED6B-15706AB0E022}"/>
                </a:ext>
              </a:extLst>
            </p:cNvPr>
            <p:cNvSpPr/>
            <p:nvPr/>
          </p:nvSpPr>
          <p:spPr>
            <a:xfrm>
              <a:off x="4780118" y="5495518"/>
              <a:ext cx="147470" cy="173301"/>
            </a:xfrm>
            <a:prstGeom prst="roundRect">
              <a:avLst>
                <a:gd name="adj" fmla="val 18868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00" err="1"/>
            </a:p>
          </p:txBody>
        </p:sp>
        <p:sp>
          <p:nvSpPr>
            <p:cNvPr id="146" name="Прямоугольник: скругленные углы 70">
              <a:extLst>
                <a:ext uri="{FF2B5EF4-FFF2-40B4-BE49-F238E27FC236}">
                  <a16:creationId xmlns:a16="http://schemas.microsoft.com/office/drawing/2014/main" id="{8ABBFB18-DBBD-2DB9-8A1A-34DF93D1D83D}"/>
                </a:ext>
              </a:extLst>
            </p:cNvPr>
            <p:cNvSpPr/>
            <p:nvPr/>
          </p:nvSpPr>
          <p:spPr>
            <a:xfrm>
              <a:off x="4780118" y="5700927"/>
              <a:ext cx="147470" cy="99462"/>
            </a:xfrm>
            <a:prstGeom prst="roundRect">
              <a:avLst>
                <a:gd name="adj" fmla="val 29916"/>
              </a:avLst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00" err="1"/>
            </a:p>
          </p:txBody>
        </p:sp>
        <p:sp>
          <p:nvSpPr>
            <p:cNvPr id="147" name="Прямоугольник: скругленные углы 50">
              <a:extLst>
                <a:ext uri="{FF2B5EF4-FFF2-40B4-BE49-F238E27FC236}">
                  <a16:creationId xmlns:a16="http://schemas.microsoft.com/office/drawing/2014/main" id="{BA99DA5C-72A6-76A3-B3AD-0C86E0CE70F7}"/>
                </a:ext>
              </a:extLst>
            </p:cNvPr>
            <p:cNvSpPr/>
            <p:nvPr/>
          </p:nvSpPr>
          <p:spPr>
            <a:xfrm>
              <a:off x="5197495" y="1846263"/>
              <a:ext cx="128588" cy="129930"/>
            </a:xfrm>
            <a:prstGeom prst="roundRect">
              <a:avLst/>
            </a:prstGeom>
            <a:solidFill>
              <a:schemeClr val="accent6">
                <a:alpha val="10000"/>
              </a:schemeClr>
            </a:solidFill>
            <a:ln w="3175"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ru-RU" sz="800" b="1" dirty="0">
                  <a:solidFill>
                    <a:schemeClr val="bg1"/>
                  </a:solidFill>
                </a:rPr>
                <a:t>3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2153354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title_ligh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9C6A208F-2A8F-8640-1889-7EF3989875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560661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33" imgH="233" progId="TCLayout.ActiveDocument.1">
                  <p:embed/>
                </p:oleObj>
              </mc:Choice>
              <mc:Fallback>
                <p:oleObj name="Слайд think-cell" r:id="rId3" imgW="233" imgH="233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9C6A208F-2A8F-8640-1889-7EF3989875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Объект 2">
            <a:extLst>
              <a:ext uri="{FF2B5EF4-FFF2-40B4-BE49-F238E27FC236}">
                <a16:creationId xmlns:a16="http://schemas.microsoft.com/office/drawing/2014/main" id="{91C59567-F70E-CC32-748F-63A920CFAA0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763" y="1520824"/>
            <a:ext cx="10910887" cy="4741200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2985CD6E-087D-7D18-E079-FFF35855D7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458800" y="6465600"/>
            <a:ext cx="7274114" cy="144500"/>
          </a:xfrm>
        </p:spPr>
        <p:txBody>
          <a:bodyPr anchor="b"/>
          <a:lstStyle>
            <a:lvl1pPr>
              <a:defRPr sz="1000">
                <a:solidFill>
                  <a:srgbClr val="5A6C7D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D1B8BF84-4C88-A2BF-3322-2EC1F81B35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56000" y="6429600"/>
            <a:ext cx="908050" cy="216000"/>
          </a:xfrm>
        </p:spPr>
        <p:txBody>
          <a:bodyPr/>
          <a:lstStyle>
            <a:lvl1pPr>
              <a:defRPr>
                <a:solidFill>
                  <a:srgbClr val="5A6C7D"/>
                </a:solidFill>
              </a:defRPr>
            </a:lvl1pPr>
          </a:lstStyle>
          <a:p>
            <a:fld id="{EB5249F5-0093-48B0-B996-C4E44A87EAFB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1CD188B5-4A1B-CBD8-E7B6-3AA0E6DAFA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9764" y="411164"/>
            <a:ext cx="10910888" cy="35885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5000"/>
              </a:lnSpc>
              <a:defRPr spc="-30" baseline="0"/>
            </a:lvl1pPr>
          </a:lstStyle>
          <a:p>
            <a:r>
              <a:rPr lang="ru-RU" dirty="0"/>
              <a:t>Сформулируй заголовок слайда в 1 строку</a:t>
            </a:r>
          </a:p>
        </p:txBody>
      </p:sp>
      <p:sp>
        <p:nvSpPr>
          <p:cNvPr id="11" name="Текст 10">
            <a:extLst>
              <a:ext uri="{FF2B5EF4-FFF2-40B4-BE49-F238E27FC236}">
                <a16:creationId xmlns:a16="http://schemas.microsoft.com/office/drawing/2014/main" id="{FAE66B39-11DA-D324-553B-5881569B312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9763" y="833072"/>
            <a:ext cx="10910887" cy="358858"/>
          </a:xfrm>
        </p:spPr>
        <p:txBody>
          <a:bodyPr/>
          <a:lstStyle>
            <a:lvl1pPr>
              <a:lnSpc>
                <a:spcPct val="90000"/>
              </a:lnSpc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ru-RU" dirty="0"/>
              <a:t>Сформулируй подзаголовок в 1–2 строки</a:t>
            </a:r>
          </a:p>
        </p:txBody>
      </p:sp>
      <p:sp>
        <p:nvSpPr>
          <p:cNvPr id="75" name="Прямоугольник: скругленные углы 74">
            <a:extLst>
              <a:ext uri="{FF2B5EF4-FFF2-40B4-BE49-F238E27FC236}">
                <a16:creationId xmlns:a16="http://schemas.microsoft.com/office/drawing/2014/main" id="{DF5E2D97-5CF6-49E5-FAB9-9659DF2507A6}"/>
              </a:ext>
            </a:extLst>
          </p:cNvPr>
          <p:cNvSpPr/>
          <p:nvPr userDrawn="1"/>
        </p:nvSpPr>
        <p:spPr>
          <a:xfrm>
            <a:off x="-2138458" y="54865"/>
            <a:ext cx="1928241" cy="2826069"/>
          </a:xfrm>
          <a:prstGeom prst="roundRect">
            <a:avLst>
              <a:gd name="adj" fmla="val 5926"/>
            </a:avLst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6" name="Прямоугольник: скругленные верхние углы 75">
            <a:extLst>
              <a:ext uri="{FF2B5EF4-FFF2-40B4-BE49-F238E27FC236}">
                <a16:creationId xmlns:a16="http://schemas.microsoft.com/office/drawing/2014/main" id="{28CEFC34-7B9B-7027-F0C6-03A2D7926408}"/>
              </a:ext>
            </a:extLst>
          </p:cNvPr>
          <p:cNvSpPr/>
          <p:nvPr userDrawn="1"/>
        </p:nvSpPr>
        <p:spPr>
          <a:xfrm>
            <a:off x="-2136930" y="0"/>
            <a:ext cx="1926713" cy="2880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36000" rtlCol="0" anchor="ctr"/>
          <a:lstStyle/>
          <a:p>
            <a:pPr algn="ctr"/>
            <a:r>
              <a:rPr lang="ru-RU" sz="1100" b="1">
                <a:solidFill>
                  <a:schemeClr val="tx1"/>
                </a:solidFill>
              </a:rPr>
              <a:t>Размеры текста</a:t>
            </a:r>
          </a:p>
        </p:txBody>
      </p:sp>
      <p:graphicFrame>
        <p:nvGraphicFramePr>
          <p:cNvPr id="77" name="Таблица 46">
            <a:extLst>
              <a:ext uri="{FF2B5EF4-FFF2-40B4-BE49-F238E27FC236}">
                <a16:creationId xmlns:a16="http://schemas.microsoft.com/office/drawing/2014/main" id="{0E1EE163-8104-8ED7-61EC-1B745BD881D6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794885169"/>
              </p:ext>
            </p:extLst>
          </p:nvPr>
        </p:nvGraphicFramePr>
        <p:xfrm>
          <a:off x="-2046114" y="312643"/>
          <a:ext cx="1958731" cy="2142000"/>
        </p:xfrm>
        <a:graphic>
          <a:graphicData uri="http://schemas.openxmlformats.org/drawingml/2006/table">
            <a:tbl>
              <a:tblPr/>
              <a:tblGrid>
                <a:gridCol w="532517">
                  <a:extLst>
                    <a:ext uri="{9D8B030D-6E8A-4147-A177-3AD203B41FA5}">
                      <a16:colId xmlns:a16="http://schemas.microsoft.com/office/drawing/2014/main" val="2594385797"/>
                    </a:ext>
                  </a:extLst>
                </a:gridCol>
                <a:gridCol w="1426214">
                  <a:extLst>
                    <a:ext uri="{9D8B030D-6E8A-4147-A177-3AD203B41FA5}">
                      <a16:colId xmlns:a16="http://schemas.microsoft.com/office/drawing/2014/main" val="1017723076"/>
                    </a:ext>
                  </a:extLst>
                </a:gridCol>
              </a:tblGrid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44+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0" spc="-40" baseline="0"/>
                        <a:t>акцентные цифр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8329665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32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заголовки и самые </a:t>
                      </a:r>
                      <a:br>
                        <a:rPr lang="ru-RU" sz="1000" spc="-40" baseline="0"/>
                      </a:br>
                      <a:r>
                        <a:rPr lang="ru-RU" sz="1000" spc="-40" baseline="0"/>
                        <a:t>важные данные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17697917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24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8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подзаголовки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72780009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18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4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основной текст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0685745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4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2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торой уровень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текста (менее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ажная информация)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1997433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0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сноски, пояснения, </a:t>
                      </a:r>
                      <a:br>
                        <a:rPr lang="en-US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большие таблиц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76660845"/>
                  </a:ext>
                </a:extLst>
              </a:tr>
            </a:tbl>
          </a:graphicData>
        </a:graphic>
      </p:graphicFrame>
      <p:sp>
        <p:nvSpPr>
          <p:cNvPr id="78" name="TextBox 77">
            <a:extLst>
              <a:ext uri="{FF2B5EF4-FFF2-40B4-BE49-F238E27FC236}">
                <a16:creationId xmlns:a16="http://schemas.microsoft.com/office/drawing/2014/main" id="{5E880C56-CF09-F9D4-114E-504DB800D737}"/>
              </a:ext>
            </a:extLst>
          </p:cNvPr>
          <p:cNvSpPr txBox="1"/>
          <p:nvPr userDrawn="1"/>
        </p:nvSpPr>
        <p:spPr>
          <a:xfrm>
            <a:off x="-1691344" y="2506490"/>
            <a:ext cx="1373969" cy="2428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</a:pPr>
            <a:r>
              <a:rPr lang="ru-RU" sz="900" b="0">
                <a:solidFill>
                  <a:schemeClr val="accent1"/>
                </a:solidFill>
              </a:rPr>
              <a:t>Используй эти размеры </a:t>
            </a:r>
            <a:br>
              <a:rPr lang="ru-RU" sz="900" b="0">
                <a:solidFill>
                  <a:schemeClr val="accent1"/>
                </a:solidFill>
              </a:rPr>
            </a:br>
            <a:r>
              <a:rPr lang="ru-RU" sz="900" b="0">
                <a:solidFill>
                  <a:schemeClr val="accent1"/>
                </a:solidFill>
              </a:rPr>
              <a:t>по всей презентации</a:t>
            </a:r>
          </a:p>
        </p:txBody>
      </p:sp>
      <p:sp>
        <p:nvSpPr>
          <p:cNvPr id="79" name="Полилиния: фигура 78">
            <a:extLst>
              <a:ext uri="{FF2B5EF4-FFF2-40B4-BE49-F238E27FC236}">
                <a16:creationId xmlns:a16="http://schemas.microsoft.com/office/drawing/2014/main" id="{DC17A6B4-AD4C-D614-D3EF-7B29139B7D33}"/>
              </a:ext>
            </a:extLst>
          </p:cNvPr>
          <p:cNvSpPr/>
          <p:nvPr userDrawn="1"/>
        </p:nvSpPr>
        <p:spPr>
          <a:xfrm>
            <a:off x="-2004344" y="2488864"/>
            <a:ext cx="216624" cy="228657"/>
          </a:xfrm>
          <a:custGeom>
            <a:avLst/>
            <a:gdLst>
              <a:gd name="connsiteX0" fmla="*/ 72536 w 171450"/>
              <a:gd name="connsiteY0" fmla="*/ 162210 h 180974"/>
              <a:gd name="connsiteX1" fmla="*/ 98923 w 171450"/>
              <a:gd name="connsiteY1" fmla="*/ 162210 h 180974"/>
              <a:gd name="connsiteX2" fmla="*/ 103600 w 171450"/>
              <a:gd name="connsiteY2" fmla="*/ 172160 h 180974"/>
              <a:gd name="connsiteX3" fmla="*/ 85726 w 171450"/>
              <a:gd name="connsiteY3" fmla="*/ 180974 h 180974"/>
              <a:gd name="connsiteX4" fmla="*/ 67852 w 171450"/>
              <a:gd name="connsiteY4" fmla="*/ 172160 h 180974"/>
              <a:gd name="connsiteX5" fmla="*/ 72536 w 171450"/>
              <a:gd name="connsiteY5" fmla="*/ 162210 h 180974"/>
              <a:gd name="connsiteX6" fmla="*/ 152400 w 171450"/>
              <a:gd name="connsiteY6" fmla="*/ 76200 h 180974"/>
              <a:gd name="connsiteX7" fmla="*/ 161925 w 171450"/>
              <a:gd name="connsiteY7" fmla="*/ 76200 h 180974"/>
              <a:gd name="connsiteX8" fmla="*/ 171450 w 171450"/>
              <a:gd name="connsiteY8" fmla="*/ 85725 h 180974"/>
              <a:gd name="connsiteX9" fmla="*/ 161925 w 171450"/>
              <a:gd name="connsiteY9" fmla="*/ 95250 h 180974"/>
              <a:gd name="connsiteX10" fmla="*/ 152400 w 171450"/>
              <a:gd name="connsiteY10" fmla="*/ 95250 h 180974"/>
              <a:gd name="connsiteX11" fmla="*/ 142875 w 171450"/>
              <a:gd name="connsiteY11" fmla="*/ 85725 h 180974"/>
              <a:gd name="connsiteX12" fmla="*/ 152400 w 171450"/>
              <a:gd name="connsiteY12" fmla="*/ 76200 h 180974"/>
              <a:gd name="connsiteX13" fmla="*/ 9525 w 171450"/>
              <a:gd name="connsiteY13" fmla="*/ 76200 h 180974"/>
              <a:gd name="connsiteX14" fmla="*/ 19050 w 171450"/>
              <a:gd name="connsiteY14" fmla="*/ 76200 h 180974"/>
              <a:gd name="connsiteX15" fmla="*/ 28575 w 171450"/>
              <a:gd name="connsiteY15" fmla="*/ 85725 h 180974"/>
              <a:gd name="connsiteX16" fmla="*/ 19050 w 171450"/>
              <a:gd name="connsiteY16" fmla="*/ 95250 h 180974"/>
              <a:gd name="connsiteX17" fmla="*/ 9525 w 171450"/>
              <a:gd name="connsiteY17" fmla="*/ 95250 h 180974"/>
              <a:gd name="connsiteX18" fmla="*/ 0 w 171450"/>
              <a:gd name="connsiteY18" fmla="*/ 85725 h 180974"/>
              <a:gd name="connsiteX19" fmla="*/ 9525 w 171450"/>
              <a:gd name="connsiteY19" fmla="*/ 76200 h 180974"/>
              <a:gd name="connsiteX20" fmla="*/ 85725 w 171450"/>
              <a:gd name="connsiteY20" fmla="*/ 38100 h 180974"/>
              <a:gd name="connsiteX21" fmla="*/ 133350 w 171450"/>
              <a:gd name="connsiteY21" fmla="*/ 85725 h 180974"/>
              <a:gd name="connsiteX22" fmla="*/ 123174 w 171450"/>
              <a:gd name="connsiteY22" fmla="*/ 114596 h 180974"/>
              <a:gd name="connsiteX23" fmla="*/ 114300 w 171450"/>
              <a:gd name="connsiteY23" fmla="*/ 138113 h 180974"/>
              <a:gd name="connsiteX24" fmla="*/ 85725 w 171450"/>
              <a:gd name="connsiteY24" fmla="*/ 152400 h 180974"/>
              <a:gd name="connsiteX25" fmla="*/ 57150 w 171450"/>
              <a:gd name="connsiteY25" fmla="*/ 138113 h 180974"/>
              <a:gd name="connsiteX26" fmla="*/ 48275 w 171450"/>
              <a:gd name="connsiteY26" fmla="*/ 114596 h 180974"/>
              <a:gd name="connsiteX27" fmla="*/ 38100 w 171450"/>
              <a:gd name="connsiteY27" fmla="*/ 85725 h 180974"/>
              <a:gd name="connsiteX28" fmla="*/ 85725 w 171450"/>
              <a:gd name="connsiteY28" fmla="*/ 38100 h 180974"/>
              <a:gd name="connsiteX29" fmla="*/ 136141 w 171450"/>
              <a:gd name="connsiteY29" fmla="*/ 21840 h 180974"/>
              <a:gd name="connsiteX30" fmla="*/ 149611 w 171450"/>
              <a:gd name="connsiteY30" fmla="*/ 21840 h 180974"/>
              <a:gd name="connsiteX31" fmla="*/ 149611 w 171450"/>
              <a:gd name="connsiteY31" fmla="*/ 35310 h 180974"/>
              <a:gd name="connsiteX32" fmla="*/ 140086 w 171450"/>
              <a:gd name="connsiteY32" fmla="*/ 44835 h 180974"/>
              <a:gd name="connsiteX33" fmla="*/ 126616 w 171450"/>
              <a:gd name="connsiteY33" fmla="*/ 44835 h 180974"/>
              <a:gd name="connsiteX34" fmla="*/ 126616 w 171450"/>
              <a:gd name="connsiteY34" fmla="*/ 31365 h 180974"/>
              <a:gd name="connsiteX35" fmla="*/ 21840 w 171450"/>
              <a:gd name="connsiteY35" fmla="*/ 21840 h 180974"/>
              <a:gd name="connsiteX36" fmla="*/ 35310 w 171450"/>
              <a:gd name="connsiteY36" fmla="*/ 21840 h 180974"/>
              <a:gd name="connsiteX37" fmla="*/ 44835 w 171450"/>
              <a:gd name="connsiteY37" fmla="*/ 31365 h 180974"/>
              <a:gd name="connsiteX38" fmla="*/ 44835 w 171450"/>
              <a:gd name="connsiteY38" fmla="*/ 44835 h 180974"/>
              <a:gd name="connsiteX39" fmla="*/ 31365 w 171450"/>
              <a:gd name="connsiteY39" fmla="*/ 44835 h 180974"/>
              <a:gd name="connsiteX40" fmla="*/ 21840 w 171450"/>
              <a:gd name="connsiteY40" fmla="*/ 35310 h 180974"/>
              <a:gd name="connsiteX41" fmla="*/ 21840 w 171450"/>
              <a:gd name="connsiteY41" fmla="*/ 21840 h 180974"/>
              <a:gd name="connsiteX42" fmla="*/ 85725 w 171450"/>
              <a:gd name="connsiteY42" fmla="*/ 0 h 180974"/>
              <a:gd name="connsiteX43" fmla="*/ 95250 w 171450"/>
              <a:gd name="connsiteY43" fmla="*/ 9525 h 180974"/>
              <a:gd name="connsiteX44" fmla="*/ 95250 w 171450"/>
              <a:gd name="connsiteY44" fmla="*/ 19050 h 180974"/>
              <a:gd name="connsiteX45" fmla="*/ 85725 w 171450"/>
              <a:gd name="connsiteY45" fmla="*/ 28575 h 180974"/>
              <a:gd name="connsiteX46" fmla="*/ 76200 w 171450"/>
              <a:gd name="connsiteY46" fmla="*/ 19050 h 180974"/>
              <a:gd name="connsiteX47" fmla="*/ 76200 w 171450"/>
              <a:gd name="connsiteY47" fmla="*/ 9525 h 180974"/>
              <a:gd name="connsiteX48" fmla="*/ 85725 w 171450"/>
              <a:gd name="connsiteY48" fmla="*/ 0 h 18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1450" h="180974">
                <a:moveTo>
                  <a:pt x="72536" y="162210"/>
                </a:moveTo>
                <a:cubicBezTo>
                  <a:pt x="80449" y="164140"/>
                  <a:pt x="90933" y="164211"/>
                  <a:pt x="98923" y="162210"/>
                </a:cubicBezTo>
                <a:cubicBezTo>
                  <a:pt x="105617" y="160534"/>
                  <a:pt x="105617" y="166533"/>
                  <a:pt x="103600" y="172160"/>
                </a:cubicBezTo>
                <a:cubicBezTo>
                  <a:pt x="100950" y="179549"/>
                  <a:pt x="95451" y="180974"/>
                  <a:pt x="85726" y="180974"/>
                </a:cubicBezTo>
                <a:cubicBezTo>
                  <a:pt x="76000" y="180974"/>
                  <a:pt x="70501" y="179549"/>
                  <a:pt x="67852" y="172160"/>
                </a:cubicBezTo>
                <a:cubicBezTo>
                  <a:pt x="65835" y="166534"/>
                  <a:pt x="65835" y="160576"/>
                  <a:pt x="72536" y="162210"/>
                </a:cubicBezTo>
                <a:close/>
                <a:moveTo>
                  <a:pt x="152400" y="76200"/>
                </a:moveTo>
                <a:lnTo>
                  <a:pt x="161925" y="76200"/>
                </a:lnTo>
                <a:cubicBezTo>
                  <a:pt x="167186" y="76200"/>
                  <a:pt x="171450" y="80464"/>
                  <a:pt x="171450" y="85725"/>
                </a:cubicBezTo>
                <a:cubicBezTo>
                  <a:pt x="171450" y="90986"/>
                  <a:pt x="167186" y="95250"/>
                  <a:pt x="161925" y="95250"/>
                </a:cubicBezTo>
                <a:lnTo>
                  <a:pt x="152400" y="95250"/>
                </a:lnTo>
                <a:cubicBezTo>
                  <a:pt x="147139" y="95250"/>
                  <a:pt x="142875" y="90986"/>
                  <a:pt x="142875" y="85725"/>
                </a:cubicBezTo>
                <a:cubicBezTo>
                  <a:pt x="142875" y="80464"/>
                  <a:pt x="147139" y="76200"/>
                  <a:pt x="152400" y="76200"/>
                </a:cubicBezTo>
                <a:close/>
                <a:moveTo>
                  <a:pt x="9525" y="76200"/>
                </a:moveTo>
                <a:lnTo>
                  <a:pt x="19050" y="76200"/>
                </a:lnTo>
                <a:cubicBezTo>
                  <a:pt x="24310" y="76200"/>
                  <a:pt x="28575" y="80464"/>
                  <a:pt x="28575" y="85725"/>
                </a:cubicBezTo>
                <a:cubicBezTo>
                  <a:pt x="28575" y="90986"/>
                  <a:pt x="24310" y="95250"/>
                  <a:pt x="19050" y="95250"/>
                </a:cubicBezTo>
                <a:lnTo>
                  <a:pt x="9525" y="95250"/>
                </a:lnTo>
                <a:cubicBezTo>
                  <a:pt x="4265" y="95250"/>
                  <a:pt x="0" y="90986"/>
                  <a:pt x="0" y="85725"/>
                </a:cubicBezTo>
                <a:cubicBezTo>
                  <a:pt x="0" y="80464"/>
                  <a:pt x="4265" y="76200"/>
                  <a:pt x="9525" y="76200"/>
                </a:cubicBezTo>
                <a:close/>
                <a:moveTo>
                  <a:pt x="85725" y="38100"/>
                </a:moveTo>
                <a:cubicBezTo>
                  <a:pt x="112027" y="38100"/>
                  <a:pt x="133350" y="58671"/>
                  <a:pt x="133350" y="85725"/>
                </a:cubicBezTo>
                <a:cubicBezTo>
                  <a:pt x="133350" y="100663"/>
                  <a:pt x="128144" y="107793"/>
                  <a:pt x="123174" y="114596"/>
                </a:cubicBezTo>
                <a:cubicBezTo>
                  <a:pt x="118639" y="120807"/>
                  <a:pt x="114300" y="126748"/>
                  <a:pt x="114300" y="138113"/>
                </a:cubicBezTo>
                <a:cubicBezTo>
                  <a:pt x="114300" y="147638"/>
                  <a:pt x="104775" y="152400"/>
                  <a:pt x="85725" y="152400"/>
                </a:cubicBezTo>
                <a:cubicBezTo>
                  <a:pt x="66675" y="152400"/>
                  <a:pt x="57150" y="147638"/>
                  <a:pt x="57150" y="138113"/>
                </a:cubicBezTo>
                <a:cubicBezTo>
                  <a:pt x="57150" y="126748"/>
                  <a:pt x="52811" y="120807"/>
                  <a:pt x="48275" y="114596"/>
                </a:cubicBezTo>
                <a:cubicBezTo>
                  <a:pt x="43306" y="107793"/>
                  <a:pt x="38100" y="100663"/>
                  <a:pt x="38100" y="85725"/>
                </a:cubicBezTo>
                <a:cubicBezTo>
                  <a:pt x="38100" y="57150"/>
                  <a:pt x="59422" y="38100"/>
                  <a:pt x="85725" y="38100"/>
                </a:cubicBezTo>
                <a:close/>
                <a:moveTo>
                  <a:pt x="136141" y="21840"/>
                </a:moveTo>
                <a:cubicBezTo>
                  <a:pt x="139860" y="18120"/>
                  <a:pt x="145891" y="18120"/>
                  <a:pt x="149611" y="21840"/>
                </a:cubicBezTo>
                <a:cubicBezTo>
                  <a:pt x="153330" y="25560"/>
                  <a:pt x="153330" y="31590"/>
                  <a:pt x="149611" y="35310"/>
                </a:cubicBezTo>
                <a:lnTo>
                  <a:pt x="140086" y="44835"/>
                </a:lnTo>
                <a:cubicBezTo>
                  <a:pt x="136366" y="48555"/>
                  <a:pt x="130335" y="48555"/>
                  <a:pt x="126616" y="44835"/>
                </a:cubicBezTo>
                <a:cubicBezTo>
                  <a:pt x="122896" y="41115"/>
                  <a:pt x="122896" y="35085"/>
                  <a:pt x="126616" y="31365"/>
                </a:cubicBezTo>
                <a:close/>
                <a:moveTo>
                  <a:pt x="21840" y="21840"/>
                </a:moveTo>
                <a:cubicBezTo>
                  <a:pt x="25560" y="18120"/>
                  <a:pt x="31590" y="18120"/>
                  <a:pt x="35310" y="21840"/>
                </a:cubicBezTo>
                <a:lnTo>
                  <a:pt x="44835" y="31365"/>
                </a:lnTo>
                <a:cubicBezTo>
                  <a:pt x="48555" y="35085"/>
                  <a:pt x="48555" y="41115"/>
                  <a:pt x="44835" y="44835"/>
                </a:cubicBezTo>
                <a:cubicBezTo>
                  <a:pt x="41115" y="48555"/>
                  <a:pt x="35085" y="48555"/>
                  <a:pt x="31365" y="44835"/>
                </a:cubicBezTo>
                <a:lnTo>
                  <a:pt x="21840" y="35310"/>
                </a:lnTo>
                <a:cubicBezTo>
                  <a:pt x="18120" y="31590"/>
                  <a:pt x="18120" y="25560"/>
                  <a:pt x="21840" y="21840"/>
                </a:cubicBezTo>
                <a:close/>
                <a:moveTo>
                  <a:pt x="85725" y="0"/>
                </a:moveTo>
                <a:cubicBezTo>
                  <a:pt x="90986" y="0"/>
                  <a:pt x="95250" y="4265"/>
                  <a:pt x="95250" y="9525"/>
                </a:cubicBezTo>
                <a:lnTo>
                  <a:pt x="95250" y="19050"/>
                </a:lnTo>
                <a:cubicBezTo>
                  <a:pt x="95250" y="24310"/>
                  <a:pt x="90986" y="28575"/>
                  <a:pt x="85725" y="28575"/>
                </a:cubicBezTo>
                <a:cubicBezTo>
                  <a:pt x="80464" y="28575"/>
                  <a:pt x="76200" y="24310"/>
                  <a:pt x="76200" y="19050"/>
                </a:cubicBezTo>
                <a:lnTo>
                  <a:pt x="76200" y="9525"/>
                </a:lnTo>
                <a:cubicBezTo>
                  <a:pt x="76200" y="4265"/>
                  <a:pt x="80464" y="0"/>
                  <a:pt x="85725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grpSp>
        <p:nvGrpSpPr>
          <p:cNvPr id="114" name="Группа 113">
            <a:extLst>
              <a:ext uri="{FF2B5EF4-FFF2-40B4-BE49-F238E27FC236}">
                <a16:creationId xmlns:a16="http://schemas.microsoft.com/office/drawing/2014/main" id="{1DB60FFA-738D-6045-837A-4E00FBB46420}"/>
              </a:ext>
            </a:extLst>
          </p:cNvPr>
          <p:cNvGrpSpPr/>
          <p:nvPr userDrawn="1"/>
        </p:nvGrpSpPr>
        <p:grpSpPr>
          <a:xfrm>
            <a:off x="-2138458" y="3080607"/>
            <a:ext cx="1935384" cy="3777393"/>
            <a:chOff x="-2138458" y="3080607"/>
            <a:chExt cx="1935384" cy="3777393"/>
          </a:xfrm>
        </p:grpSpPr>
        <p:grpSp>
          <p:nvGrpSpPr>
            <p:cNvPr id="115" name="Группа 114">
              <a:extLst>
                <a:ext uri="{FF2B5EF4-FFF2-40B4-BE49-F238E27FC236}">
                  <a16:creationId xmlns:a16="http://schemas.microsoft.com/office/drawing/2014/main" id="{1047FD88-C264-254B-A630-89C07142DE7C}"/>
                </a:ext>
              </a:extLst>
            </p:cNvPr>
            <p:cNvGrpSpPr/>
            <p:nvPr userDrawn="1"/>
          </p:nvGrpSpPr>
          <p:grpSpPr>
            <a:xfrm>
              <a:off x="-2131314" y="5782119"/>
              <a:ext cx="1928240" cy="1075881"/>
              <a:chOff x="-2131314" y="5782119"/>
              <a:chExt cx="1928240" cy="1075881"/>
            </a:xfrm>
          </p:grpSpPr>
          <p:sp>
            <p:nvSpPr>
              <p:cNvPr id="141" name="Прямоугольник: скругленные углы 89">
                <a:extLst>
                  <a:ext uri="{FF2B5EF4-FFF2-40B4-BE49-F238E27FC236}">
                    <a16:creationId xmlns:a16="http://schemas.microsoft.com/office/drawing/2014/main" id="{BAE6F0E7-0D0E-9A42-A15B-980E2A91653E}"/>
                  </a:ext>
                </a:extLst>
              </p:cNvPr>
              <p:cNvSpPr/>
              <p:nvPr/>
            </p:nvSpPr>
            <p:spPr>
              <a:xfrm>
                <a:off x="-2131314" y="5782119"/>
                <a:ext cx="1928240" cy="1075881"/>
              </a:xfrm>
              <a:prstGeom prst="roundRect">
                <a:avLst>
                  <a:gd name="adj" fmla="val 12985"/>
                </a:avLst>
              </a:prstGeom>
              <a:solidFill>
                <a:schemeClr val="bg1">
                  <a:alpha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42" name="TextBox 141">
                <a:extLst>
                  <a:ext uri="{FF2B5EF4-FFF2-40B4-BE49-F238E27FC236}">
                    <a16:creationId xmlns:a16="http://schemas.microsoft.com/office/drawing/2014/main" id="{1F6B1124-9D77-DF45-94BA-7FFE6C310726}"/>
                  </a:ext>
                </a:extLst>
              </p:cNvPr>
              <p:cNvSpPr txBox="1"/>
              <p:nvPr/>
            </p:nvSpPr>
            <p:spPr>
              <a:xfrm>
                <a:off x="-1788338" y="5868204"/>
                <a:ext cx="1155882" cy="151095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pPr algn="l">
                  <a:lnSpc>
                    <a:spcPct val="90000"/>
                  </a:lnSpc>
                </a:pPr>
                <a:r>
                  <a:rPr lang="ru-RU" sz="1000" b="1">
                    <a:solidFill>
                      <a:schemeClr val="accent1"/>
                    </a:solidFill>
                  </a:rPr>
                  <a:t>Шаблон </a:t>
                </a:r>
                <a:r>
                  <a:rPr lang="en-US" sz="1000" b="1">
                    <a:solidFill>
                      <a:schemeClr val="accent1"/>
                    </a:solidFill>
                  </a:rPr>
                  <a:t>Ozon</a:t>
                </a:r>
                <a:endParaRPr lang="ru-RU" sz="1000" b="1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43" name="Рисунок 93">
                <a:extLst>
                  <a:ext uri="{FF2B5EF4-FFF2-40B4-BE49-F238E27FC236}">
                    <a16:creationId xmlns:a16="http://schemas.microsoft.com/office/drawing/2014/main" id="{0228B513-A00D-0D46-8B66-BFB85B6B3C70}"/>
                  </a:ext>
                </a:extLst>
              </p:cNvPr>
              <p:cNvSpPr/>
              <p:nvPr/>
            </p:nvSpPr>
            <p:spPr>
              <a:xfrm>
                <a:off x="-2004963" y="5853908"/>
                <a:ext cx="161099" cy="161099"/>
              </a:xfrm>
              <a:custGeom>
                <a:avLst/>
                <a:gdLst>
                  <a:gd name="connsiteX0" fmla="*/ 85725 w 171450"/>
                  <a:gd name="connsiteY0" fmla="*/ 171450 h 171450"/>
                  <a:gd name="connsiteX1" fmla="*/ 171450 w 171450"/>
                  <a:gd name="connsiteY1" fmla="*/ 85725 h 171450"/>
                  <a:gd name="connsiteX2" fmla="*/ 85725 w 171450"/>
                  <a:gd name="connsiteY2" fmla="*/ 0 h 171450"/>
                  <a:gd name="connsiteX3" fmla="*/ 0 w 171450"/>
                  <a:gd name="connsiteY3" fmla="*/ 85725 h 171450"/>
                  <a:gd name="connsiteX4" fmla="*/ 85725 w 171450"/>
                  <a:gd name="connsiteY4" fmla="*/ 171450 h 171450"/>
                  <a:gd name="connsiteX5" fmla="*/ 130560 w 171450"/>
                  <a:gd name="connsiteY5" fmla="*/ 73410 h 171450"/>
                  <a:gd name="connsiteX6" fmla="*/ 82935 w 171450"/>
                  <a:gd name="connsiteY6" fmla="*/ 121035 h 171450"/>
                  <a:gd name="connsiteX7" fmla="*/ 69465 w 171450"/>
                  <a:gd name="connsiteY7" fmla="*/ 121035 h 171450"/>
                  <a:gd name="connsiteX8" fmla="*/ 40890 w 171450"/>
                  <a:gd name="connsiteY8" fmla="*/ 92460 h 171450"/>
                  <a:gd name="connsiteX9" fmla="*/ 40890 w 171450"/>
                  <a:gd name="connsiteY9" fmla="*/ 78990 h 171450"/>
                  <a:gd name="connsiteX10" fmla="*/ 54360 w 171450"/>
                  <a:gd name="connsiteY10" fmla="*/ 78990 h 171450"/>
                  <a:gd name="connsiteX11" fmla="*/ 76200 w 171450"/>
                  <a:gd name="connsiteY11" fmla="*/ 100830 h 171450"/>
                  <a:gd name="connsiteX12" fmla="*/ 117090 w 171450"/>
                  <a:gd name="connsiteY12" fmla="*/ 59940 h 171450"/>
                  <a:gd name="connsiteX13" fmla="*/ 130560 w 171450"/>
                  <a:gd name="connsiteY13" fmla="*/ 59940 h 171450"/>
                  <a:gd name="connsiteX14" fmla="*/ 130560 w 171450"/>
                  <a:gd name="connsiteY14" fmla="*/ 73410 h 171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71450" h="171450">
                    <a:moveTo>
                      <a:pt x="85725" y="171450"/>
                    </a:moveTo>
                    <a:cubicBezTo>
                      <a:pt x="138915" y="171450"/>
                      <a:pt x="171450" y="138915"/>
                      <a:pt x="171450" y="85725"/>
                    </a:cubicBezTo>
                    <a:cubicBezTo>
                      <a:pt x="171450" y="32535"/>
                      <a:pt x="138915" y="0"/>
                      <a:pt x="85725" y="0"/>
                    </a:cubicBezTo>
                    <a:cubicBezTo>
                      <a:pt x="32535" y="0"/>
                      <a:pt x="0" y="32535"/>
                      <a:pt x="0" y="85725"/>
                    </a:cubicBezTo>
                    <a:cubicBezTo>
                      <a:pt x="0" y="138915"/>
                      <a:pt x="32535" y="171450"/>
                      <a:pt x="85725" y="171450"/>
                    </a:cubicBezTo>
                    <a:close/>
                    <a:moveTo>
                      <a:pt x="130560" y="73410"/>
                    </a:moveTo>
                    <a:lnTo>
                      <a:pt x="82935" y="121035"/>
                    </a:lnTo>
                    <a:cubicBezTo>
                      <a:pt x="79216" y="124755"/>
                      <a:pt x="73184" y="124755"/>
                      <a:pt x="69465" y="121035"/>
                    </a:cubicBezTo>
                    <a:lnTo>
                      <a:pt x="40890" y="92460"/>
                    </a:lnTo>
                    <a:cubicBezTo>
                      <a:pt x="37170" y="88741"/>
                      <a:pt x="37170" y="82709"/>
                      <a:pt x="40890" y="78990"/>
                    </a:cubicBezTo>
                    <a:cubicBezTo>
                      <a:pt x="44610" y="75270"/>
                      <a:pt x="50640" y="75270"/>
                      <a:pt x="54360" y="78990"/>
                    </a:cubicBezTo>
                    <a:lnTo>
                      <a:pt x="76200" y="100830"/>
                    </a:lnTo>
                    <a:lnTo>
                      <a:pt x="117090" y="59940"/>
                    </a:lnTo>
                    <a:cubicBezTo>
                      <a:pt x="120809" y="56220"/>
                      <a:pt x="126841" y="56220"/>
                      <a:pt x="130560" y="59940"/>
                    </a:cubicBezTo>
                    <a:cubicBezTo>
                      <a:pt x="134280" y="63660"/>
                      <a:pt x="134280" y="69691"/>
                      <a:pt x="130560" y="734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44" name="TextBox 143">
                <a:extLst>
                  <a:ext uri="{FF2B5EF4-FFF2-40B4-BE49-F238E27FC236}">
                    <a16:creationId xmlns:a16="http://schemas.microsoft.com/office/drawing/2014/main" id="{1CBB12E0-3F6E-CA46-B003-0D912C261977}"/>
                  </a:ext>
                </a:extLst>
              </p:cNvPr>
              <p:cNvSpPr txBox="1"/>
              <p:nvPr/>
            </p:nvSpPr>
            <p:spPr>
              <a:xfrm>
                <a:off x="-2004962" y="6072106"/>
                <a:ext cx="1687587" cy="60024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l">
                  <a:lnSpc>
                    <a:spcPct val="110000"/>
                  </a:lnSpc>
                </a:pPr>
                <a:r>
                  <a:rPr lang="ru-RU" sz="900" spc="-30" baseline="0">
                    <a:solidFill>
                      <a:schemeClr val="tx2"/>
                    </a:solidFill>
                  </a:rPr>
                  <a:t>Если нужно больше материалов: </a:t>
                </a:r>
                <a:r>
                  <a:rPr lang="ru-RU" sz="900" b="1" spc="-30" baseline="0">
                    <a:solidFill>
                      <a:schemeClr val="tx2"/>
                    </a:solidFill>
                  </a:rPr>
                  <a:t>правое меню </a:t>
                </a:r>
                <a:r>
                  <a:rPr lang="en-US" sz="900" b="1" spc="-30" baseline="0">
                    <a:solidFill>
                      <a:schemeClr val="tx2"/>
                    </a:solidFill>
                  </a:rPr>
                  <a:t>Staff — Brand </a:t>
                </a:r>
                <a:r>
                  <a:rPr lang="ru-RU" sz="900" b="1" spc="-30" baseline="0">
                    <a:solidFill>
                      <a:schemeClr val="tx2"/>
                    </a:solidFill>
                  </a:rPr>
                  <a:t>— Всё для презентаций. </a:t>
                </a:r>
                <a:r>
                  <a:rPr lang="ru-RU" sz="900" b="0" spc="-30" baseline="0">
                    <a:solidFill>
                      <a:schemeClr val="tx2"/>
                    </a:solidFill>
                  </a:rPr>
                  <a:t>Или пиши нам на </a:t>
                </a:r>
                <a:r>
                  <a:rPr lang="en-US" sz="900" b="0" spc="-30" baseline="0">
                    <a:solidFill>
                      <a:schemeClr val="tx2"/>
                    </a:solidFill>
                  </a:rPr>
                  <a:t>presentations@ozon.ru.</a:t>
                </a:r>
                <a:r>
                  <a:rPr lang="ru-RU" sz="900" b="0" spc="-30" baseline="0">
                    <a:solidFill>
                      <a:schemeClr val="tx2"/>
                    </a:solidFill>
                  </a:rPr>
                  <a:t> </a:t>
                </a:r>
              </a:p>
            </p:txBody>
          </p:sp>
        </p:grpSp>
        <p:grpSp>
          <p:nvGrpSpPr>
            <p:cNvPr id="116" name="Группа 115">
              <a:extLst>
                <a:ext uri="{FF2B5EF4-FFF2-40B4-BE49-F238E27FC236}">
                  <a16:creationId xmlns:a16="http://schemas.microsoft.com/office/drawing/2014/main" id="{91ACE51C-BB38-4445-BB89-49E21A0B3A8A}"/>
                </a:ext>
              </a:extLst>
            </p:cNvPr>
            <p:cNvGrpSpPr/>
            <p:nvPr userDrawn="1"/>
          </p:nvGrpSpPr>
          <p:grpSpPr>
            <a:xfrm>
              <a:off x="-2138458" y="3080607"/>
              <a:ext cx="1928241" cy="2523683"/>
              <a:chOff x="-2138458" y="3070447"/>
              <a:chExt cx="1928241" cy="2523683"/>
            </a:xfrm>
          </p:grpSpPr>
          <p:sp>
            <p:nvSpPr>
              <p:cNvPr id="117" name="Прямоугольник: скругленные углы 57">
                <a:extLst>
                  <a:ext uri="{FF2B5EF4-FFF2-40B4-BE49-F238E27FC236}">
                    <a16:creationId xmlns:a16="http://schemas.microsoft.com/office/drawing/2014/main" id="{FA0ED545-CDA8-F549-ACE8-99DABA47D2B0}"/>
                  </a:ext>
                </a:extLst>
              </p:cNvPr>
              <p:cNvSpPr/>
              <p:nvPr/>
            </p:nvSpPr>
            <p:spPr>
              <a:xfrm>
                <a:off x="-2138458" y="3125312"/>
                <a:ext cx="1928241" cy="2468818"/>
              </a:xfrm>
              <a:prstGeom prst="roundRect">
                <a:avLst>
                  <a:gd name="adj" fmla="val 5926"/>
                </a:avLst>
              </a:prstGeom>
              <a:solidFill>
                <a:schemeClr val="bg1">
                  <a:alpha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18" name="Прямоугольник: скругленные верхние углы 58">
                <a:extLst>
                  <a:ext uri="{FF2B5EF4-FFF2-40B4-BE49-F238E27FC236}">
                    <a16:creationId xmlns:a16="http://schemas.microsoft.com/office/drawing/2014/main" id="{FBB814F1-D0AA-044F-A837-6972949F7DE1}"/>
                  </a:ext>
                </a:extLst>
              </p:cNvPr>
              <p:cNvSpPr/>
              <p:nvPr/>
            </p:nvSpPr>
            <p:spPr>
              <a:xfrm>
                <a:off x="-2136930" y="3070447"/>
                <a:ext cx="1926713" cy="2880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accent6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36000" rtlCol="0" anchor="ctr"/>
              <a:lstStyle/>
              <a:p>
                <a:pPr algn="ctr"/>
                <a:r>
                  <a:rPr lang="ru-RU" sz="1100" b="1">
                    <a:solidFill>
                      <a:schemeClr val="tx1"/>
                    </a:solidFill>
                  </a:rPr>
                  <a:t>Цвета </a:t>
                </a:r>
                <a:r>
                  <a:rPr lang="en-US" sz="1100" b="1">
                    <a:solidFill>
                      <a:schemeClr val="tx1"/>
                    </a:solidFill>
                  </a:rPr>
                  <a:t>Ozon</a:t>
                </a:r>
                <a:endParaRPr lang="ru-RU" sz="1100" b="1">
                  <a:solidFill>
                    <a:schemeClr val="tx1"/>
                  </a:solidFill>
                </a:endParaRPr>
              </a:p>
            </p:txBody>
          </p:sp>
          <p:sp>
            <p:nvSpPr>
              <p:cNvPr id="119" name="TextBox 118">
                <a:extLst>
                  <a:ext uri="{FF2B5EF4-FFF2-40B4-BE49-F238E27FC236}">
                    <a16:creationId xmlns:a16="http://schemas.microsoft.com/office/drawing/2014/main" id="{F54CC9C5-8F2E-2E4E-A7C1-E2B74D876FF9}"/>
                  </a:ext>
                </a:extLst>
              </p:cNvPr>
              <p:cNvSpPr txBox="1"/>
              <p:nvPr/>
            </p:nvSpPr>
            <p:spPr>
              <a:xfrm>
                <a:off x="-2003446" y="3412239"/>
                <a:ext cx="1638525" cy="17162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l"/>
                <a:r>
                  <a:rPr lang="ru-RU" sz="1000" dirty="0"/>
                  <a:t>Цвет текста </a:t>
                </a:r>
              </a:p>
            </p:txBody>
          </p:sp>
          <p:sp>
            <p:nvSpPr>
              <p:cNvPr id="120" name="Прямоугольник: скругленные углы 61">
                <a:extLst>
                  <a:ext uri="{FF2B5EF4-FFF2-40B4-BE49-F238E27FC236}">
                    <a16:creationId xmlns:a16="http://schemas.microsoft.com/office/drawing/2014/main" id="{06597B6C-F31E-0043-9711-0059EB7573A9}"/>
                  </a:ext>
                </a:extLst>
              </p:cNvPr>
              <p:cNvSpPr/>
              <p:nvPr userDrawn="1"/>
            </p:nvSpPr>
            <p:spPr>
              <a:xfrm>
                <a:off x="-2004344" y="3611632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tx1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21" name="Прямоугольник: скругленные углы 62">
                <a:extLst>
                  <a:ext uri="{FF2B5EF4-FFF2-40B4-BE49-F238E27FC236}">
                    <a16:creationId xmlns:a16="http://schemas.microsoft.com/office/drawing/2014/main" id="{A5E9401C-762A-2944-B381-6922E6C30238}"/>
                  </a:ext>
                </a:extLst>
              </p:cNvPr>
              <p:cNvSpPr/>
              <p:nvPr/>
            </p:nvSpPr>
            <p:spPr>
              <a:xfrm>
                <a:off x="-1738339" y="3611632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accent6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22" name="Прямоугольник: скругленные углы 63">
                <a:extLst>
                  <a:ext uri="{FF2B5EF4-FFF2-40B4-BE49-F238E27FC236}">
                    <a16:creationId xmlns:a16="http://schemas.microsoft.com/office/drawing/2014/main" id="{C4EB1874-4CDE-9541-8C11-0E0B5C8A64BA}"/>
                  </a:ext>
                </a:extLst>
              </p:cNvPr>
              <p:cNvSpPr/>
              <p:nvPr/>
            </p:nvSpPr>
            <p:spPr>
              <a:xfrm>
                <a:off x="-1739900" y="4646897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accent3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23" name="Прямоугольник: скругленные углы 68">
                <a:extLst>
                  <a:ext uri="{FF2B5EF4-FFF2-40B4-BE49-F238E27FC236}">
                    <a16:creationId xmlns:a16="http://schemas.microsoft.com/office/drawing/2014/main" id="{DF504DB6-5FE5-0C4D-9300-2A74A83D6B84}"/>
                  </a:ext>
                </a:extLst>
              </p:cNvPr>
              <p:cNvSpPr/>
              <p:nvPr/>
            </p:nvSpPr>
            <p:spPr>
              <a:xfrm>
                <a:off x="-2004963" y="4646897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accent1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24" name="TextBox 123">
                <a:extLst>
                  <a:ext uri="{FF2B5EF4-FFF2-40B4-BE49-F238E27FC236}">
                    <a16:creationId xmlns:a16="http://schemas.microsoft.com/office/drawing/2014/main" id="{5F1BE16A-089F-3B4B-979C-4E824CE569B9}"/>
                  </a:ext>
                </a:extLst>
              </p:cNvPr>
              <p:cNvSpPr txBox="1"/>
              <p:nvPr/>
            </p:nvSpPr>
            <p:spPr>
              <a:xfrm>
                <a:off x="-2003446" y="3935644"/>
                <a:ext cx="1638525" cy="17162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l"/>
                <a:r>
                  <a:rPr lang="ru-RU" sz="1000"/>
                  <a:t>Цвет больших плашек</a:t>
                </a:r>
              </a:p>
            </p:txBody>
          </p:sp>
          <p:sp>
            <p:nvSpPr>
              <p:cNvPr id="125" name="Прямоугольник: скругленные углы 70">
                <a:extLst>
                  <a:ext uri="{FF2B5EF4-FFF2-40B4-BE49-F238E27FC236}">
                    <a16:creationId xmlns:a16="http://schemas.microsoft.com/office/drawing/2014/main" id="{6461EA0C-BCBF-AD4F-9C13-6CB746AEEE43}"/>
                  </a:ext>
                </a:extLst>
              </p:cNvPr>
              <p:cNvSpPr/>
              <p:nvPr/>
            </p:nvSpPr>
            <p:spPr>
              <a:xfrm>
                <a:off x="-1209774" y="4131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accent2">
                  <a:lumMod val="20000"/>
                  <a:lumOff val="80000"/>
                </a:schemeClr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26" name="Прямоугольник: скругленные углы 71">
                <a:extLst>
                  <a:ext uri="{FF2B5EF4-FFF2-40B4-BE49-F238E27FC236}">
                    <a16:creationId xmlns:a16="http://schemas.microsoft.com/office/drawing/2014/main" id="{1F6CBFBE-7F66-EA4B-B6C2-2696564E0709}"/>
                  </a:ext>
                </a:extLst>
              </p:cNvPr>
              <p:cNvSpPr/>
              <p:nvPr/>
            </p:nvSpPr>
            <p:spPr>
              <a:xfrm>
                <a:off x="-2004963" y="4131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accent6">
                  <a:lumMod val="20000"/>
                  <a:lumOff val="80000"/>
                </a:schemeClr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27" name="Прямоугольник: скругленные углы 74">
                <a:extLst>
                  <a:ext uri="{FF2B5EF4-FFF2-40B4-BE49-F238E27FC236}">
                    <a16:creationId xmlns:a16="http://schemas.microsoft.com/office/drawing/2014/main" id="{338A988E-91AF-E74D-BC08-F9A00057B1C2}"/>
                  </a:ext>
                </a:extLst>
              </p:cNvPr>
              <p:cNvSpPr/>
              <p:nvPr/>
            </p:nvSpPr>
            <p:spPr>
              <a:xfrm>
                <a:off x="-1475201" y="4131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accent5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28" name="TextBox 127">
                <a:extLst>
                  <a:ext uri="{FF2B5EF4-FFF2-40B4-BE49-F238E27FC236}">
                    <a16:creationId xmlns:a16="http://schemas.microsoft.com/office/drawing/2014/main" id="{17CDB3F3-D417-364A-8A47-1EF7FE4C87A4}"/>
                  </a:ext>
                </a:extLst>
              </p:cNvPr>
              <p:cNvSpPr txBox="1"/>
              <p:nvPr/>
            </p:nvSpPr>
            <p:spPr>
              <a:xfrm>
                <a:off x="-2003446" y="4451492"/>
                <a:ext cx="1638525" cy="17162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l"/>
                <a:r>
                  <a:rPr lang="ru-RU" sz="1000"/>
                  <a:t>Цвета маленьких плашек</a:t>
                </a:r>
              </a:p>
            </p:txBody>
          </p:sp>
          <p:sp>
            <p:nvSpPr>
              <p:cNvPr id="129" name="Прямоугольник: скругленные углы 82">
                <a:extLst>
                  <a:ext uri="{FF2B5EF4-FFF2-40B4-BE49-F238E27FC236}">
                    <a16:creationId xmlns:a16="http://schemas.microsoft.com/office/drawing/2014/main" id="{0D481F14-A897-4A4A-9276-51E211051C5E}"/>
                  </a:ext>
                </a:extLst>
              </p:cNvPr>
              <p:cNvSpPr/>
              <p:nvPr userDrawn="1"/>
            </p:nvSpPr>
            <p:spPr>
              <a:xfrm>
                <a:off x="-1739900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B7EDC9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30" name="Прямоугольник: скругленные углы 83">
                <a:extLst>
                  <a:ext uri="{FF2B5EF4-FFF2-40B4-BE49-F238E27FC236}">
                    <a16:creationId xmlns:a16="http://schemas.microsoft.com/office/drawing/2014/main" id="{756C79EB-FFCF-924D-9CA6-341E9FF16BFF}"/>
                  </a:ext>
                </a:extLst>
              </p:cNvPr>
              <p:cNvSpPr/>
              <p:nvPr/>
            </p:nvSpPr>
            <p:spPr>
              <a:xfrm>
                <a:off x="-1474837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FFA800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31" name="Прямоугольник: скругленные углы 84">
                <a:extLst>
                  <a:ext uri="{FF2B5EF4-FFF2-40B4-BE49-F238E27FC236}">
                    <a16:creationId xmlns:a16="http://schemas.microsoft.com/office/drawing/2014/main" id="{4FEA62CC-C8DF-CB4D-B88E-6F018239E4A9}"/>
                  </a:ext>
                </a:extLst>
              </p:cNvPr>
              <p:cNvSpPr/>
              <p:nvPr/>
            </p:nvSpPr>
            <p:spPr>
              <a:xfrm>
                <a:off x="-2004963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10C44C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32" name="TextBox 131">
                <a:extLst>
                  <a:ext uri="{FF2B5EF4-FFF2-40B4-BE49-F238E27FC236}">
                    <a16:creationId xmlns:a16="http://schemas.microsoft.com/office/drawing/2014/main" id="{A6342771-3FF1-6A46-B459-7C0A8E85929D}"/>
                  </a:ext>
                </a:extLst>
              </p:cNvPr>
              <p:cNvSpPr txBox="1"/>
              <p:nvPr/>
            </p:nvSpPr>
            <p:spPr>
              <a:xfrm>
                <a:off x="-2003446" y="4973480"/>
                <a:ext cx="1638525" cy="17162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l"/>
                <a:r>
                  <a:rPr lang="ru-RU" sz="900"/>
                  <a:t>Рост / падение показателей</a:t>
                </a:r>
              </a:p>
            </p:txBody>
          </p:sp>
          <p:sp>
            <p:nvSpPr>
              <p:cNvPr id="133" name="Прямоугольник: скругленные углы 13">
                <a:extLst>
                  <a:ext uri="{FF2B5EF4-FFF2-40B4-BE49-F238E27FC236}">
                    <a16:creationId xmlns:a16="http://schemas.microsoft.com/office/drawing/2014/main" id="{F3D76818-BB4D-6841-9C5B-855CFBFA0A8E}"/>
                  </a:ext>
                </a:extLst>
              </p:cNvPr>
              <p:cNvSpPr/>
              <p:nvPr/>
            </p:nvSpPr>
            <p:spPr>
              <a:xfrm>
                <a:off x="-944711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F53C14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34" name="Прямоугольник: скругленные углы 14">
                <a:extLst>
                  <a:ext uri="{FF2B5EF4-FFF2-40B4-BE49-F238E27FC236}">
                    <a16:creationId xmlns:a16="http://schemas.microsoft.com/office/drawing/2014/main" id="{840E1A9B-7764-E241-BB61-703F7FA22BD0}"/>
                  </a:ext>
                </a:extLst>
              </p:cNvPr>
              <p:cNvSpPr/>
              <p:nvPr/>
            </p:nvSpPr>
            <p:spPr>
              <a:xfrm>
                <a:off x="-679648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FCC4B8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35" name="Прямоугольник: скругленные углы 15">
                <a:extLst>
                  <a:ext uri="{FF2B5EF4-FFF2-40B4-BE49-F238E27FC236}">
                    <a16:creationId xmlns:a16="http://schemas.microsoft.com/office/drawing/2014/main" id="{1E3DFBFF-5423-7948-89D1-AE0ECB21A5C8}"/>
                  </a:ext>
                </a:extLst>
              </p:cNvPr>
              <p:cNvSpPr/>
              <p:nvPr/>
            </p:nvSpPr>
            <p:spPr>
              <a:xfrm>
                <a:off x="-1209774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FFE5B2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36" name="Прямоугольник: скругленные углы 20">
                <a:extLst>
                  <a:ext uri="{FF2B5EF4-FFF2-40B4-BE49-F238E27FC236}">
                    <a16:creationId xmlns:a16="http://schemas.microsoft.com/office/drawing/2014/main" id="{3C5F50C8-799A-6646-86F5-2AFCAE559C5D}"/>
                  </a:ext>
                </a:extLst>
              </p:cNvPr>
              <p:cNvSpPr/>
              <p:nvPr userDrawn="1"/>
            </p:nvSpPr>
            <p:spPr>
              <a:xfrm>
                <a:off x="-944711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F53C14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37" name="Прямоугольник: скругленные углы 21">
                <a:extLst>
                  <a:ext uri="{FF2B5EF4-FFF2-40B4-BE49-F238E27FC236}">
                    <a16:creationId xmlns:a16="http://schemas.microsoft.com/office/drawing/2014/main" id="{BB799AC8-1839-4E46-980A-1680D0F2559E}"/>
                  </a:ext>
                </a:extLst>
              </p:cNvPr>
              <p:cNvSpPr/>
              <p:nvPr userDrawn="1"/>
            </p:nvSpPr>
            <p:spPr>
              <a:xfrm>
                <a:off x="-679648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FCC4B8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38" name="Прямоугольник: скругленные углы 22">
                <a:extLst>
                  <a:ext uri="{FF2B5EF4-FFF2-40B4-BE49-F238E27FC236}">
                    <a16:creationId xmlns:a16="http://schemas.microsoft.com/office/drawing/2014/main" id="{8D06C0A0-C7B4-4E44-9701-3059DD5A9390}"/>
                  </a:ext>
                </a:extLst>
              </p:cNvPr>
              <p:cNvSpPr/>
              <p:nvPr userDrawn="1"/>
            </p:nvSpPr>
            <p:spPr>
              <a:xfrm>
                <a:off x="-1209774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FFE5B2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39" name="Прямоугольник: скругленные углы 79">
                <a:extLst>
                  <a:ext uri="{FF2B5EF4-FFF2-40B4-BE49-F238E27FC236}">
                    <a16:creationId xmlns:a16="http://schemas.microsoft.com/office/drawing/2014/main" id="{4B5F9A9D-D4AA-8843-9907-1BAB5265C0CC}"/>
                  </a:ext>
                </a:extLst>
              </p:cNvPr>
              <p:cNvSpPr/>
              <p:nvPr userDrawn="1"/>
            </p:nvSpPr>
            <p:spPr>
              <a:xfrm>
                <a:off x="-1735356" y="4136975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bg1"/>
              </a:solidFill>
              <a:ln w="12700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40" name="Прямоугольник: скругленные углы 63">
                <a:extLst>
                  <a:ext uri="{FF2B5EF4-FFF2-40B4-BE49-F238E27FC236}">
                    <a16:creationId xmlns:a16="http://schemas.microsoft.com/office/drawing/2014/main" id="{B12830A1-64DC-B348-AE85-D752F85E407F}"/>
                  </a:ext>
                </a:extLst>
              </p:cNvPr>
              <p:cNvSpPr/>
              <p:nvPr userDrawn="1"/>
            </p:nvSpPr>
            <p:spPr>
              <a:xfrm>
                <a:off x="-1476289" y="4646897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accent2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</p:grp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9B4D8696-D92B-FA0E-3B11-461E3143BA38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641985" y="6415289"/>
            <a:ext cx="1044575" cy="231716"/>
            <a:chOff x="8489504" y="910877"/>
            <a:chExt cx="2734509" cy="606592"/>
          </a:xfrm>
          <a:solidFill>
            <a:schemeClr val="tx1"/>
          </a:solidFill>
        </p:grpSpPr>
        <p:sp>
          <p:nvSpPr>
            <p:cNvPr id="7" name="Полилиния 6">
              <a:extLst>
                <a:ext uri="{FF2B5EF4-FFF2-40B4-BE49-F238E27FC236}">
                  <a16:creationId xmlns:a16="http://schemas.microsoft.com/office/drawing/2014/main" id="{A401FE13-B13D-29B2-D2A8-7EC8A52BE3B0}"/>
                </a:ext>
              </a:extLst>
            </p:cNvPr>
            <p:cNvSpPr/>
            <p:nvPr/>
          </p:nvSpPr>
          <p:spPr>
            <a:xfrm>
              <a:off x="10064626" y="910877"/>
              <a:ext cx="1159387" cy="606592"/>
            </a:xfrm>
            <a:custGeom>
              <a:avLst/>
              <a:gdLst>
                <a:gd name="connsiteX0" fmla="*/ 0 w 1159387"/>
                <a:gd name="connsiteY0" fmla="*/ 178242 h 606592"/>
                <a:gd name="connsiteX1" fmla="*/ 0 w 1159387"/>
                <a:gd name="connsiteY1" fmla="*/ 237024 h 606592"/>
                <a:gd name="connsiteX2" fmla="*/ 9135 w 1159387"/>
                <a:gd name="connsiteY2" fmla="*/ 246098 h 606592"/>
                <a:gd name="connsiteX3" fmla="*/ 30214 w 1159387"/>
                <a:gd name="connsiteY3" fmla="*/ 250009 h 606592"/>
                <a:gd name="connsiteX4" fmla="*/ 32261 w 1159387"/>
                <a:gd name="connsiteY4" fmla="*/ 250607 h 606592"/>
                <a:gd name="connsiteX5" fmla="*/ 85030 w 1159387"/>
                <a:gd name="connsiteY5" fmla="*/ 319338 h 606592"/>
                <a:gd name="connsiteX6" fmla="*/ 85030 w 1159387"/>
                <a:gd name="connsiteY6" fmla="*/ 483817 h 606592"/>
                <a:gd name="connsiteX7" fmla="*/ 120863 w 1159387"/>
                <a:gd name="connsiteY7" fmla="*/ 570989 h 606592"/>
                <a:gd name="connsiteX8" fmla="*/ 205874 w 1159387"/>
                <a:gd name="connsiteY8" fmla="*/ 606364 h 606592"/>
                <a:gd name="connsiteX9" fmla="*/ 207284 w 1159387"/>
                <a:gd name="connsiteY9" fmla="*/ 606364 h 606592"/>
                <a:gd name="connsiteX10" fmla="*/ 235964 w 1159387"/>
                <a:gd name="connsiteY10" fmla="*/ 606364 h 606592"/>
                <a:gd name="connsiteX11" fmla="*/ 247356 w 1159387"/>
                <a:gd name="connsiteY11" fmla="*/ 593268 h 606592"/>
                <a:gd name="connsiteX12" fmla="*/ 247337 w 1159387"/>
                <a:gd name="connsiteY12" fmla="*/ 563750 h 606592"/>
                <a:gd name="connsiteX13" fmla="*/ 247337 w 1159387"/>
                <a:gd name="connsiteY13" fmla="*/ 541928 h 606592"/>
                <a:gd name="connsiteX14" fmla="*/ 236802 w 1159387"/>
                <a:gd name="connsiteY14" fmla="*/ 530565 h 606592"/>
                <a:gd name="connsiteX15" fmla="*/ 197454 w 1159387"/>
                <a:gd name="connsiteY15" fmla="*/ 530527 h 606592"/>
                <a:gd name="connsiteX16" fmla="*/ 159506 w 1159387"/>
                <a:gd name="connsiteY16" fmla="*/ 492285 h 606592"/>
                <a:gd name="connsiteX17" fmla="*/ 159506 w 1159387"/>
                <a:gd name="connsiteY17" fmla="*/ 403084 h 606592"/>
                <a:gd name="connsiteX18" fmla="*/ 159506 w 1159387"/>
                <a:gd name="connsiteY18" fmla="*/ 316772 h 606592"/>
                <a:gd name="connsiteX19" fmla="*/ 100365 w 1159387"/>
                <a:gd name="connsiteY19" fmla="*/ 207274 h 606592"/>
                <a:gd name="connsiteX20" fmla="*/ 99080 w 1159387"/>
                <a:gd name="connsiteY20" fmla="*/ 206423 h 606592"/>
                <a:gd name="connsiteX21" fmla="*/ 100356 w 1159387"/>
                <a:gd name="connsiteY21" fmla="*/ 205547 h 606592"/>
                <a:gd name="connsiteX22" fmla="*/ 159506 w 1159387"/>
                <a:gd name="connsiteY22" fmla="*/ 90665 h 606592"/>
                <a:gd name="connsiteX23" fmla="*/ 159506 w 1159387"/>
                <a:gd name="connsiteY23" fmla="*/ 10992 h 606592"/>
                <a:gd name="connsiteX24" fmla="*/ 148962 w 1159387"/>
                <a:gd name="connsiteY24" fmla="*/ 0 h 606592"/>
                <a:gd name="connsiteX25" fmla="*/ 95565 w 1159387"/>
                <a:gd name="connsiteY25" fmla="*/ 0 h 606592"/>
                <a:gd name="connsiteX26" fmla="*/ 85030 w 1159387"/>
                <a:gd name="connsiteY26" fmla="*/ 10992 h 606592"/>
                <a:gd name="connsiteX27" fmla="*/ 85030 w 1159387"/>
                <a:gd name="connsiteY27" fmla="*/ 90665 h 606592"/>
                <a:gd name="connsiteX28" fmla="*/ 32366 w 1159387"/>
                <a:gd name="connsiteY28" fmla="*/ 162761 h 606592"/>
                <a:gd name="connsiteX29" fmla="*/ 30214 w 1159387"/>
                <a:gd name="connsiteY29" fmla="*/ 163402 h 606592"/>
                <a:gd name="connsiteX30" fmla="*/ 9135 w 1159387"/>
                <a:gd name="connsiteY30" fmla="*/ 167302 h 606592"/>
                <a:gd name="connsiteX31" fmla="*/ 0 w 1159387"/>
                <a:gd name="connsiteY31" fmla="*/ 178242 h 606592"/>
                <a:gd name="connsiteX32" fmla="*/ 933768 w 1159387"/>
                <a:gd name="connsiteY32" fmla="*/ 313343 h 606592"/>
                <a:gd name="connsiteX33" fmla="*/ 933768 w 1159387"/>
                <a:gd name="connsiteY33" fmla="*/ 468558 h 606592"/>
                <a:gd name="connsiteX34" fmla="*/ 930749 w 1159387"/>
                <a:gd name="connsiteY34" fmla="*/ 475902 h 606592"/>
                <a:gd name="connsiteX35" fmla="*/ 923472 w 1159387"/>
                <a:gd name="connsiteY35" fmla="*/ 478940 h 606592"/>
                <a:gd name="connsiteX36" fmla="*/ 869627 w 1159387"/>
                <a:gd name="connsiteY36" fmla="*/ 478902 h 606592"/>
                <a:gd name="connsiteX37" fmla="*/ 859349 w 1159387"/>
                <a:gd name="connsiteY37" fmla="*/ 468530 h 606592"/>
                <a:gd name="connsiteX38" fmla="*/ 859349 w 1159387"/>
                <a:gd name="connsiteY38" fmla="*/ 10375 h 606592"/>
                <a:gd name="connsiteX39" fmla="*/ 869636 w 1159387"/>
                <a:gd name="connsiteY39" fmla="*/ 0 h 606592"/>
                <a:gd name="connsiteX40" fmla="*/ 923472 w 1159387"/>
                <a:gd name="connsiteY40" fmla="*/ 0 h 606592"/>
                <a:gd name="connsiteX41" fmla="*/ 933768 w 1159387"/>
                <a:gd name="connsiteY41" fmla="*/ 10375 h 606592"/>
                <a:gd name="connsiteX42" fmla="*/ 933768 w 1159387"/>
                <a:gd name="connsiteY42" fmla="*/ 193355 h 606592"/>
                <a:gd name="connsiteX43" fmla="*/ 1159388 w 1159387"/>
                <a:gd name="connsiteY43" fmla="*/ 312995 h 606592"/>
                <a:gd name="connsiteX44" fmla="*/ 1159388 w 1159387"/>
                <a:gd name="connsiteY44" fmla="*/ 468520 h 606592"/>
                <a:gd name="connsiteX45" fmla="*/ 1156378 w 1159387"/>
                <a:gd name="connsiteY45" fmla="*/ 475854 h 606592"/>
                <a:gd name="connsiteX46" fmla="*/ 1149101 w 1159387"/>
                <a:gd name="connsiteY46" fmla="*/ 478893 h 606592"/>
                <a:gd name="connsiteX47" fmla="*/ 1095199 w 1159387"/>
                <a:gd name="connsiteY47" fmla="*/ 478893 h 606592"/>
                <a:gd name="connsiteX48" fmla="*/ 1087922 w 1159387"/>
                <a:gd name="connsiteY48" fmla="*/ 475854 h 606592"/>
                <a:gd name="connsiteX49" fmla="*/ 1084912 w 1159387"/>
                <a:gd name="connsiteY49" fmla="*/ 468520 h 606592"/>
                <a:gd name="connsiteX50" fmla="*/ 1084912 w 1159387"/>
                <a:gd name="connsiteY50" fmla="*/ 312995 h 606592"/>
                <a:gd name="connsiteX51" fmla="*/ 966868 w 1159387"/>
                <a:gd name="connsiteY51" fmla="*/ 246504 h 606592"/>
                <a:gd name="connsiteX52" fmla="*/ 933768 w 1159387"/>
                <a:gd name="connsiteY52" fmla="*/ 313343 h 606592"/>
                <a:gd name="connsiteX53" fmla="*/ 596563 w 1159387"/>
                <a:gd name="connsiteY53" fmla="*/ 207040 h 606592"/>
                <a:gd name="connsiteX54" fmla="*/ 549471 w 1159387"/>
                <a:gd name="connsiteY54" fmla="*/ 323084 h 606592"/>
                <a:gd name="connsiteX55" fmla="*/ 596563 w 1159387"/>
                <a:gd name="connsiteY55" fmla="*/ 439145 h 606592"/>
                <a:gd name="connsiteX56" fmla="*/ 797522 w 1159387"/>
                <a:gd name="connsiteY56" fmla="*/ 460995 h 606592"/>
                <a:gd name="connsiteX57" fmla="*/ 799923 w 1159387"/>
                <a:gd name="connsiteY57" fmla="*/ 459357 h 606592"/>
                <a:gd name="connsiteX58" fmla="*/ 805247 w 1159387"/>
                <a:gd name="connsiteY58" fmla="*/ 455385 h 606592"/>
                <a:gd name="connsiteX59" fmla="*/ 806018 w 1159387"/>
                <a:gd name="connsiteY59" fmla="*/ 438745 h 606592"/>
                <a:gd name="connsiteX60" fmla="*/ 790226 w 1159387"/>
                <a:gd name="connsiteY60" fmla="*/ 417067 h 606592"/>
                <a:gd name="connsiteX61" fmla="*/ 776110 w 1159387"/>
                <a:gd name="connsiteY61" fmla="*/ 397747 h 606592"/>
                <a:gd name="connsiteX62" fmla="*/ 760975 w 1159387"/>
                <a:gd name="connsiteY62" fmla="*/ 394585 h 606592"/>
                <a:gd name="connsiteX63" fmla="*/ 757003 w 1159387"/>
                <a:gd name="connsiteY63" fmla="*/ 397067 h 606592"/>
                <a:gd name="connsiteX64" fmla="*/ 619737 w 1159387"/>
                <a:gd name="connsiteY64" fmla="*/ 323084 h 606592"/>
                <a:gd name="connsiteX65" fmla="*/ 756945 w 1159387"/>
                <a:gd name="connsiteY65" fmla="*/ 249203 h 606592"/>
                <a:gd name="connsiteX66" fmla="*/ 760975 w 1159387"/>
                <a:gd name="connsiteY66" fmla="*/ 251591 h 606592"/>
                <a:gd name="connsiteX67" fmla="*/ 776148 w 1159387"/>
                <a:gd name="connsiteY67" fmla="*/ 248416 h 606592"/>
                <a:gd name="connsiteX68" fmla="*/ 790207 w 1159387"/>
                <a:gd name="connsiteY68" fmla="*/ 229138 h 606592"/>
                <a:gd name="connsiteX69" fmla="*/ 804618 w 1159387"/>
                <a:gd name="connsiteY69" fmla="*/ 209395 h 606592"/>
                <a:gd name="connsiteX70" fmla="*/ 799903 w 1159387"/>
                <a:gd name="connsiteY70" fmla="*/ 186809 h 606592"/>
                <a:gd name="connsiteX71" fmla="*/ 797522 w 1159387"/>
                <a:gd name="connsiteY71" fmla="*/ 185195 h 606592"/>
                <a:gd name="connsiteX72" fmla="*/ 596563 w 1159387"/>
                <a:gd name="connsiteY72" fmla="*/ 207040 h 606592"/>
                <a:gd name="connsiteX73" fmla="*/ 293714 w 1159387"/>
                <a:gd name="connsiteY73" fmla="*/ 350313 h 606592"/>
                <a:gd name="connsiteX74" fmla="*/ 469385 w 1159387"/>
                <a:gd name="connsiteY74" fmla="*/ 350313 h 606592"/>
                <a:gd name="connsiteX75" fmla="*/ 507323 w 1159387"/>
                <a:gd name="connsiteY75" fmla="*/ 312290 h 606592"/>
                <a:gd name="connsiteX76" fmla="*/ 472890 w 1159387"/>
                <a:gd name="connsiteY76" fmla="*/ 208836 h 606592"/>
                <a:gd name="connsiteX77" fmla="*/ 368190 w 1159387"/>
                <a:gd name="connsiteY77" fmla="*/ 159530 h 606592"/>
                <a:gd name="connsiteX78" fmla="*/ 219228 w 1159387"/>
                <a:gd name="connsiteY78" fmla="*/ 323103 h 606592"/>
                <a:gd name="connsiteX79" fmla="*/ 375915 w 1159387"/>
                <a:gd name="connsiteY79" fmla="*/ 486674 h 606592"/>
                <a:gd name="connsiteX80" fmla="*/ 502398 w 1159387"/>
                <a:gd name="connsiteY80" fmla="*/ 450623 h 606592"/>
                <a:gd name="connsiteX81" fmla="*/ 505913 w 1159387"/>
                <a:gd name="connsiteY81" fmla="*/ 435907 h 606592"/>
                <a:gd name="connsiteX82" fmla="*/ 504818 w 1159387"/>
                <a:gd name="connsiteY82" fmla="*/ 434088 h 606592"/>
                <a:gd name="connsiteX83" fmla="*/ 478519 w 1159387"/>
                <a:gd name="connsiteY83" fmla="*/ 391689 h 606592"/>
                <a:gd name="connsiteX84" fmla="*/ 464460 w 1159387"/>
                <a:gd name="connsiteY84" fmla="*/ 388476 h 606592"/>
                <a:gd name="connsiteX85" fmla="*/ 377335 w 1159387"/>
                <a:gd name="connsiteY85" fmla="*/ 414990 h 606592"/>
                <a:gd name="connsiteX86" fmla="*/ 293714 w 1159387"/>
                <a:gd name="connsiteY86" fmla="*/ 350313 h 606592"/>
                <a:gd name="connsiteX87" fmla="*/ 430732 w 1159387"/>
                <a:gd name="connsiteY87" fmla="*/ 287912 h 606592"/>
                <a:gd name="connsiteX88" fmla="*/ 368190 w 1159387"/>
                <a:gd name="connsiteY88" fmla="*/ 232071 h 606592"/>
                <a:gd name="connsiteX89" fmla="*/ 296524 w 1159387"/>
                <a:gd name="connsiteY89" fmla="*/ 287912 h 606592"/>
                <a:gd name="connsiteX90" fmla="*/ 430732 w 1159387"/>
                <a:gd name="connsiteY90" fmla="*/ 287912 h 606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</a:cxnLst>
              <a:rect l="l" t="t" r="r" b="b"/>
              <a:pathLst>
                <a:path w="1159387" h="606592">
                  <a:moveTo>
                    <a:pt x="0" y="178242"/>
                  </a:moveTo>
                  <a:lnTo>
                    <a:pt x="0" y="237024"/>
                  </a:lnTo>
                  <a:cubicBezTo>
                    <a:pt x="695" y="241577"/>
                    <a:pt x="4220" y="245266"/>
                    <a:pt x="9135" y="246098"/>
                  </a:cubicBezTo>
                  <a:cubicBezTo>
                    <a:pt x="16869" y="247387"/>
                    <a:pt x="27404" y="249197"/>
                    <a:pt x="30214" y="250009"/>
                  </a:cubicBezTo>
                  <a:cubicBezTo>
                    <a:pt x="30833" y="250193"/>
                    <a:pt x="31518" y="250390"/>
                    <a:pt x="32261" y="250607"/>
                  </a:cubicBezTo>
                  <a:cubicBezTo>
                    <a:pt x="46749" y="254784"/>
                    <a:pt x="83697" y="265433"/>
                    <a:pt x="85030" y="319338"/>
                  </a:cubicBezTo>
                  <a:lnTo>
                    <a:pt x="85030" y="483817"/>
                  </a:lnTo>
                  <a:cubicBezTo>
                    <a:pt x="85030" y="516573"/>
                    <a:pt x="97670" y="547958"/>
                    <a:pt x="120863" y="570989"/>
                  </a:cubicBezTo>
                  <a:cubicBezTo>
                    <a:pt x="143342" y="593696"/>
                    <a:pt x="174261" y="606402"/>
                    <a:pt x="205874" y="606364"/>
                  </a:cubicBezTo>
                  <a:lnTo>
                    <a:pt x="207284" y="606364"/>
                  </a:lnTo>
                  <a:cubicBezTo>
                    <a:pt x="207284" y="606364"/>
                    <a:pt x="207284" y="606879"/>
                    <a:pt x="235964" y="606364"/>
                  </a:cubicBezTo>
                  <a:cubicBezTo>
                    <a:pt x="243232" y="606231"/>
                    <a:pt x="247461" y="601383"/>
                    <a:pt x="247356" y="593268"/>
                  </a:cubicBezTo>
                  <a:cubicBezTo>
                    <a:pt x="247222" y="582028"/>
                    <a:pt x="247527" y="573246"/>
                    <a:pt x="247337" y="563750"/>
                  </a:cubicBezTo>
                  <a:cubicBezTo>
                    <a:pt x="247184" y="555816"/>
                    <a:pt x="247337" y="548520"/>
                    <a:pt x="247337" y="541928"/>
                  </a:cubicBezTo>
                  <a:cubicBezTo>
                    <a:pt x="247337" y="535804"/>
                    <a:pt x="242422" y="530794"/>
                    <a:pt x="236802" y="530565"/>
                  </a:cubicBezTo>
                  <a:cubicBezTo>
                    <a:pt x="226258" y="530527"/>
                    <a:pt x="211504" y="530527"/>
                    <a:pt x="197454" y="530527"/>
                  </a:cubicBezTo>
                  <a:cubicBezTo>
                    <a:pt x="177071" y="530527"/>
                    <a:pt x="159506" y="513401"/>
                    <a:pt x="159506" y="492285"/>
                  </a:cubicBezTo>
                  <a:lnTo>
                    <a:pt x="159506" y="403084"/>
                  </a:lnTo>
                  <a:cubicBezTo>
                    <a:pt x="160202" y="402874"/>
                    <a:pt x="159506" y="317750"/>
                    <a:pt x="159506" y="316772"/>
                  </a:cubicBezTo>
                  <a:cubicBezTo>
                    <a:pt x="157544" y="243958"/>
                    <a:pt x="109233" y="212964"/>
                    <a:pt x="100365" y="207274"/>
                  </a:cubicBezTo>
                  <a:cubicBezTo>
                    <a:pt x="99708" y="206855"/>
                    <a:pt x="99270" y="206569"/>
                    <a:pt x="99080" y="206423"/>
                  </a:cubicBezTo>
                  <a:cubicBezTo>
                    <a:pt x="99270" y="206264"/>
                    <a:pt x="99708" y="205979"/>
                    <a:pt x="100356" y="205547"/>
                  </a:cubicBezTo>
                  <a:cubicBezTo>
                    <a:pt x="109395" y="199604"/>
                    <a:pt x="159506" y="166622"/>
                    <a:pt x="159506" y="90665"/>
                  </a:cubicBezTo>
                  <a:lnTo>
                    <a:pt x="159506" y="10992"/>
                  </a:lnTo>
                  <a:cubicBezTo>
                    <a:pt x="159506" y="4922"/>
                    <a:pt x="155287" y="0"/>
                    <a:pt x="148962" y="0"/>
                  </a:cubicBezTo>
                  <a:lnTo>
                    <a:pt x="95565" y="0"/>
                  </a:lnTo>
                  <a:cubicBezTo>
                    <a:pt x="89945" y="0"/>
                    <a:pt x="85030" y="4922"/>
                    <a:pt x="85030" y="10992"/>
                  </a:cubicBezTo>
                  <a:lnTo>
                    <a:pt x="85030" y="90665"/>
                  </a:lnTo>
                  <a:cubicBezTo>
                    <a:pt x="85030" y="147350"/>
                    <a:pt x="47054" y="158469"/>
                    <a:pt x="32366" y="162761"/>
                  </a:cubicBezTo>
                  <a:cubicBezTo>
                    <a:pt x="31576" y="162997"/>
                    <a:pt x="30861" y="163206"/>
                    <a:pt x="30214" y="163402"/>
                  </a:cubicBezTo>
                  <a:cubicBezTo>
                    <a:pt x="27404" y="164209"/>
                    <a:pt x="16869" y="166026"/>
                    <a:pt x="9135" y="167302"/>
                  </a:cubicBezTo>
                  <a:cubicBezTo>
                    <a:pt x="3515" y="168248"/>
                    <a:pt x="0" y="172858"/>
                    <a:pt x="0" y="178242"/>
                  </a:cubicBezTo>
                  <a:close/>
                  <a:moveTo>
                    <a:pt x="933768" y="313343"/>
                  </a:moveTo>
                  <a:lnTo>
                    <a:pt x="933768" y="468558"/>
                  </a:lnTo>
                  <a:cubicBezTo>
                    <a:pt x="933768" y="471320"/>
                    <a:pt x="932682" y="473949"/>
                    <a:pt x="930749" y="475902"/>
                  </a:cubicBezTo>
                  <a:cubicBezTo>
                    <a:pt x="928825" y="477845"/>
                    <a:pt x="926206" y="478940"/>
                    <a:pt x="923472" y="478940"/>
                  </a:cubicBezTo>
                  <a:cubicBezTo>
                    <a:pt x="909270" y="478921"/>
                    <a:pt x="883819" y="478912"/>
                    <a:pt x="869627" y="478902"/>
                  </a:cubicBezTo>
                  <a:cubicBezTo>
                    <a:pt x="863950" y="478893"/>
                    <a:pt x="859349" y="474254"/>
                    <a:pt x="859349" y="468530"/>
                  </a:cubicBezTo>
                  <a:cubicBezTo>
                    <a:pt x="859349" y="405427"/>
                    <a:pt x="859349" y="73513"/>
                    <a:pt x="859349" y="10375"/>
                  </a:cubicBezTo>
                  <a:cubicBezTo>
                    <a:pt x="859349" y="4648"/>
                    <a:pt x="863959" y="0"/>
                    <a:pt x="869636" y="0"/>
                  </a:cubicBezTo>
                  <a:cubicBezTo>
                    <a:pt x="883838" y="0"/>
                    <a:pt x="909279" y="0"/>
                    <a:pt x="923472" y="0"/>
                  </a:cubicBezTo>
                  <a:cubicBezTo>
                    <a:pt x="929158" y="0"/>
                    <a:pt x="933768" y="4648"/>
                    <a:pt x="933768" y="10375"/>
                  </a:cubicBezTo>
                  <a:cubicBezTo>
                    <a:pt x="933768" y="50513"/>
                    <a:pt x="933768" y="193355"/>
                    <a:pt x="933768" y="193355"/>
                  </a:cubicBezTo>
                  <a:cubicBezTo>
                    <a:pt x="1013169" y="118433"/>
                    <a:pt x="1159388" y="172318"/>
                    <a:pt x="1159388" y="312995"/>
                  </a:cubicBezTo>
                  <a:lnTo>
                    <a:pt x="1159388" y="468520"/>
                  </a:lnTo>
                  <a:cubicBezTo>
                    <a:pt x="1159388" y="471273"/>
                    <a:pt x="1158302" y="473911"/>
                    <a:pt x="1156378" y="475854"/>
                  </a:cubicBezTo>
                  <a:cubicBezTo>
                    <a:pt x="1154445" y="477797"/>
                    <a:pt x="1151835" y="478893"/>
                    <a:pt x="1149101" y="478893"/>
                  </a:cubicBezTo>
                  <a:cubicBezTo>
                    <a:pt x="1134899" y="478893"/>
                    <a:pt x="1109401" y="478893"/>
                    <a:pt x="1095199" y="478893"/>
                  </a:cubicBezTo>
                  <a:cubicBezTo>
                    <a:pt x="1092465" y="478893"/>
                    <a:pt x="1089855" y="477797"/>
                    <a:pt x="1087922" y="475854"/>
                  </a:cubicBezTo>
                  <a:cubicBezTo>
                    <a:pt x="1085998" y="473911"/>
                    <a:pt x="1084912" y="471273"/>
                    <a:pt x="1084912" y="468520"/>
                  </a:cubicBezTo>
                  <a:cubicBezTo>
                    <a:pt x="1084912" y="432211"/>
                    <a:pt x="1084912" y="312995"/>
                    <a:pt x="1084912" y="312995"/>
                  </a:cubicBezTo>
                  <a:cubicBezTo>
                    <a:pt x="1084912" y="239513"/>
                    <a:pt x="1011121" y="217047"/>
                    <a:pt x="966868" y="246504"/>
                  </a:cubicBezTo>
                  <a:cubicBezTo>
                    <a:pt x="947885" y="259141"/>
                    <a:pt x="933768" y="281804"/>
                    <a:pt x="933768" y="313343"/>
                  </a:cubicBezTo>
                  <a:close/>
                  <a:moveTo>
                    <a:pt x="596563" y="207040"/>
                  </a:moveTo>
                  <a:cubicBezTo>
                    <a:pt x="564235" y="238922"/>
                    <a:pt x="549471" y="280953"/>
                    <a:pt x="549471" y="323084"/>
                  </a:cubicBezTo>
                  <a:cubicBezTo>
                    <a:pt x="549471" y="365223"/>
                    <a:pt x="564235" y="407246"/>
                    <a:pt x="596563" y="439145"/>
                  </a:cubicBezTo>
                  <a:cubicBezTo>
                    <a:pt x="650665" y="494085"/>
                    <a:pt x="734285" y="501400"/>
                    <a:pt x="797522" y="460995"/>
                  </a:cubicBezTo>
                  <a:cubicBezTo>
                    <a:pt x="798208" y="460481"/>
                    <a:pt x="799037" y="459938"/>
                    <a:pt x="799923" y="459357"/>
                  </a:cubicBezTo>
                  <a:cubicBezTo>
                    <a:pt x="801761" y="458147"/>
                    <a:pt x="803828" y="456795"/>
                    <a:pt x="805247" y="455385"/>
                  </a:cubicBezTo>
                  <a:cubicBezTo>
                    <a:pt x="808762" y="451909"/>
                    <a:pt x="810762" y="445470"/>
                    <a:pt x="806018" y="438745"/>
                  </a:cubicBezTo>
                  <a:cubicBezTo>
                    <a:pt x="801761" y="432697"/>
                    <a:pt x="796170" y="425153"/>
                    <a:pt x="790226" y="417067"/>
                  </a:cubicBezTo>
                  <a:cubicBezTo>
                    <a:pt x="785121" y="410132"/>
                    <a:pt x="780339" y="403665"/>
                    <a:pt x="776110" y="397747"/>
                  </a:cubicBezTo>
                  <a:cubicBezTo>
                    <a:pt x="772671" y="392947"/>
                    <a:pt x="765890" y="391664"/>
                    <a:pt x="760975" y="394585"/>
                  </a:cubicBezTo>
                  <a:cubicBezTo>
                    <a:pt x="759565" y="395461"/>
                    <a:pt x="758393" y="396172"/>
                    <a:pt x="757003" y="397067"/>
                  </a:cubicBezTo>
                  <a:cubicBezTo>
                    <a:pt x="686032" y="442936"/>
                    <a:pt x="619737" y="382374"/>
                    <a:pt x="619737" y="323084"/>
                  </a:cubicBezTo>
                  <a:cubicBezTo>
                    <a:pt x="619737" y="263795"/>
                    <a:pt x="687384" y="203573"/>
                    <a:pt x="756945" y="249203"/>
                  </a:cubicBezTo>
                  <a:cubicBezTo>
                    <a:pt x="758308" y="250105"/>
                    <a:pt x="759565" y="250708"/>
                    <a:pt x="760975" y="251591"/>
                  </a:cubicBezTo>
                  <a:cubicBezTo>
                    <a:pt x="765890" y="254512"/>
                    <a:pt x="772805" y="253115"/>
                    <a:pt x="776148" y="248416"/>
                  </a:cubicBezTo>
                  <a:cubicBezTo>
                    <a:pt x="780377" y="242497"/>
                    <a:pt x="785102" y="236065"/>
                    <a:pt x="790207" y="229138"/>
                  </a:cubicBezTo>
                  <a:cubicBezTo>
                    <a:pt x="795560" y="221854"/>
                    <a:pt x="800580" y="215072"/>
                    <a:pt x="804618" y="209395"/>
                  </a:cubicBezTo>
                  <a:cubicBezTo>
                    <a:pt x="811362" y="199928"/>
                    <a:pt x="809571" y="193191"/>
                    <a:pt x="799903" y="186809"/>
                  </a:cubicBezTo>
                  <a:cubicBezTo>
                    <a:pt x="799027" y="186231"/>
                    <a:pt x="798199" y="185691"/>
                    <a:pt x="797522" y="185195"/>
                  </a:cubicBezTo>
                  <a:cubicBezTo>
                    <a:pt x="734285" y="144778"/>
                    <a:pt x="650665" y="152087"/>
                    <a:pt x="596563" y="207040"/>
                  </a:cubicBezTo>
                  <a:close/>
                  <a:moveTo>
                    <a:pt x="293714" y="350313"/>
                  </a:moveTo>
                  <a:lnTo>
                    <a:pt x="469385" y="350313"/>
                  </a:lnTo>
                  <a:cubicBezTo>
                    <a:pt x="490463" y="350313"/>
                    <a:pt x="507323" y="333283"/>
                    <a:pt x="507323" y="312290"/>
                  </a:cubicBezTo>
                  <a:cubicBezTo>
                    <a:pt x="507323" y="265561"/>
                    <a:pt x="499588" y="240644"/>
                    <a:pt x="472890" y="208836"/>
                  </a:cubicBezTo>
                  <a:cubicBezTo>
                    <a:pt x="445486" y="176865"/>
                    <a:pt x="401919" y="159530"/>
                    <a:pt x="368190" y="159530"/>
                  </a:cubicBezTo>
                  <a:cubicBezTo>
                    <a:pt x="283875" y="159530"/>
                    <a:pt x="219228" y="231722"/>
                    <a:pt x="219228" y="323103"/>
                  </a:cubicBezTo>
                  <a:cubicBezTo>
                    <a:pt x="219228" y="435697"/>
                    <a:pt x="306354" y="486674"/>
                    <a:pt x="375915" y="486674"/>
                  </a:cubicBezTo>
                  <a:cubicBezTo>
                    <a:pt x="425807" y="486674"/>
                    <a:pt x="464460" y="474616"/>
                    <a:pt x="502398" y="450623"/>
                  </a:cubicBezTo>
                  <a:cubicBezTo>
                    <a:pt x="506618" y="447470"/>
                    <a:pt x="508723" y="441003"/>
                    <a:pt x="505913" y="435907"/>
                  </a:cubicBezTo>
                  <a:lnTo>
                    <a:pt x="504818" y="434088"/>
                  </a:lnTo>
                  <a:cubicBezTo>
                    <a:pt x="497150" y="421362"/>
                    <a:pt x="486558" y="403789"/>
                    <a:pt x="478519" y="391689"/>
                  </a:cubicBezTo>
                  <a:cubicBezTo>
                    <a:pt x="475709" y="386901"/>
                    <a:pt x="469385" y="385492"/>
                    <a:pt x="464460" y="388476"/>
                  </a:cubicBezTo>
                  <a:cubicBezTo>
                    <a:pt x="440571" y="402722"/>
                    <a:pt x="415273" y="415266"/>
                    <a:pt x="377335" y="414990"/>
                  </a:cubicBezTo>
                  <a:cubicBezTo>
                    <a:pt x="342197" y="414742"/>
                    <a:pt x="304954" y="392280"/>
                    <a:pt x="293714" y="350313"/>
                  </a:cubicBezTo>
                  <a:close/>
                  <a:moveTo>
                    <a:pt x="430732" y="287912"/>
                  </a:moveTo>
                  <a:cubicBezTo>
                    <a:pt x="424407" y="240694"/>
                    <a:pt x="392079" y="232071"/>
                    <a:pt x="368190" y="232071"/>
                  </a:cubicBezTo>
                  <a:cubicBezTo>
                    <a:pt x="335872" y="232071"/>
                    <a:pt x="308478" y="256182"/>
                    <a:pt x="296524" y="287912"/>
                  </a:cubicBezTo>
                  <a:lnTo>
                    <a:pt x="430732" y="287912"/>
                  </a:lnTo>
                  <a:close/>
                </a:path>
              </a:pathLst>
            </a:custGeom>
            <a:grpFill/>
            <a:ln w="76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9" name="Полилиния 8">
              <a:extLst>
                <a:ext uri="{FF2B5EF4-FFF2-40B4-BE49-F238E27FC236}">
                  <a16:creationId xmlns:a16="http://schemas.microsoft.com/office/drawing/2014/main" id="{261EA78A-07D8-1B0A-D52F-2000FAB5FCB6}"/>
                </a:ext>
              </a:extLst>
            </p:cNvPr>
            <p:cNvSpPr/>
            <p:nvPr/>
          </p:nvSpPr>
          <p:spPr>
            <a:xfrm>
              <a:off x="8489504" y="1070894"/>
              <a:ext cx="1492273" cy="326563"/>
            </a:xfrm>
            <a:custGeom>
              <a:avLst/>
              <a:gdLst>
                <a:gd name="connsiteX0" fmla="*/ 180273 w 1492273"/>
                <a:gd name="connsiteY0" fmla="*/ 900 h 326563"/>
                <a:gd name="connsiteX1" fmla="*/ 83526 w 1492273"/>
                <a:gd name="connsiteY1" fmla="*/ 20775 h 326563"/>
                <a:gd name="connsiteX2" fmla="*/ 15954 w 1492273"/>
                <a:gd name="connsiteY2" fmla="*/ 92853 h 326563"/>
                <a:gd name="connsiteX3" fmla="*/ 2323 w 1492273"/>
                <a:gd name="connsiteY3" fmla="*/ 190737 h 326563"/>
                <a:gd name="connsiteX4" fmla="*/ 47618 w 1492273"/>
                <a:gd name="connsiteY4" fmla="*/ 278557 h 326563"/>
                <a:gd name="connsiteX5" fmla="*/ 135243 w 1492273"/>
                <a:gd name="connsiteY5" fmla="*/ 324153 h 326563"/>
                <a:gd name="connsiteX6" fmla="*/ 233098 w 1492273"/>
                <a:gd name="connsiteY6" fmla="*/ 310818 h 326563"/>
                <a:gd name="connsiteX7" fmla="*/ 305341 w 1492273"/>
                <a:gd name="connsiteY7" fmla="*/ 243429 h 326563"/>
                <a:gd name="connsiteX8" fmla="*/ 325507 w 1492273"/>
                <a:gd name="connsiteY8" fmla="*/ 146675 h 326563"/>
                <a:gd name="connsiteX9" fmla="*/ 278778 w 1492273"/>
                <a:gd name="connsiteY9" fmla="*/ 47965 h 326563"/>
                <a:gd name="connsiteX10" fmla="*/ 180273 w 1492273"/>
                <a:gd name="connsiteY10" fmla="*/ 900 h 326563"/>
                <a:gd name="connsiteX11" fmla="*/ 174984 w 1492273"/>
                <a:gd name="connsiteY11" fmla="*/ 249697 h 326563"/>
                <a:gd name="connsiteX12" fmla="*/ 122555 w 1492273"/>
                <a:gd name="connsiteY12" fmla="*/ 240277 h 326563"/>
                <a:gd name="connsiteX13" fmla="*/ 85427 w 1492273"/>
                <a:gd name="connsiteY13" fmla="*/ 202047 h 326563"/>
                <a:gd name="connsiteX14" fmla="*/ 77507 w 1492273"/>
                <a:gd name="connsiteY14" fmla="*/ 149329 h 326563"/>
                <a:gd name="connsiteX15" fmla="*/ 101766 w 1492273"/>
                <a:gd name="connsiteY15" fmla="*/ 101883 h 326563"/>
                <a:gd name="connsiteX16" fmla="*/ 149113 w 1492273"/>
                <a:gd name="connsiteY16" fmla="*/ 77461 h 326563"/>
                <a:gd name="connsiteX17" fmla="*/ 201825 w 1492273"/>
                <a:gd name="connsiteY17" fmla="*/ 85220 h 326563"/>
                <a:gd name="connsiteX18" fmla="*/ 240132 w 1492273"/>
                <a:gd name="connsiteY18" fmla="*/ 122247 h 326563"/>
                <a:gd name="connsiteX19" fmla="*/ 249714 w 1492273"/>
                <a:gd name="connsiteY19" fmla="*/ 174684 h 326563"/>
                <a:gd name="connsiteX20" fmla="*/ 225058 w 1492273"/>
                <a:gd name="connsiteY20" fmla="*/ 224868 h 326563"/>
                <a:gd name="connsiteX21" fmla="*/ 174984 w 1492273"/>
                <a:gd name="connsiteY21" fmla="*/ 249697 h 326563"/>
                <a:gd name="connsiteX22" fmla="*/ 412780 w 1492273"/>
                <a:gd name="connsiteY22" fmla="*/ 7358 h 326563"/>
                <a:gd name="connsiteX23" fmla="*/ 396435 w 1492273"/>
                <a:gd name="connsiteY23" fmla="*/ 11091 h 326563"/>
                <a:gd name="connsiteX24" fmla="*/ 383276 w 1492273"/>
                <a:gd name="connsiteY24" fmla="*/ 21498 h 326563"/>
                <a:gd name="connsiteX25" fmla="*/ 375859 w 1492273"/>
                <a:gd name="connsiteY25" fmla="*/ 36548 h 326563"/>
                <a:gd name="connsiteX26" fmla="*/ 375620 w 1492273"/>
                <a:gd name="connsiteY26" fmla="*/ 53325 h 326563"/>
                <a:gd name="connsiteX27" fmla="*/ 414209 w 1492273"/>
                <a:gd name="connsiteY27" fmla="*/ 83537 h 326563"/>
                <a:gd name="connsiteX28" fmla="*/ 520143 w 1492273"/>
                <a:gd name="connsiteY28" fmla="*/ 83537 h 326563"/>
                <a:gd name="connsiteX29" fmla="*/ 355289 w 1492273"/>
                <a:gd name="connsiteY29" fmla="*/ 301846 h 326563"/>
                <a:gd name="connsiteX30" fmla="*/ 353136 w 1492273"/>
                <a:gd name="connsiteY30" fmla="*/ 307389 h 326563"/>
                <a:gd name="connsiteX31" fmla="*/ 354212 w 1492273"/>
                <a:gd name="connsiteY31" fmla="*/ 313237 h 326563"/>
                <a:gd name="connsiteX32" fmla="*/ 358204 w 1492273"/>
                <a:gd name="connsiteY32" fmla="*/ 317647 h 326563"/>
                <a:gd name="connsiteX33" fmla="*/ 363921 w 1492273"/>
                <a:gd name="connsiteY33" fmla="*/ 319295 h 326563"/>
                <a:gd name="connsiteX34" fmla="*/ 622504 w 1492273"/>
                <a:gd name="connsiteY34" fmla="*/ 319295 h 326563"/>
                <a:gd name="connsiteX35" fmla="*/ 661099 w 1492273"/>
                <a:gd name="connsiteY35" fmla="*/ 289082 h 326563"/>
                <a:gd name="connsiteX36" fmla="*/ 660861 w 1492273"/>
                <a:gd name="connsiteY36" fmla="*/ 272299 h 326563"/>
                <a:gd name="connsiteX37" fmla="*/ 653451 w 1492273"/>
                <a:gd name="connsiteY37" fmla="*/ 257250 h 326563"/>
                <a:gd name="connsiteX38" fmla="*/ 640297 w 1492273"/>
                <a:gd name="connsiteY38" fmla="*/ 246849 h 326563"/>
                <a:gd name="connsiteX39" fmla="*/ 623952 w 1492273"/>
                <a:gd name="connsiteY39" fmla="*/ 243105 h 326563"/>
                <a:gd name="connsiteX40" fmla="*/ 494883 w 1492273"/>
                <a:gd name="connsiteY40" fmla="*/ 243105 h 326563"/>
                <a:gd name="connsiteX41" fmla="*/ 659613 w 1492273"/>
                <a:gd name="connsiteY41" fmla="*/ 24972 h 326563"/>
                <a:gd name="connsiteX42" fmla="*/ 661785 w 1492273"/>
                <a:gd name="connsiteY42" fmla="*/ 19371 h 326563"/>
                <a:gd name="connsiteX43" fmla="*/ 660690 w 1492273"/>
                <a:gd name="connsiteY43" fmla="*/ 13473 h 326563"/>
                <a:gd name="connsiteX44" fmla="*/ 656661 w 1492273"/>
                <a:gd name="connsiteY44" fmla="*/ 9021 h 326563"/>
                <a:gd name="connsiteX45" fmla="*/ 650888 w 1492273"/>
                <a:gd name="connsiteY45" fmla="*/ 7358 h 326563"/>
                <a:gd name="connsiteX46" fmla="*/ 412780 w 1492273"/>
                <a:gd name="connsiteY46" fmla="*/ 7358 h 326563"/>
                <a:gd name="connsiteX47" fmla="*/ 1446105 w 1492273"/>
                <a:gd name="connsiteY47" fmla="*/ 8240 h 326563"/>
                <a:gd name="connsiteX48" fmla="*/ 1424484 w 1492273"/>
                <a:gd name="connsiteY48" fmla="*/ 22127 h 326563"/>
                <a:gd name="connsiteX49" fmla="*/ 1416378 w 1492273"/>
                <a:gd name="connsiteY49" fmla="*/ 46473 h 326563"/>
                <a:gd name="connsiteX50" fmla="*/ 1416378 w 1492273"/>
                <a:gd name="connsiteY50" fmla="*/ 173313 h 326563"/>
                <a:gd name="connsiteX51" fmla="*/ 1210980 w 1492273"/>
                <a:gd name="connsiteY51" fmla="*/ 9758 h 326563"/>
                <a:gd name="connsiteX52" fmla="*/ 1205389 w 1492273"/>
                <a:gd name="connsiteY52" fmla="*/ 7453 h 326563"/>
                <a:gd name="connsiteX53" fmla="*/ 1199426 w 1492273"/>
                <a:gd name="connsiteY53" fmla="*/ 8482 h 326563"/>
                <a:gd name="connsiteX54" fmla="*/ 1194921 w 1492273"/>
                <a:gd name="connsiteY54" fmla="*/ 12520 h 326563"/>
                <a:gd name="connsiteX55" fmla="*/ 1193263 w 1492273"/>
                <a:gd name="connsiteY55" fmla="*/ 18343 h 326563"/>
                <a:gd name="connsiteX56" fmla="*/ 1193263 w 1492273"/>
                <a:gd name="connsiteY56" fmla="*/ 280243 h 326563"/>
                <a:gd name="connsiteX57" fmla="*/ 1201388 w 1492273"/>
                <a:gd name="connsiteY57" fmla="*/ 304589 h 326563"/>
                <a:gd name="connsiteX58" fmla="*/ 1222962 w 1492273"/>
                <a:gd name="connsiteY58" fmla="*/ 318486 h 326563"/>
                <a:gd name="connsiteX59" fmla="*/ 1239803 w 1492273"/>
                <a:gd name="connsiteY59" fmla="*/ 318362 h 326563"/>
                <a:gd name="connsiteX60" fmla="*/ 1254966 w 1492273"/>
                <a:gd name="connsiteY60" fmla="*/ 310961 h 326563"/>
                <a:gd name="connsiteX61" fmla="*/ 1265444 w 1492273"/>
                <a:gd name="connsiteY61" fmla="*/ 297721 h 326563"/>
                <a:gd name="connsiteX62" fmla="*/ 1269159 w 1492273"/>
                <a:gd name="connsiteY62" fmla="*/ 281272 h 326563"/>
                <a:gd name="connsiteX63" fmla="*/ 1269159 w 1492273"/>
                <a:gd name="connsiteY63" fmla="*/ 153323 h 326563"/>
                <a:gd name="connsiteX64" fmla="*/ 1474538 w 1492273"/>
                <a:gd name="connsiteY64" fmla="*/ 316885 h 326563"/>
                <a:gd name="connsiteX65" fmla="*/ 1480148 w 1492273"/>
                <a:gd name="connsiteY65" fmla="*/ 319190 h 326563"/>
                <a:gd name="connsiteX66" fmla="*/ 1486120 w 1492273"/>
                <a:gd name="connsiteY66" fmla="*/ 318162 h 326563"/>
                <a:gd name="connsiteX67" fmla="*/ 1490625 w 1492273"/>
                <a:gd name="connsiteY67" fmla="*/ 314123 h 326563"/>
                <a:gd name="connsiteX68" fmla="*/ 1492273 w 1492273"/>
                <a:gd name="connsiteY68" fmla="*/ 308303 h 326563"/>
                <a:gd name="connsiteX69" fmla="*/ 1492273 w 1492273"/>
                <a:gd name="connsiteY69" fmla="*/ 45444 h 326563"/>
                <a:gd name="connsiteX70" fmla="*/ 1488559 w 1492273"/>
                <a:gd name="connsiteY70" fmla="*/ 28985 h 326563"/>
                <a:gd name="connsiteX71" fmla="*/ 1478081 w 1492273"/>
                <a:gd name="connsiteY71" fmla="*/ 15759 h 326563"/>
                <a:gd name="connsiteX72" fmla="*/ 1462908 w 1492273"/>
                <a:gd name="connsiteY72" fmla="*/ 8354 h 326563"/>
                <a:gd name="connsiteX73" fmla="*/ 1446105 w 1492273"/>
                <a:gd name="connsiteY73" fmla="*/ 8240 h 326563"/>
                <a:gd name="connsiteX74" fmla="*/ 911265 w 1492273"/>
                <a:gd name="connsiteY74" fmla="*/ 76254 h 326563"/>
                <a:gd name="connsiteX75" fmla="*/ 1063066 w 1492273"/>
                <a:gd name="connsiteY75" fmla="*/ 163286 h 326563"/>
                <a:gd name="connsiteX76" fmla="*/ 911265 w 1492273"/>
                <a:gd name="connsiteY76" fmla="*/ 250325 h 326563"/>
                <a:gd name="connsiteX77" fmla="*/ 759483 w 1492273"/>
                <a:gd name="connsiteY77" fmla="*/ 163286 h 326563"/>
                <a:gd name="connsiteX78" fmla="*/ 911265 w 1492273"/>
                <a:gd name="connsiteY78" fmla="*/ 76254 h 326563"/>
                <a:gd name="connsiteX79" fmla="*/ 911265 w 1492273"/>
                <a:gd name="connsiteY79" fmla="*/ 67 h 326563"/>
                <a:gd name="connsiteX80" fmla="*/ 683578 w 1492273"/>
                <a:gd name="connsiteY80" fmla="*/ 163286 h 326563"/>
                <a:gd name="connsiteX81" fmla="*/ 911265 w 1492273"/>
                <a:gd name="connsiteY81" fmla="*/ 326506 h 326563"/>
                <a:gd name="connsiteX82" fmla="*/ 1138961 w 1492273"/>
                <a:gd name="connsiteY82" fmla="*/ 163286 h 326563"/>
                <a:gd name="connsiteX83" fmla="*/ 911265 w 1492273"/>
                <a:gd name="connsiteY83" fmla="*/ 67 h 3265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</a:cxnLst>
              <a:rect l="l" t="t" r="r" b="b"/>
              <a:pathLst>
                <a:path w="1492273" h="326563">
                  <a:moveTo>
                    <a:pt x="180273" y="900"/>
                  </a:moveTo>
                  <a:cubicBezTo>
                    <a:pt x="146739" y="-2638"/>
                    <a:pt x="112948" y="4310"/>
                    <a:pt x="83526" y="20775"/>
                  </a:cubicBezTo>
                  <a:cubicBezTo>
                    <a:pt x="54104" y="37240"/>
                    <a:pt x="30499" y="62424"/>
                    <a:pt x="15954" y="92853"/>
                  </a:cubicBezTo>
                  <a:cubicBezTo>
                    <a:pt x="1417" y="123295"/>
                    <a:pt x="-3344" y="157489"/>
                    <a:pt x="2323" y="190737"/>
                  </a:cubicBezTo>
                  <a:cubicBezTo>
                    <a:pt x="7990" y="223998"/>
                    <a:pt x="23812" y="254669"/>
                    <a:pt x="47618" y="278557"/>
                  </a:cubicBezTo>
                  <a:cubicBezTo>
                    <a:pt x="71412" y="302455"/>
                    <a:pt x="102030" y="318381"/>
                    <a:pt x="135243" y="324153"/>
                  </a:cubicBezTo>
                  <a:cubicBezTo>
                    <a:pt x="168455" y="329925"/>
                    <a:pt x="202644" y="325277"/>
                    <a:pt x="233098" y="310818"/>
                  </a:cubicBezTo>
                  <a:cubicBezTo>
                    <a:pt x="263559" y="296359"/>
                    <a:pt x="288801" y="272814"/>
                    <a:pt x="305341" y="243429"/>
                  </a:cubicBezTo>
                  <a:cubicBezTo>
                    <a:pt x="321894" y="214035"/>
                    <a:pt x="328933" y="180240"/>
                    <a:pt x="325507" y="146675"/>
                  </a:cubicBezTo>
                  <a:cubicBezTo>
                    <a:pt x="321736" y="109375"/>
                    <a:pt x="305234" y="74514"/>
                    <a:pt x="278778" y="47965"/>
                  </a:cubicBezTo>
                  <a:cubicBezTo>
                    <a:pt x="252327" y="21410"/>
                    <a:pt x="217534" y="4786"/>
                    <a:pt x="180273" y="900"/>
                  </a:cubicBezTo>
                  <a:close/>
                  <a:moveTo>
                    <a:pt x="174984" y="249697"/>
                  </a:moveTo>
                  <a:cubicBezTo>
                    <a:pt x="156946" y="252116"/>
                    <a:pt x="138617" y="248820"/>
                    <a:pt x="122555" y="240277"/>
                  </a:cubicBezTo>
                  <a:cubicBezTo>
                    <a:pt x="106488" y="231725"/>
                    <a:pt x="93505" y="218366"/>
                    <a:pt x="85427" y="202047"/>
                  </a:cubicBezTo>
                  <a:cubicBezTo>
                    <a:pt x="77349" y="185733"/>
                    <a:pt x="74579" y="167300"/>
                    <a:pt x="77507" y="149329"/>
                  </a:cubicBezTo>
                  <a:cubicBezTo>
                    <a:pt x="80440" y="131372"/>
                    <a:pt x="88922" y="114773"/>
                    <a:pt x="101766" y="101883"/>
                  </a:cubicBezTo>
                  <a:cubicBezTo>
                    <a:pt x="114610" y="88986"/>
                    <a:pt x="131176" y="80452"/>
                    <a:pt x="149113" y="77461"/>
                  </a:cubicBezTo>
                  <a:cubicBezTo>
                    <a:pt x="167057" y="74470"/>
                    <a:pt x="185493" y="77181"/>
                    <a:pt x="201825" y="85220"/>
                  </a:cubicBezTo>
                  <a:cubicBezTo>
                    <a:pt x="218145" y="93247"/>
                    <a:pt x="231543" y="106194"/>
                    <a:pt x="240132" y="122247"/>
                  </a:cubicBezTo>
                  <a:cubicBezTo>
                    <a:pt x="248725" y="138293"/>
                    <a:pt x="252068" y="156625"/>
                    <a:pt x="249714" y="174684"/>
                  </a:cubicBezTo>
                  <a:cubicBezTo>
                    <a:pt x="247233" y="193670"/>
                    <a:pt x="238569" y="211305"/>
                    <a:pt x="225058" y="224868"/>
                  </a:cubicBezTo>
                  <a:cubicBezTo>
                    <a:pt x="211546" y="238425"/>
                    <a:pt x="193948" y="247154"/>
                    <a:pt x="174984" y="249697"/>
                  </a:cubicBezTo>
                  <a:close/>
                  <a:moveTo>
                    <a:pt x="412780" y="7358"/>
                  </a:moveTo>
                  <a:cubicBezTo>
                    <a:pt x="407126" y="7370"/>
                    <a:pt x="401534" y="8646"/>
                    <a:pt x="396435" y="11091"/>
                  </a:cubicBezTo>
                  <a:cubicBezTo>
                    <a:pt x="391328" y="13536"/>
                    <a:pt x="386833" y="17092"/>
                    <a:pt x="383276" y="21498"/>
                  </a:cubicBezTo>
                  <a:cubicBezTo>
                    <a:pt x="379712" y="25899"/>
                    <a:pt x="377174" y="31042"/>
                    <a:pt x="375859" y="36548"/>
                  </a:cubicBezTo>
                  <a:cubicBezTo>
                    <a:pt x="374537" y="42053"/>
                    <a:pt x="374448" y="47787"/>
                    <a:pt x="375620" y="53325"/>
                  </a:cubicBezTo>
                  <a:cubicBezTo>
                    <a:pt x="379202" y="71282"/>
                    <a:pt x="395956" y="83537"/>
                    <a:pt x="414209" y="83537"/>
                  </a:cubicBezTo>
                  <a:lnTo>
                    <a:pt x="520143" y="83537"/>
                  </a:lnTo>
                  <a:lnTo>
                    <a:pt x="355289" y="301846"/>
                  </a:lnTo>
                  <a:cubicBezTo>
                    <a:pt x="354067" y="303455"/>
                    <a:pt x="353324" y="305379"/>
                    <a:pt x="353136" y="307389"/>
                  </a:cubicBezTo>
                  <a:cubicBezTo>
                    <a:pt x="352940" y="309399"/>
                    <a:pt x="353319" y="311428"/>
                    <a:pt x="354212" y="313237"/>
                  </a:cubicBezTo>
                  <a:cubicBezTo>
                    <a:pt x="355113" y="315047"/>
                    <a:pt x="356491" y="316581"/>
                    <a:pt x="358204" y="317647"/>
                  </a:cubicBezTo>
                  <a:cubicBezTo>
                    <a:pt x="359923" y="318714"/>
                    <a:pt x="361900" y="319286"/>
                    <a:pt x="363921" y="319295"/>
                  </a:cubicBezTo>
                  <a:lnTo>
                    <a:pt x="622504" y="319295"/>
                  </a:lnTo>
                  <a:cubicBezTo>
                    <a:pt x="640744" y="319295"/>
                    <a:pt x="657518" y="307037"/>
                    <a:pt x="661099" y="289082"/>
                  </a:cubicBezTo>
                  <a:cubicBezTo>
                    <a:pt x="662271" y="283539"/>
                    <a:pt x="662185" y="277805"/>
                    <a:pt x="660861" y="272299"/>
                  </a:cubicBezTo>
                  <a:cubicBezTo>
                    <a:pt x="659537" y="266794"/>
                    <a:pt x="657004" y="261650"/>
                    <a:pt x="653451" y="257250"/>
                  </a:cubicBezTo>
                  <a:cubicBezTo>
                    <a:pt x="649898" y="252849"/>
                    <a:pt x="645402" y="249297"/>
                    <a:pt x="640297" y="246849"/>
                  </a:cubicBezTo>
                  <a:cubicBezTo>
                    <a:pt x="635191" y="244391"/>
                    <a:pt x="629610" y="243115"/>
                    <a:pt x="623952" y="243105"/>
                  </a:cubicBezTo>
                  <a:lnTo>
                    <a:pt x="494883" y="243105"/>
                  </a:lnTo>
                  <a:lnTo>
                    <a:pt x="659613" y="24972"/>
                  </a:lnTo>
                  <a:cubicBezTo>
                    <a:pt x="660842" y="23340"/>
                    <a:pt x="661595" y="21403"/>
                    <a:pt x="661785" y="19371"/>
                  </a:cubicBezTo>
                  <a:cubicBezTo>
                    <a:pt x="661976" y="17340"/>
                    <a:pt x="661604" y="15295"/>
                    <a:pt x="660690" y="13473"/>
                  </a:cubicBezTo>
                  <a:cubicBezTo>
                    <a:pt x="659785" y="11637"/>
                    <a:pt x="658385" y="10101"/>
                    <a:pt x="656661" y="9021"/>
                  </a:cubicBezTo>
                  <a:cubicBezTo>
                    <a:pt x="654937" y="7942"/>
                    <a:pt x="652927" y="7363"/>
                    <a:pt x="650888" y="7358"/>
                  </a:cubicBezTo>
                  <a:lnTo>
                    <a:pt x="412780" y="7358"/>
                  </a:lnTo>
                  <a:close/>
                  <a:moveTo>
                    <a:pt x="1446105" y="8240"/>
                  </a:moveTo>
                  <a:cubicBezTo>
                    <a:pt x="1437514" y="10272"/>
                    <a:pt x="1429894" y="15174"/>
                    <a:pt x="1424484" y="22127"/>
                  </a:cubicBezTo>
                  <a:cubicBezTo>
                    <a:pt x="1419112" y="29080"/>
                    <a:pt x="1416254" y="37666"/>
                    <a:pt x="1416378" y="46473"/>
                  </a:cubicBezTo>
                  <a:lnTo>
                    <a:pt x="1416378" y="173313"/>
                  </a:lnTo>
                  <a:lnTo>
                    <a:pt x="1210980" y="9758"/>
                  </a:lnTo>
                  <a:cubicBezTo>
                    <a:pt x="1209361" y="8475"/>
                    <a:pt x="1207427" y="7675"/>
                    <a:pt x="1205389" y="7453"/>
                  </a:cubicBezTo>
                  <a:cubicBezTo>
                    <a:pt x="1203341" y="7230"/>
                    <a:pt x="1201274" y="7580"/>
                    <a:pt x="1199426" y="8482"/>
                  </a:cubicBezTo>
                  <a:cubicBezTo>
                    <a:pt x="1197569" y="9377"/>
                    <a:pt x="1196006" y="10773"/>
                    <a:pt x="1194921" y="12520"/>
                  </a:cubicBezTo>
                  <a:cubicBezTo>
                    <a:pt x="1193835" y="14273"/>
                    <a:pt x="1193254" y="16285"/>
                    <a:pt x="1193263" y="18343"/>
                  </a:cubicBezTo>
                  <a:lnTo>
                    <a:pt x="1193263" y="280243"/>
                  </a:lnTo>
                  <a:cubicBezTo>
                    <a:pt x="1193120" y="289054"/>
                    <a:pt x="1195987" y="297645"/>
                    <a:pt x="1201388" y="304589"/>
                  </a:cubicBezTo>
                  <a:cubicBezTo>
                    <a:pt x="1206789" y="311542"/>
                    <a:pt x="1214409" y="316447"/>
                    <a:pt x="1222962" y="318486"/>
                  </a:cubicBezTo>
                  <a:cubicBezTo>
                    <a:pt x="1228525" y="319714"/>
                    <a:pt x="1234288" y="319667"/>
                    <a:pt x="1239803" y="318362"/>
                  </a:cubicBezTo>
                  <a:cubicBezTo>
                    <a:pt x="1245346" y="317066"/>
                    <a:pt x="1250518" y="314533"/>
                    <a:pt x="1254966" y="310961"/>
                  </a:cubicBezTo>
                  <a:cubicBezTo>
                    <a:pt x="1259415" y="307389"/>
                    <a:pt x="1263006" y="302874"/>
                    <a:pt x="1265444" y="297721"/>
                  </a:cubicBezTo>
                  <a:cubicBezTo>
                    <a:pt x="1267882" y="292587"/>
                    <a:pt x="1269159" y="286958"/>
                    <a:pt x="1269159" y="281272"/>
                  </a:cubicBezTo>
                  <a:lnTo>
                    <a:pt x="1269159" y="153323"/>
                  </a:lnTo>
                  <a:lnTo>
                    <a:pt x="1474538" y="316885"/>
                  </a:lnTo>
                  <a:cubicBezTo>
                    <a:pt x="1476195" y="318171"/>
                    <a:pt x="1478138" y="318962"/>
                    <a:pt x="1480148" y="319190"/>
                  </a:cubicBezTo>
                  <a:cubicBezTo>
                    <a:pt x="1482224" y="319419"/>
                    <a:pt x="1484291" y="319057"/>
                    <a:pt x="1486120" y="318162"/>
                  </a:cubicBezTo>
                  <a:cubicBezTo>
                    <a:pt x="1487949" y="317266"/>
                    <a:pt x="1489530" y="315866"/>
                    <a:pt x="1490625" y="314123"/>
                  </a:cubicBezTo>
                  <a:cubicBezTo>
                    <a:pt x="1491721" y="312380"/>
                    <a:pt x="1492273" y="310361"/>
                    <a:pt x="1492273" y="308303"/>
                  </a:cubicBezTo>
                  <a:lnTo>
                    <a:pt x="1492273" y="45444"/>
                  </a:lnTo>
                  <a:cubicBezTo>
                    <a:pt x="1492273" y="39748"/>
                    <a:pt x="1490997" y="34123"/>
                    <a:pt x="1488559" y="28985"/>
                  </a:cubicBezTo>
                  <a:cubicBezTo>
                    <a:pt x="1486120" y="23848"/>
                    <a:pt x="1482529" y="19327"/>
                    <a:pt x="1478081" y="15759"/>
                  </a:cubicBezTo>
                  <a:cubicBezTo>
                    <a:pt x="1473633" y="12190"/>
                    <a:pt x="1468461" y="9656"/>
                    <a:pt x="1462908" y="8354"/>
                  </a:cubicBezTo>
                  <a:cubicBezTo>
                    <a:pt x="1457364" y="7059"/>
                    <a:pt x="1451649" y="7015"/>
                    <a:pt x="1446105" y="8240"/>
                  </a:cubicBezTo>
                  <a:close/>
                  <a:moveTo>
                    <a:pt x="911265" y="76254"/>
                  </a:moveTo>
                  <a:cubicBezTo>
                    <a:pt x="998152" y="76254"/>
                    <a:pt x="1063066" y="122196"/>
                    <a:pt x="1063066" y="163286"/>
                  </a:cubicBezTo>
                  <a:cubicBezTo>
                    <a:pt x="1063066" y="204383"/>
                    <a:pt x="998152" y="250325"/>
                    <a:pt x="911265" y="250325"/>
                  </a:cubicBezTo>
                  <a:cubicBezTo>
                    <a:pt x="824397" y="250325"/>
                    <a:pt x="759483" y="204383"/>
                    <a:pt x="759483" y="163286"/>
                  </a:cubicBezTo>
                  <a:cubicBezTo>
                    <a:pt x="759483" y="122196"/>
                    <a:pt x="824397" y="76254"/>
                    <a:pt x="911265" y="76254"/>
                  </a:cubicBezTo>
                  <a:close/>
                  <a:moveTo>
                    <a:pt x="911265" y="67"/>
                  </a:moveTo>
                  <a:cubicBezTo>
                    <a:pt x="785515" y="67"/>
                    <a:pt x="683578" y="73142"/>
                    <a:pt x="683578" y="163286"/>
                  </a:cubicBezTo>
                  <a:cubicBezTo>
                    <a:pt x="683578" y="253421"/>
                    <a:pt x="785515" y="326506"/>
                    <a:pt x="911265" y="326506"/>
                  </a:cubicBezTo>
                  <a:cubicBezTo>
                    <a:pt x="1037024" y="326506"/>
                    <a:pt x="1138961" y="253421"/>
                    <a:pt x="1138961" y="163286"/>
                  </a:cubicBezTo>
                  <a:cubicBezTo>
                    <a:pt x="1138961" y="73142"/>
                    <a:pt x="1037024" y="67"/>
                    <a:pt x="911265" y="67"/>
                  </a:cubicBezTo>
                  <a:close/>
                </a:path>
              </a:pathLst>
            </a:custGeom>
            <a:grpFill/>
            <a:ln w="76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6298669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8">
          <p15:clr>
            <a:srgbClr val="F26B43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_title_ligh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DDB7B6FF-BCB4-0D7F-43C7-738D0A9ACD9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641985" y="6415289"/>
            <a:ext cx="1044575" cy="231716"/>
            <a:chOff x="8489504" y="910877"/>
            <a:chExt cx="2734509" cy="606592"/>
          </a:xfrm>
          <a:solidFill>
            <a:schemeClr val="tx1"/>
          </a:solidFill>
        </p:grpSpPr>
        <p:sp>
          <p:nvSpPr>
            <p:cNvPr id="6" name="Полилиния 5">
              <a:extLst>
                <a:ext uri="{FF2B5EF4-FFF2-40B4-BE49-F238E27FC236}">
                  <a16:creationId xmlns:a16="http://schemas.microsoft.com/office/drawing/2014/main" id="{60AE0B07-6FE3-17A5-A55E-AE65600F26E5}"/>
                </a:ext>
              </a:extLst>
            </p:cNvPr>
            <p:cNvSpPr/>
            <p:nvPr/>
          </p:nvSpPr>
          <p:spPr>
            <a:xfrm>
              <a:off x="10064626" y="910877"/>
              <a:ext cx="1159387" cy="606592"/>
            </a:xfrm>
            <a:custGeom>
              <a:avLst/>
              <a:gdLst>
                <a:gd name="connsiteX0" fmla="*/ 0 w 1159387"/>
                <a:gd name="connsiteY0" fmla="*/ 178242 h 606592"/>
                <a:gd name="connsiteX1" fmla="*/ 0 w 1159387"/>
                <a:gd name="connsiteY1" fmla="*/ 237024 h 606592"/>
                <a:gd name="connsiteX2" fmla="*/ 9135 w 1159387"/>
                <a:gd name="connsiteY2" fmla="*/ 246098 h 606592"/>
                <a:gd name="connsiteX3" fmla="*/ 30214 w 1159387"/>
                <a:gd name="connsiteY3" fmla="*/ 250009 h 606592"/>
                <a:gd name="connsiteX4" fmla="*/ 32261 w 1159387"/>
                <a:gd name="connsiteY4" fmla="*/ 250607 h 606592"/>
                <a:gd name="connsiteX5" fmla="*/ 85030 w 1159387"/>
                <a:gd name="connsiteY5" fmla="*/ 319338 h 606592"/>
                <a:gd name="connsiteX6" fmla="*/ 85030 w 1159387"/>
                <a:gd name="connsiteY6" fmla="*/ 483817 h 606592"/>
                <a:gd name="connsiteX7" fmla="*/ 120863 w 1159387"/>
                <a:gd name="connsiteY7" fmla="*/ 570989 h 606592"/>
                <a:gd name="connsiteX8" fmla="*/ 205874 w 1159387"/>
                <a:gd name="connsiteY8" fmla="*/ 606364 h 606592"/>
                <a:gd name="connsiteX9" fmla="*/ 207284 w 1159387"/>
                <a:gd name="connsiteY9" fmla="*/ 606364 h 606592"/>
                <a:gd name="connsiteX10" fmla="*/ 235964 w 1159387"/>
                <a:gd name="connsiteY10" fmla="*/ 606364 h 606592"/>
                <a:gd name="connsiteX11" fmla="*/ 247356 w 1159387"/>
                <a:gd name="connsiteY11" fmla="*/ 593268 h 606592"/>
                <a:gd name="connsiteX12" fmla="*/ 247337 w 1159387"/>
                <a:gd name="connsiteY12" fmla="*/ 563750 h 606592"/>
                <a:gd name="connsiteX13" fmla="*/ 247337 w 1159387"/>
                <a:gd name="connsiteY13" fmla="*/ 541928 h 606592"/>
                <a:gd name="connsiteX14" fmla="*/ 236802 w 1159387"/>
                <a:gd name="connsiteY14" fmla="*/ 530565 h 606592"/>
                <a:gd name="connsiteX15" fmla="*/ 197454 w 1159387"/>
                <a:gd name="connsiteY15" fmla="*/ 530527 h 606592"/>
                <a:gd name="connsiteX16" fmla="*/ 159506 w 1159387"/>
                <a:gd name="connsiteY16" fmla="*/ 492285 h 606592"/>
                <a:gd name="connsiteX17" fmla="*/ 159506 w 1159387"/>
                <a:gd name="connsiteY17" fmla="*/ 403084 h 606592"/>
                <a:gd name="connsiteX18" fmla="*/ 159506 w 1159387"/>
                <a:gd name="connsiteY18" fmla="*/ 316772 h 606592"/>
                <a:gd name="connsiteX19" fmla="*/ 100365 w 1159387"/>
                <a:gd name="connsiteY19" fmla="*/ 207274 h 606592"/>
                <a:gd name="connsiteX20" fmla="*/ 99080 w 1159387"/>
                <a:gd name="connsiteY20" fmla="*/ 206423 h 606592"/>
                <a:gd name="connsiteX21" fmla="*/ 100356 w 1159387"/>
                <a:gd name="connsiteY21" fmla="*/ 205547 h 606592"/>
                <a:gd name="connsiteX22" fmla="*/ 159506 w 1159387"/>
                <a:gd name="connsiteY22" fmla="*/ 90665 h 606592"/>
                <a:gd name="connsiteX23" fmla="*/ 159506 w 1159387"/>
                <a:gd name="connsiteY23" fmla="*/ 10992 h 606592"/>
                <a:gd name="connsiteX24" fmla="*/ 148962 w 1159387"/>
                <a:gd name="connsiteY24" fmla="*/ 0 h 606592"/>
                <a:gd name="connsiteX25" fmla="*/ 95565 w 1159387"/>
                <a:gd name="connsiteY25" fmla="*/ 0 h 606592"/>
                <a:gd name="connsiteX26" fmla="*/ 85030 w 1159387"/>
                <a:gd name="connsiteY26" fmla="*/ 10992 h 606592"/>
                <a:gd name="connsiteX27" fmla="*/ 85030 w 1159387"/>
                <a:gd name="connsiteY27" fmla="*/ 90665 h 606592"/>
                <a:gd name="connsiteX28" fmla="*/ 32366 w 1159387"/>
                <a:gd name="connsiteY28" fmla="*/ 162761 h 606592"/>
                <a:gd name="connsiteX29" fmla="*/ 30214 w 1159387"/>
                <a:gd name="connsiteY29" fmla="*/ 163402 h 606592"/>
                <a:gd name="connsiteX30" fmla="*/ 9135 w 1159387"/>
                <a:gd name="connsiteY30" fmla="*/ 167302 h 606592"/>
                <a:gd name="connsiteX31" fmla="*/ 0 w 1159387"/>
                <a:gd name="connsiteY31" fmla="*/ 178242 h 606592"/>
                <a:gd name="connsiteX32" fmla="*/ 933768 w 1159387"/>
                <a:gd name="connsiteY32" fmla="*/ 313343 h 606592"/>
                <a:gd name="connsiteX33" fmla="*/ 933768 w 1159387"/>
                <a:gd name="connsiteY33" fmla="*/ 468558 h 606592"/>
                <a:gd name="connsiteX34" fmla="*/ 930749 w 1159387"/>
                <a:gd name="connsiteY34" fmla="*/ 475902 h 606592"/>
                <a:gd name="connsiteX35" fmla="*/ 923472 w 1159387"/>
                <a:gd name="connsiteY35" fmla="*/ 478940 h 606592"/>
                <a:gd name="connsiteX36" fmla="*/ 869627 w 1159387"/>
                <a:gd name="connsiteY36" fmla="*/ 478902 h 606592"/>
                <a:gd name="connsiteX37" fmla="*/ 859349 w 1159387"/>
                <a:gd name="connsiteY37" fmla="*/ 468530 h 606592"/>
                <a:gd name="connsiteX38" fmla="*/ 859349 w 1159387"/>
                <a:gd name="connsiteY38" fmla="*/ 10375 h 606592"/>
                <a:gd name="connsiteX39" fmla="*/ 869636 w 1159387"/>
                <a:gd name="connsiteY39" fmla="*/ 0 h 606592"/>
                <a:gd name="connsiteX40" fmla="*/ 923472 w 1159387"/>
                <a:gd name="connsiteY40" fmla="*/ 0 h 606592"/>
                <a:gd name="connsiteX41" fmla="*/ 933768 w 1159387"/>
                <a:gd name="connsiteY41" fmla="*/ 10375 h 606592"/>
                <a:gd name="connsiteX42" fmla="*/ 933768 w 1159387"/>
                <a:gd name="connsiteY42" fmla="*/ 193355 h 606592"/>
                <a:gd name="connsiteX43" fmla="*/ 1159388 w 1159387"/>
                <a:gd name="connsiteY43" fmla="*/ 312995 h 606592"/>
                <a:gd name="connsiteX44" fmla="*/ 1159388 w 1159387"/>
                <a:gd name="connsiteY44" fmla="*/ 468520 h 606592"/>
                <a:gd name="connsiteX45" fmla="*/ 1156378 w 1159387"/>
                <a:gd name="connsiteY45" fmla="*/ 475854 h 606592"/>
                <a:gd name="connsiteX46" fmla="*/ 1149101 w 1159387"/>
                <a:gd name="connsiteY46" fmla="*/ 478893 h 606592"/>
                <a:gd name="connsiteX47" fmla="*/ 1095199 w 1159387"/>
                <a:gd name="connsiteY47" fmla="*/ 478893 h 606592"/>
                <a:gd name="connsiteX48" fmla="*/ 1087922 w 1159387"/>
                <a:gd name="connsiteY48" fmla="*/ 475854 h 606592"/>
                <a:gd name="connsiteX49" fmla="*/ 1084912 w 1159387"/>
                <a:gd name="connsiteY49" fmla="*/ 468520 h 606592"/>
                <a:gd name="connsiteX50" fmla="*/ 1084912 w 1159387"/>
                <a:gd name="connsiteY50" fmla="*/ 312995 h 606592"/>
                <a:gd name="connsiteX51" fmla="*/ 966868 w 1159387"/>
                <a:gd name="connsiteY51" fmla="*/ 246504 h 606592"/>
                <a:gd name="connsiteX52" fmla="*/ 933768 w 1159387"/>
                <a:gd name="connsiteY52" fmla="*/ 313343 h 606592"/>
                <a:gd name="connsiteX53" fmla="*/ 596563 w 1159387"/>
                <a:gd name="connsiteY53" fmla="*/ 207040 h 606592"/>
                <a:gd name="connsiteX54" fmla="*/ 549471 w 1159387"/>
                <a:gd name="connsiteY54" fmla="*/ 323084 h 606592"/>
                <a:gd name="connsiteX55" fmla="*/ 596563 w 1159387"/>
                <a:gd name="connsiteY55" fmla="*/ 439145 h 606592"/>
                <a:gd name="connsiteX56" fmla="*/ 797522 w 1159387"/>
                <a:gd name="connsiteY56" fmla="*/ 460995 h 606592"/>
                <a:gd name="connsiteX57" fmla="*/ 799923 w 1159387"/>
                <a:gd name="connsiteY57" fmla="*/ 459357 h 606592"/>
                <a:gd name="connsiteX58" fmla="*/ 805247 w 1159387"/>
                <a:gd name="connsiteY58" fmla="*/ 455385 h 606592"/>
                <a:gd name="connsiteX59" fmla="*/ 806018 w 1159387"/>
                <a:gd name="connsiteY59" fmla="*/ 438745 h 606592"/>
                <a:gd name="connsiteX60" fmla="*/ 790226 w 1159387"/>
                <a:gd name="connsiteY60" fmla="*/ 417067 h 606592"/>
                <a:gd name="connsiteX61" fmla="*/ 776110 w 1159387"/>
                <a:gd name="connsiteY61" fmla="*/ 397747 h 606592"/>
                <a:gd name="connsiteX62" fmla="*/ 760975 w 1159387"/>
                <a:gd name="connsiteY62" fmla="*/ 394585 h 606592"/>
                <a:gd name="connsiteX63" fmla="*/ 757003 w 1159387"/>
                <a:gd name="connsiteY63" fmla="*/ 397067 h 606592"/>
                <a:gd name="connsiteX64" fmla="*/ 619737 w 1159387"/>
                <a:gd name="connsiteY64" fmla="*/ 323084 h 606592"/>
                <a:gd name="connsiteX65" fmla="*/ 756945 w 1159387"/>
                <a:gd name="connsiteY65" fmla="*/ 249203 h 606592"/>
                <a:gd name="connsiteX66" fmla="*/ 760975 w 1159387"/>
                <a:gd name="connsiteY66" fmla="*/ 251591 h 606592"/>
                <a:gd name="connsiteX67" fmla="*/ 776148 w 1159387"/>
                <a:gd name="connsiteY67" fmla="*/ 248416 h 606592"/>
                <a:gd name="connsiteX68" fmla="*/ 790207 w 1159387"/>
                <a:gd name="connsiteY68" fmla="*/ 229138 h 606592"/>
                <a:gd name="connsiteX69" fmla="*/ 804618 w 1159387"/>
                <a:gd name="connsiteY69" fmla="*/ 209395 h 606592"/>
                <a:gd name="connsiteX70" fmla="*/ 799903 w 1159387"/>
                <a:gd name="connsiteY70" fmla="*/ 186809 h 606592"/>
                <a:gd name="connsiteX71" fmla="*/ 797522 w 1159387"/>
                <a:gd name="connsiteY71" fmla="*/ 185195 h 606592"/>
                <a:gd name="connsiteX72" fmla="*/ 596563 w 1159387"/>
                <a:gd name="connsiteY72" fmla="*/ 207040 h 606592"/>
                <a:gd name="connsiteX73" fmla="*/ 293714 w 1159387"/>
                <a:gd name="connsiteY73" fmla="*/ 350313 h 606592"/>
                <a:gd name="connsiteX74" fmla="*/ 469385 w 1159387"/>
                <a:gd name="connsiteY74" fmla="*/ 350313 h 606592"/>
                <a:gd name="connsiteX75" fmla="*/ 507323 w 1159387"/>
                <a:gd name="connsiteY75" fmla="*/ 312290 h 606592"/>
                <a:gd name="connsiteX76" fmla="*/ 472890 w 1159387"/>
                <a:gd name="connsiteY76" fmla="*/ 208836 h 606592"/>
                <a:gd name="connsiteX77" fmla="*/ 368190 w 1159387"/>
                <a:gd name="connsiteY77" fmla="*/ 159530 h 606592"/>
                <a:gd name="connsiteX78" fmla="*/ 219228 w 1159387"/>
                <a:gd name="connsiteY78" fmla="*/ 323103 h 606592"/>
                <a:gd name="connsiteX79" fmla="*/ 375915 w 1159387"/>
                <a:gd name="connsiteY79" fmla="*/ 486674 h 606592"/>
                <a:gd name="connsiteX80" fmla="*/ 502398 w 1159387"/>
                <a:gd name="connsiteY80" fmla="*/ 450623 h 606592"/>
                <a:gd name="connsiteX81" fmla="*/ 505913 w 1159387"/>
                <a:gd name="connsiteY81" fmla="*/ 435907 h 606592"/>
                <a:gd name="connsiteX82" fmla="*/ 504818 w 1159387"/>
                <a:gd name="connsiteY82" fmla="*/ 434088 h 606592"/>
                <a:gd name="connsiteX83" fmla="*/ 478519 w 1159387"/>
                <a:gd name="connsiteY83" fmla="*/ 391689 h 606592"/>
                <a:gd name="connsiteX84" fmla="*/ 464460 w 1159387"/>
                <a:gd name="connsiteY84" fmla="*/ 388476 h 606592"/>
                <a:gd name="connsiteX85" fmla="*/ 377335 w 1159387"/>
                <a:gd name="connsiteY85" fmla="*/ 414990 h 606592"/>
                <a:gd name="connsiteX86" fmla="*/ 293714 w 1159387"/>
                <a:gd name="connsiteY86" fmla="*/ 350313 h 606592"/>
                <a:gd name="connsiteX87" fmla="*/ 430732 w 1159387"/>
                <a:gd name="connsiteY87" fmla="*/ 287912 h 606592"/>
                <a:gd name="connsiteX88" fmla="*/ 368190 w 1159387"/>
                <a:gd name="connsiteY88" fmla="*/ 232071 h 606592"/>
                <a:gd name="connsiteX89" fmla="*/ 296524 w 1159387"/>
                <a:gd name="connsiteY89" fmla="*/ 287912 h 606592"/>
                <a:gd name="connsiteX90" fmla="*/ 430732 w 1159387"/>
                <a:gd name="connsiteY90" fmla="*/ 287912 h 606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</a:cxnLst>
              <a:rect l="l" t="t" r="r" b="b"/>
              <a:pathLst>
                <a:path w="1159387" h="606592">
                  <a:moveTo>
                    <a:pt x="0" y="178242"/>
                  </a:moveTo>
                  <a:lnTo>
                    <a:pt x="0" y="237024"/>
                  </a:lnTo>
                  <a:cubicBezTo>
                    <a:pt x="695" y="241577"/>
                    <a:pt x="4220" y="245266"/>
                    <a:pt x="9135" y="246098"/>
                  </a:cubicBezTo>
                  <a:cubicBezTo>
                    <a:pt x="16869" y="247387"/>
                    <a:pt x="27404" y="249197"/>
                    <a:pt x="30214" y="250009"/>
                  </a:cubicBezTo>
                  <a:cubicBezTo>
                    <a:pt x="30833" y="250193"/>
                    <a:pt x="31518" y="250390"/>
                    <a:pt x="32261" y="250607"/>
                  </a:cubicBezTo>
                  <a:cubicBezTo>
                    <a:pt x="46749" y="254784"/>
                    <a:pt x="83697" y="265433"/>
                    <a:pt x="85030" y="319338"/>
                  </a:cubicBezTo>
                  <a:lnTo>
                    <a:pt x="85030" y="483817"/>
                  </a:lnTo>
                  <a:cubicBezTo>
                    <a:pt x="85030" y="516573"/>
                    <a:pt x="97670" y="547958"/>
                    <a:pt x="120863" y="570989"/>
                  </a:cubicBezTo>
                  <a:cubicBezTo>
                    <a:pt x="143342" y="593696"/>
                    <a:pt x="174261" y="606402"/>
                    <a:pt x="205874" y="606364"/>
                  </a:cubicBezTo>
                  <a:lnTo>
                    <a:pt x="207284" y="606364"/>
                  </a:lnTo>
                  <a:cubicBezTo>
                    <a:pt x="207284" y="606364"/>
                    <a:pt x="207284" y="606879"/>
                    <a:pt x="235964" y="606364"/>
                  </a:cubicBezTo>
                  <a:cubicBezTo>
                    <a:pt x="243232" y="606231"/>
                    <a:pt x="247461" y="601383"/>
                    <a:pt x="247356" y="593268"/>
                  </a:cubicBezTo>
                  <a:cubicBezTo>
                    <a:pt x="247222" y="582028"/>
                    <a:pt x="247527" y="573246"/>
                    <a:pt x="247337" y="563750"/>
                  </a:cubicBezTo>
                  <a:cubicBezTo>
                    <a:pt x="247184" y="555816"/>
                    <a:pt x="247337" y="548520"/>
                    <a:pt x="247337" y="541928"/>
                  </a:cubicBezTo>
                  <a:cubicBezTo>
                    <a:pt x="247337" y="535804"/>
                    <a:pt x="242422" y="530794"/>
                    <a:pt x="236802" y="530565"/>
                  </a:cubicBezTo>
                  <a:cubicBezTo>
                    <a:pt x="226258" y="530527"/>
                    <a:pt x="211504" y="530527"/>
                    <a:pt x="197454" y="530527"/>
                  </a:cubicBezTo>
                  <a:cubicBezTo>
                    <a:pt x="177071" y="530527"/>
                    <a:pt x="159506" y="513401"/>
                    <a:pt x="159506" y="492285"/>
                  </a:cubicBezTo>
                  <a:lnTo>
                    <a:pt x="159506" y="403084"/>
                  </a:lnTo>
                  <a:cubicBezTo>
                    <a:pt x="160202" y="402874"/>
                    <a:pt x="159506" y="317750"/>
                    <a:pt x="159506" y="316772"/>
                  </a:cubicBezTo>
                  <a:cubicBezTo>
                    <a:pt x="157544" y="243958"/>
                    <a:pt x="109233" y="212964"/>
                    <a:pt x="100365" y="207274"/>
                  </a:cubicBezTo>
                  <a:cubicBezTo>
                    <a:pt x="99708" y="206855"/>
                    <a:pt x="99270" y="206569"/>
                    <a:pt x="99080" y="206423"/>
                  </a:cubicBezTo>
                  <a:cubicBezTo>
                    <a:pt x="99270" y="206264"/>
                    <a:pt x="99708" y="205979"/>
                    <a:pt x="100356" y="205547"/>
                  </a:cubicBezTo>
                  <a:cubicBezTo>
                    <a:pt x="109395" y="199604"/>
                    <a:pt x="159506" y="166622"/>
                    <a:pt x="159506" y="90665"/>
                  </a:cubicBezTo>
                  <a:lnTo>
                    <a:pt x="159506" y="10992"/>
                  </a:lnTo>
                  <a:cubicBezTo>
                    <a:pt x="159506" y="4922"/>
                    <a:pt x="155287" y="0"/>
                    <a:pt x="148962" y="0"/>
                  </a:cubicBezTo>
                  <a:lnTo>
                    <a:pt x="95565" y="0"/>
                  </a:lnTo>
                  <a:cubicBezTo>
                    <a:pt x="89945" y="0"/>
                    <a:pt x="85030" y="4922"/>
                    <a:pt x="85030" y="10992"/>
                  </a:cubicBezTo>
                  <a:lnTo>
                    <a:pt x="85030" y="90665"/>
                  </a:lnTo>
                  <a:cubicBezTo>
                    <a:pt x="85030" y="147350"/>
                    <a:pt x="47054" y="158469"/>
                    <a:pt x="32366" y="162761"/>
                  </a:cubicBezTo>
                  <a:cubicBezTo>
                    <a:pt x="31576" y="162997"/>
                    <a:pt x="30861" y="163206"/>
                    <a:pt x="30214" y="163402"/>
                  </a:cubicBezTo>
                  <a:cubicBezTo>
                    <a:pt x="27404" y="164209"/>
                    <a:pt x="16869" y="166026"/>
                    <a:pt x="9135" y="167302"/>
                  </a:cubicBezTo>
                  <a:cubicBezTo>
                    <a:pt x="3515" y="168248"/>
                    <a:pt x="0" y="172858"/>
                    <a:pt x="0" y="178242"/>
                  </a:cubicBezTo>
                  <a:close/>
                  <a:moveTo>
                    <a:pt x="933768" y="313343"/>
                  </a:moveTo>
                  <a:lnTo>
                    <a:pt x="933768" y="468558"/>
                  </a:lnTo>
                  <a:cubicBezTo>
                    <a:pt x="933768" y="471320"/>
                    <a:pt x="932682" y="473949"/>
                    <a:pt x="930749" y="475902"/>
                  </a:cubicBezTo>
                  <a:cubicBezTo>
                    <a:pt x="928825" y="477845"/>
                    <a:pt x="926206" y="478940"/>
                    <a:pt x="923472" y="478940"/>
                  </a:cubicBezTo>
                  <a:cubicBezTo>
                    <a:pt x="909270" y="478921"/>
                    <a:pt x="883819" y="478912"/>
                    <a:pt x="869627" y="478902"/>
                  </a:cubicBezTo>
                  <a:cubicBezTo>
                    <a:pt x="863950" y="478893"/>
                    <a:pt x="859349" y="474254"/>
                    <a:pt x="859349" y="468530"/>
                  </a:cubicBezTo>
                  <a:cubicBezTo>
                    <a:pt x="859349" y="405427"/>
                    <a:pt x="859349" y="73513"/>
                    <a:pt x="859349" y="10375"/>
                  </a:cubicBezTo>
                  <a:cubicBezTo>
                    <a:pt x="859349" y="4648"/>
                    <a:pt x="863959" y="0"/>
                    <a:pt x="869636" y="0"/>
                  </a:cubicBezTo>
                  <a:cubicBezTo>
                    <a:pt x="883838" y="0"/>
                    <a:pt x="909279" y="0"/>
                    <a:pt x="923472" y="0"/>
                  </a:cubicBezTo>
                  <a:cubicBezTo>
                    <a:pt x="929158" y="0"/>
                    <a:pt x="933768" y="4648"/>
                    <a:pt x="933768" y="10375"/>
                  </a:cubicBezTo>
                  <a:cubicBezTo>
                    <a:pt x="933768" y="50513"/>
                    <a:pt x="933768" y="193355"/>
                    <a:pt x="933768" y="193355"/>
                  </a:cubicBezTo>
                  <a:cubicBezTo>
                    <a:pt x="1013169" y="118433"/>
                    <a:pt x="1159388" y="172318"/>
                    <a:pt x="1159388" y="312995"/>
                  </a:cubicBezTo>
                  <a:lnTo>
                    <a:pt x="1159388" y="468520"/>
                  </a:lnTo>
                  <a:cubicBezTo>
                    <a:pt x="1159388" y="471273"/>
                    <a:pt x="1158302" y="473911"/>
                    <a:pt x="1156378" y="475854"/>
                  </a:cubicBezTo>
                  <a:cubicBezTo>
                    <a:pt x="1154445" y="477797"/>
                    <a:pt x="1151835" y="478893"/>
                    <a:pt x="1149101" y="478893"/>
                  </a:cubicBezTo>
                  <a:cubicBezTo>
                    <a:pt x="1134899" y="478893"/>
                    <a:pt x="1109401" y="478893"/>
                    <a:pt x="1095199" y="478893"/>
                  </a:cubicBezTo>
                  <a:cubicBezTo>
                    <a:pt x="1092465" y="478893"/>
                    <a:pt x="1089855" y="477797"/>
                    <a:pt x="1087922" y="475854"/>
                  </a:cubicBezTo>
                  <a:cubicBezTo>
                    <a:pt x="1085998" y="473911"/>
                    <a:pt x="1084912" y="471273"/>
                    <a:pt x="1084912" y="468520"/>
                  </a:cubicBezTo>
                  <a:cubicBezTo>
                    <a:pt x="1084912" y="432211"/>
                    <a:pt x="1084912" y="312995"/>
                    <a:pt x="1084912" y="312995"/>
                  </a:cubicBezTo>
                  <a:cubicBezTo>
                    <a:pt x="1084912" y="239513"/>
                    <a:pt x="1011121" y="217047"/>
                    <a:pt x="966868" y="246504"/>
                  </a:cubicBezTo>
                  <a:cubicBezTo>
                    <a:pt x="947885" y="259141"/>
                    <a:pt x="933768" y="281804"/>
                    <a:pt x="933768" y="313343"/>
                  </a:cubicBezTo>
                  <a:close/>
                  <a:moveTo>
                    <a:pt x="596563" y="207040"/>
                  </a:moveTo>
                  <a:cubicBezTo>
                    <a:pt x="564235" y="238922"/>
                    <a:pt x="549471" y="280953"/>
                    <a:pt x="549471" y="323084"/>
                  </a:cubicBezTo>
                  <a:cubicBezTo>
                    <a:pt x="549471" y="365223"/>
                    <a:pt x="564235" y="407246"/>
                    <a:pt x="596563" y="439145"/>
                  </a:cubicBezTo>
                  <a:cubicBezTo>
                    <a:pt x="650665" y="494085"/>
                    <a:pt x="734285" y="501400"/>
                    <a:pt x="797522" y="460995"/>
                  </a:cubicBezTo>
                  <a:cubicBezTo>
                    <a:pt x="798208" y="460481"/>
                    <a:pt x="799037" y="459938"/>
                    <a:pt x="799923" y="459357"/>
                  </a:cubicBezTo>
                  <a:cubicBezTo>
                    <a:pt x="801761" y="458147"/>
                    <a:pt x="803828" y="456795"/>
                    <a:pt x="805247" y="455385"/>
                  </a:cubicBezTo>
                  <a:cubicBezTo>
                    <a:pt x="808762" y="451909"/>
                    <a:pt x="810762" y="445470"/>
                    <a:pt x="806018" y="438745"/>
                  </a:cubicBezTo>
                  <a:cubicBezTo>
                    <a:pt x="801761" y="432697"/>
                    <a:pt x="796170" y="425153"/>
                    <a:pt x="790226" y="417067"/>
                  </a:cubicBezTo>
                  <a:cubicBezTo>
                    <a:pt x="785121" y="410132"/>
                    <a:pt x="780339" y="403665"/>
                    <a:pt x="776110" y="397747"/>
                  </a:cubicBezTo>
                  <a:cubicBezTo>
                    <a:pt x="772671" y="392947"/>
                    <a:pt x="765890" y="391664"/>
                    <a:pt x="760975" y="394585"/>
                  </a:cubicBezTo>
                  <a:cubicBezTo>
                    <a:pt x="759565" y="395461"/>
                    <a:pt x="758393" y="396172"/>
                    <a:pt x="757003" y="397067"/>
                  </a:cubicBezTo>
                  <a:cubicBezTo>
                    <a:pt x="686032" y="442936"/>
                    <a:pt x="619737" y="382374"/>
                    <a:pt x="619737" y="323084"/>
                  </a:cubicBezTo>
                  <a:cubicBezTo>
                    <a:pt x="619737" y="263795"/>
                    <a:pt x="687384" y="203573"/>
                    <a:pt x="756945" y="249203"/>
                  </a:cubicBezTo>
                  <a:cubicBezTo>
                    <a:pt x="758308" y="250105"/>
                    <a:pt x="759565" y="250708"/>
                    <a:pt x="760975" y="251591"/>
                  </a:cubicBezTo>
                  <a:cubicBezTo>
                    <a:pt x="765890" y="254512"/>
                    <a:pt x="772805" y="253115"/>
                    <a:pt x="776148" y="248416"/>
                  </a:cubicBezTo>
                  <a:cubicBezTo>
                    <a:pt x="780377" y="242497"/>
                    <a:pt x="785102" y="236065"/>
                    <a:pt x="790207" y="229138"/>
                  </a:cubicBezTo>
                  <a:cubicBezTo>
                    <a:pt x="795560" y="221854"/>
                    <a:pt x="800580" y="215072"/>
                    <a:pt x="804618" y="209395"/>
                  </a:cubicBezTo>
                  <a:cubicBezTo>
                    <a:pt x="811362" y="199928"/>
                    <a:pt x="809571" y="193191"/>
                    <a:pt x="799903" y="186809"/>
                  </a:cubicBezTo>
                  <a:cubicBezTo>
                    <a:pt x="799027" y="186231"/>
                    <a:pt x="798199" y="185691"/>
                    <a:pt x="797522" y="185195"/>
                  </a:cubicBezTo>
                  <a:cubicBezTo>
                    <a:pt x="734285" y="144778"/>
                    <a:pt x="650665" y="152087"/>
                    <a:pt x="596563" y="207040"/>
                  </a:cubicBezTo>
                  <a:close/>
                  <a:moveTo>
                    <a:pt x="293714" y="350313"/>
                  </a:moveTo>
                  <a:lnTo>
                    <a:pt x="469385" y="350313"/>
                  </a:lnTo>
                  <a:cubicBezTo>
                    <a:pt x="490463" y="350313"/>
                    <a:pt x="507323" y="333283"/>
                    <a:pt x="507323" y="312290"/>
                  </a:cubicBezTo>
                  <a:cubicBezTo>
                    <a:pt x="507323" y="265561"/>
                    <a:pt x="499588" y="240644"/>
                    <a:pt x="472890" y="208836"/>
                  </a:cubicBezTo>
                  <a:cubicBezTo>
                    <a:pt x="445486" y="176865"/>
                    <a:pt x="401919" y="159530"/>
                    <a:pt x="368190" y="159530"/>
                  </a:cubicBezTo>
                  <a:cubicBezTo>
                    <a:pt x="283875" y="159530"/>
                    <a:pt x="219228" y="231722"/>
                    <a:pt x="219228" y="323103"/>
                  </a:cubicBezTo>
                  <a:cubicBezTo>
                    <a:pt x="219228" y="435697"/>
                    <a:pt x="306354" y="486674"/>
                    <a:pt x="375915" y="486674"/>
                  </a:cubicBezTo>
                  <a:cubicBezTo>
                    <a:pt x="425807" y="486674"/>
                    <a:pt x="464460" y="474616"/>
                    <a:pt x="502398" y="450623"/>
                  </a:cubicBezTo>
                  <a:cubicBezTo>
                    <a:pt x="506618" y="447470"/>
                    <a:pt x="508723" y="441003"/>
                    <a:pt x="505913" y="435907"/>
                  </a:cubicBezTo>
                  <a:lnTo>
                    <a:pt x="504818" y="434088"/>
                  </a:lnTo>
                  <a:cubicBezTo>
                    <a:pt x="497150" y="421362"/>
                    <a:pt x="486558" y="403789"/>
                    <a:pt x="478519" y="391689"/>
                  </a:cubicBezTo>
                  <a:cubicBezTo>
                    <a:pt x="475709" y="386901"/>
                    <a:pt x="469385" y="385492"/>
                    <a:pt x="464460" y="388476"/>
                  </a:cubicBezTo>
                  <a:cubicBezTo>
                    <a:pt x="440571" y="402722"/>
                    <a:pt x="415273" y="415266"/>
                    <a:pt x="377335" y="414990"/>
                  </a:cubicBezTo>
                  <a:cubicBezTo>
                    <a:pt x="342197" y="414742"/>
                    <a:pt x="304954" y="392280"/>
                    <a:pt x="293714" y="350313"/>
                  </a:cubicBezTo>
                  <a:close/>
                  <a:moveTo>
                    <a:pt x="430732" y="287912"/>
                  </a:moveTo>
                  <a:cubicBezTo>
                    <a:pt x="424407" y="240694"/>
                    <a:pt x="392079" y="232071"/>
                    <a:pt x="368190" y="232071"/>
                  </a:cubicBezTo>
                  <a:cubicBezTo>
                    <a:pt x="335872" y="232071"/>
                    <a:pt x="308478" y="256182"/>
                    <a:pt x="296524" y="287912"/>
                  </a:cubicBezTo>
                  <a:lnTo>
                    <a:pt x="430732" y="287912"/>
                  </a:lnTo>
                  <a:close/>
                </a:path>
              </a:pathLst>
            </a:custGeom>
            <a:grpFill/>
            <a:ln w="76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7" name="Полилиния 6">
              <a:extLst>
                <a:ext uri="{FF2B5EF4-FFF2-40B4-BE49-F238E27FC236}">
                  <a16:creationId xmlns:a16="http://schemas.microsoft.com/office/drawing/2014/main" id="{B898C728-5E02-E127-800E-915A6CED6D5D}"/>
                </a:ext>
              </a:extLst>
            </p:cNvPr>
            <p:cNvSpPr/>
            <p:nvPr/>
          </p:nvSpPr>
          <p:spPr>
            <a:xfrm>
              <a:off x="8489504" y="1070894"/>
              <a:ext cx="1492273" cy="326563"/>
            </a:xfrm>
            <a:custGeom>
              <a:avLst/>
              <a:gdLst>
                <a:gd name="connsiteX0" fmla="*/ 180273 w 1492273"/>
                <a:gd name="connsiteY0" fmla="*/ 900 h 326563"/>
                <a:gd name="connsiteX1" fmla="*/ 83526 w 1492273"/>
                <a:gd name="connsiteY1" fmla="*/ 20775 h 326563"/>
                <a:gd name="connsiteX2" fmla="*/ 15954 w 1492273"/>
                <a:gd name="connsiteY2" fmla="*/ 92853 h 326563"/>
                <a:gd name="connsiteX3" fmla="*/ 2323 w 1492273"/>
                <a:gd name="connsiteY3" fmla="*/ 190737 h 326563"/>
                <a:gd name="connsiteX4" fmla="*/ 47618 w 1492273"/>
                <a:gd name="connsiteY4" fmla="*/ 278557 h 326563"/>
                <a:gd name="connsiteX5" fmla="*/ 135243 w 1492273"/>
                <a:gd name="connsiteY5" fmla="*/ 324153 h 326563"/>
                <a:gd name="connsiteX6" fmla="*/ 233098 w 1492273"/>
                <a:gd name="connsiteY6" fmla="*/ 310818 h 326563"/>
                <a:gd name="connsiteX7" fmla="*/ 305341 w 1492273"/>
                <a:gd name="connsiteY7" fmla="*/ 243429 h 326563"/>
                <a:gd name="connsiteX8" fmla="*/ 325507 w 1492273"/>
                <a:gd name="connsiteY8" fmla="*/ 146675 h 326563"/>
                <a:gd name="connsiteX9" fmla="*/ 278778 w 1492273"/>
                <a:gd name="connsiteY9" fmla="*/ 47965 h 326563"/>
                <a:gd name="connsiteX10" fmla="*/ 180273 w 1492273"/>
                <a:gd name="connsiteY10" fmla="*/ 900 h 326563"/>
                <a:gd name="connsiteX11" fmla="*/ 174984 w 1492273"/>
                <a:gd name="connsiteY11" fmla="*/ 249697 h 326563"/>
                <a:gd name="connsiteX12" fmla="*/ 122555 w 1492273"/>
                <a:gd name="connsiteY12" fmla="*/ 240277 h 326563"/>
                <a:gd name="connsiteX13" fmla="*/ 85427 w 1492273"/>
                <a:gd name="connsiteY13" fmla="*/ 202047 h 326563"/>
                <a:gd name="connsiteX14" fmla="*/ 77507 w 1492273"/>
                <a:gd name="connsiteY14" fmla="*/ 149329 h 326563"/>
                <a:gd name="connsiteX15" fmla="*/ 101766 w 1492273"/>
                <a:gd name="connsiteY15" fmla="*/ 101883 h 326563"/>
                <a:gd name="connsiteX16" fmla="*/ 149113 w 1492273"/>
                <a:gd name="connsiteY16" fmla="*/ 77461 h 326563"/>
                <a:gd name="connsiteX17" fmla="*/ 201825 w 1492273"/>
                <a:gd name="connsiteY17" fmla="*/ 85220 h 326563"/>
                <a:gd name="connsiteX18" fmla="*/ 240132 w 1492273"/>
                <a:gd name="connsiteY18" fmla="*/ 122247 h 326563"/>
                <a:gd name="connsiteX19" fmla="*/ 249714 w 1492273"/>
                <a:gd name="connsiteY19" fmla="*/ 174684 h 326563"/>
                <a:gd name="connsiteX20" fmla="*/ 225058 w 1492273"/>
                <a:gd name="connsiteY20" fmla="*/ 224868 h 326563"/>
                <a:gd name="connsiteX21" fmla="*/ 174984 w 1492273"/>
                <a:gd name="connsiteY21" fmla="*/ 249697 h 326563"/>
                <a:gd name="connsiteX22" fmla="*/ 412780 w 1492273"/>
                <a:gd name="connsiteY22" fmla="*/ 7358 h 326563"/>
                <a:gd name="connsiteX23" fmla="*/ 396435 w 1492273"/>
                <a:gd name="connsiteY23" fmla="*/ 11091 h 326563"/>
                <a:gd name="connsiteX24" fmla="*/ 383276 w 1492273"/>
                <a:gd name="connsiteY24" fmla="*/ 21498 h 326563"/>
                <a:gd name="connsiteX25" fmla="*/ 375859 w 1492273"/>
                <a:gd name="connsiteY25" fmla="*/ 36548 h 326563"/>
                <a:gd name="connsiteX26" fmla="*/ 375620 w 1492273"/>
                <a:gd name="connsiteY26" fmla="*/ 53325 h 326563"/>
                <a:gd name="connsiteX27" fmla="*/ 414209 w 1492273"/>
                <a:gd name="connsiteY27" fmla="*/ 83537 h 326563"/>
                <a:gd name="connsiteX28" fmla="*/ 520143 w 1492273"/>
                <a:gd name="connsiteY28" fmla="*/ 83537 h 326563"/>
                <a:gd name="connsiteX29" fmla="*/ 355289 w 1492273"/>
                <a:gd name="connsiteY29" fmla="*/ 301846 h 326563"/>
                <a:gd name="connsiteX30" fmla="*/ 353136 w 1492273"/>
                <a:gd name="connsiteY30" fmla="*/ 307389 h 326563"/>
                <a:gd name="connsiteX31" fmla="*/ 354212 w 1492273"/>
                <a:gd name="connsiteY31" fmla="*/ 313237 h 326563"/>
                <a:gd name="connsiteX32" fmla="*/ 358204 w 1492273"/>
                <a:gd name="connsiteY32" fmla="*/ 317647 h 326563"/>
                <a:gd name="connsiteX33" fmla="*/ 363921 w 1492273"/>
                <a:gd name="connsiteY33" fmla="*/ 319295 h 326563"/>
                <a:gd name="connsiteX34" fmla="*/ 622504 w 1492273"/>
                <a:gd name="connsiteY34" fmla="*/ 319295 h 326563"/>
                <a:gd name="connsiteX35" fmla="*/ 661099 w 1492273"/>
                <a:gd name="connsiteY35" fmla="*/ 289082 h 326563"/>
                <a:gd name="connsiteX36" fmla="*/ 660861 w 1492273"/>
                <a:gd name="connsiteY36" fmla="*/ 272299 h 326563"/>
                <a:gd name="connsiteX37" fmla="*/ 653451 w 1492273"/>
                <a:gd name="connsiteY37" fmla="*/ 257250 h 326563"/>
                <a:gd name="connsiteX38" fmla="*/ 640297 w 1492273"/>
                <a:gd name="connsiteY38" fmla="*/ 246849 h 326563"/>
                <a:gd name="connsiteX39" fmla="*/ 623952 w 1492273"/>
                <a:gd name="connsiteY39" fmla="*/ 243105 h 326563"/>
                <a:gd name="connsiteX40" fmla="*/ 494883 w 1492273"/>
                <a:gd name="connsiteY40" fmla="*/ 243105 h 326563"/>
                <a:gd name="connsiteX41" fmla="*/ 659613 w 1492273"/>
                <a:gd name="connsiteY41" fmla="*/ 24972 h 326563"/>
                <a:gd name="connsiteX42" fmla="*/ 661785 w 1492273"/>
                <a:gd name="connsiteY42" fmla="*/ 19371 h 326563"/>
                <a:gd name="connsiteX43" fmla="*/ 660690 w 1492273"/>
                <a:gd name="connsiteY43" fmla="*/ 13473 h 326563"/>
                <a:gd name="connsiteX44" fmla="*/ 656661 w 1492273"/>
                <a:gd name="connsiteY44" fmla="*/ 9021 h 326563"/>
                <a:gd name="connsiteX45" fmla="*/ 650888 w 1492273"/>
                <a:gd name="connsiteY45" fmla="*/ 7358 h 326563"/>
                <a:gd name="connsiteX46" fmla="*/ 412780 w 1492273"/>
                <a:gd name="connsiteY46" fmla="*/ 7358 h 326563"/>
                <a:gd name="connsiteX47" fmla="*/ 1446105 w 1492273"/>
                <a:gd name="connsiteY47" fmla="*/ 8240 h 326563"/>
                <a:gd name="connsiteX48" fmla="*/ 1424484 w 1492273"/>
                <a:gd name="connsiteY48" fmla="*/ 22127 h 326563"/>
                <a:gd name="connsiteX49" fmla="*/ 1416378 w 1492273"/>
                <a:gd name="connsiteY49" fmla="*/ 46473 h 326563"/>
                <a:gd name="connsiteX50" fmla="*/ 1416378 w 1492273"/>
                <a:gd name="connsiteY50" fmla="*/ 173313 h 326563"/>
                <a:gd name="connsiteX51" fmla="*/ 1210980 w 1492273"/>
                <a:gd name="connsiteY51" fmla="*/ 9758 h 326563"/>
                <a:gd name="connsiteX52" fmla="*/ 1205389 w 1492273"/>
                <a:gd name="connsiteY52" fmla="*/ 7453 h 326563"/>
                <a:gd name="connsiteX53" fmla="*/ 1199426 w 1492273"/>
                <a:gd name="connsiteY53" fmla="*/ 8482 h 326563"/>
                <a:gd name="connsiteX54" fmla="*/ 1194921 w 1492273"/>
                <a:gd name="connsiteY54" fmla="*/ 12520 h 326563"/>
                <a:gd name="connsiteX55" fmla="*/ 1193263 w 1492273"/>
                <a:gd name="connsiteY55" fmla="*/ 18343 h 326563"/>
                <a:gd name="connsiteX56" fmla="*/ 1193263 w 1492273"/>
                <a:gd name="connsiteY56" fmla="*/ 280243 h 326563"/>
                <a:gd name="connsiteX57" fmla="*/ 1201388 w 1492273"/>
                <a:gd name="connsiteY57" fmla="*/ 304589 h 326563"/>
                <a:gd name="connsiteX58" fmla="*/ 1222962 w 1492273"/>
                <a:gd name="connsiteY58" fmla="*/ 318486 h 326563"/>
                <a:gd name="connsiteX59" fmla="*/ 1239803 w 1492273"/>
                <a:gd name="connsiteY59" fmla="*/ 318362 h 326563"/>
                <a:gd name="connsiteX60" fmla="*/ 1254966 w 1492273"/>
                <a:gd name="connsiteY60" fmla="*/ 310961 h 326563"/>
                <a:gd name="connsiteX61" fmla="*/ 1265444 w 1492273"/>
                <a:gd name="connsiteY61" fmla="*/ 297721 h 326563"/>
                <a:gd name="connsiteX62" fmla="*/ 1269159 w 1492273"/>
                <a:gd name="connsiteY62" fmla="*/ 281272 h 326563"/>
                <a:gd name="connsiteX63" fmla="*/ 1269159 w 1492273"/>
                <a:gd name="connsiteY63" fmla="*/ 153323 h 326563"/>
                <a:gd name="connsiteX64" fmla="*/ 1474538 w 1492273"/>
                <a:gd name="connsiteY64" fmla="*/ 316885 h 326563"/>
                <a:gd name="connsiteX65" fmla="*/ 1480148 w 1492273"/>
                <a:gd name="connsiteY65" fmla="*/ 319190 h 326563"/>
                <a:gd name="connsiteX66" fmla="*/ 1486120 w 1492273"/>
                <a:gd name="connsiteY66" fmla="*/ 318162 h 326563"/>
                <a:gd name="connsiteX67" fmla="*/ 1490625 w 1492273"/>
                <a:gd name="connsiteY67" fmla="*/ 314123 h 326563"/>
                <a:gd name="connsiteX68" fmla="*/ 1492273 w 1492273"/>
                <a:gd name="connsiteY68" fmla="*/ 308303 h 326563"/>
                <a:gd name="connsiteX69" fmla="*/ 1492273 w 1492273"/>
                <a:gd name="connsiteY69" fmla="*/ 45444 h 326563"/>
                <a:gd name="connsiteX70" fmla="*/ 1488559 w 1492273"/>
                <a:gd name="connsiteY70" fmla="*/ 28985 h 326563"/>
                <a:gd name="connsiteX71" fmla="*/ 1478081 w 1492273"/>
                <a:gd name="connsiteY71" fmla="*/ 15759 h 326563"/>
                <a:gd name="connsiteX72" fmla="*/ 1462908 w 1492273"/>
                <a:gd name="connsiteY72" fmla="*/ 8354 h 326563"/>
                <a:gd name="connsiteX73" fmla="*/ 1446105 w 1492273"/>
                <a:gd name="connsiteY73" fmla="*/ 8240 h 326563"/>
                <a:gd name="connsiteX74" fmla="*/ 911265 w 1492273"/>
                <a:gd name="connsiteY74" fmla="*/ 76254 h 326563"/>
                <a:gd name="connsiteX75" fmla="*/ 1063066 w 1492273"/>
                <a:gd name="connsiteY75" fmla="*/ 163286 h 326563"/>
                <a:gd name="connsiteX76" fmla="*/ 911265 w 1492273"/>
                <a:gd name="connsiteY76" fmla="*/ 250325 h 326563"/>
                <a:gd name="connsiteX77" fmla="*/ 759483 w 1492273"/>
                <a:gd name="connsiteY77" fmla="*/ 163286 h 326563"/>
                <a:gd name="connsiteX78" fmla="*/ 911265 w 1492273"/>
                <a:gd name="connsiteY78" fmla="*/ 76254 h 326563"/>
                <a:gd name="connsiteX79" fmla="*/ 911265 w 1492273"/>
                <a:gd name="connsiteY79" fmla="*/ 67 h 326563"/>
                <a:gd name="connsiteX80" fmla="*/ 683578 w 1492273"/>
                <a:gd name="connsiteY80" fmla="*/ 163286 h 326563"/>
                <a:gd name="connsiteX81" fmla="*/ 911265 w 1492273"/>
                <a:gd name="connsiteY81" fmla="*/ 326506 h 326563"/>
                <a:gd name="connsiteX82" fmla="*/ 1138961 w 1492273"/>
                <a:gd name="connsiteY82" fmla="*/ 163286 h 326563"/>
                <a:gd name="connsiteX83" fmla="*/ 911265 w 1492273"/>
                <a:gd name="connsiteY83" fmla="*/ 67 h 3265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</a:cxnLst>
              <a:rect l="l" t="t" r="r" b="b"/>
              <a:pathLst>
                <a:path w="1492273" h="326563">
                  <a:moveTo>
                    <a:pt x="180273" y="900"/>
                  </a:moveTo>
                  <a:cubicBezTo>
                    <a:pt x="146739" y="-2638"/>
                    <a:pt x="112948" y="4310"/>
                    <a:pt x="83526" y="20775"/>
                  </a:cubicBezTo>
                  <a:cubicBezTo>
                    <a:pt x="54104" y="37240"/>
                    <a:pt x="30499" y="62424"/>
                    <a:pt x="15954" y="92853"/>
                  </a:cubicBezTo>
                  <a:cubicBezTo>
                    <a:pt x="1417" y="123295"/>
                    <a:pt x="-3344" y="157489"/>
                    <a:pt x="2323" y="190737"/>
                  </a:cubicBezTo>
                  <a:cubicBezTo>
                    <a:pt x="7990" y="223998"/>
                    <a:pt x="23812" y="254669"/>
                    <a:pt x="47618" y="278557"/>
                  </a:cubicBezTo>
                  <a:cubicBezTo>
                    <a:pt x="71412" y="302455"/>
                    <a:pt x="102030" y="318381"/>
                    <a:pt x="135243" y="324153"/>
                  </a:cubicBezTo>
                  <a:cubicBezTo>
                    <a:pt x="168455" y="329925"/>
                    <a:pt x="202644" y="325277"/>
                    <a:pt x="233098" y="310818"/>
                  </a:cubicBezTo>
                  <a:cubicBezTo>
                    <a:pt x="263559" y="296359"/>
                    <a:pt x="288801" y="272814"/>
                    <a:pt x="305341" y="243429"/>
                  </a:cubicBezTo>
                  <a:cubicBezTo>
                    <a:pt x="321894" y="214035"/>
                    <a:pt x="328933" y="180240"/>
                    <a:pt x="325507" y="146675"/>
                  </a:cubicBezTo>
                  <a:cubicBezTo>
                    <a:pt x="321736" y="109375"/>
                    <a:pt x="305234" y="74514"/>
                    <a:pt x="278778" y="47965"/>
                  </a:cubicBezTo>
                  <a:cubicBezTo>
                    <a:pt x="252327" y="21410"/>
                    <a:pt x="217534" y="4786"/>
                    <a:pt x="180273" y="900"/>
                  </a:cubicBezTo>
                  <a:close/>
                  <a:moveTo>
                    <a:pt x="174984" y="249697"/>
                  </a:moveTo>
                  <a:cubicBezTo>
                    <a:pt x="156946" y="252116"/>
                    <a:pt x="138617" y="248820"/>
                    <a:pt x="122555" y="240277"/>
                  </a:cubicBezTo>
                  <a:cubicBezTo>
                    <a:pt x="106488" y="231725"/>
                    <a:pt x="93505" y="218366"/>
                    <a:pt x="85427" y="202047"/>
                  </a:cubicBezTo>
                  <a:cubicBezTo>
                    <a:pt x="77349" y="185733"/>
                    <a:pt x="74579" y="167300"/>
                    <a:pt x="77507" y="149329"/>
                  </a:cubicBezTo>
                  <a:cubicBezTo>
                    <a:pt x="80440" y="131372"/>
                    <a:pt x="88922" y="114773"/>
                    <a:pt x="101766" y="101883"/>
                  </a:cubicBezTo>
                  <a:cubicBezTo>
                    <a:pt x="114610" y="88986"/>
                    <a:pt x="131176" y="80452"/>
                    <a:pt x="149113" y="77461"/>
                  </a:cubicBezTo>
                  <a:cubicBezTo>
                    <a:pt x="167057" y="74470"/>
                    <a:pt x="185493" y="77181"/>
                    <a:pt x="201825" y="85220"/>
                  </a:cubicBezTo>
                  <a:cubicBezTo>
                    <a:pt x="218145" y="93247"/>
                    <a:pt x="231543" y="106194"/>
                    <a:pt x="240132" y="122247"/>
                  </a:cubicBezTo>
                  <a:cubicBezTo>
                    <a:pt x="248725" y="138293"/>
                    <a:pt x="252068" y="156625"/>
                    <a:pt x="249714" y="174684"/>
                  </a:cubicBezTo>
                  <a:cubicBezTo>
                    <a:pt x="247233" y="193670"/>
                    <a:pt x="238569" y="211305"/>
                    <a:pt x="225058" y="224868"/>
                  </a:cubicBezTo>
                  <a:cubicBezTo>
                    <a:pt x="211546" y="238425"/>
                    <a:pt x="193948" y="247154"/>
                    <a:pt x="174984" y="249697"/>
                  </a:cubicBezTo>
                  <a:close/>
                  <a:moveTo>
                    <a:pt x="412780" y="7358"/>
                  </a:moveTo>
                  <a:cubicBezTo>
                    <a:pt x="407126" y="7370"/>
                    <a:pt x="401534" y="8646"/>
                    <a:pt x="396435" y="11091"/>
                  </a:cubicBezTo>
                  <a:cubicBezTo>
                    <a:pt x="391328" y="13536"/>
                    <a:pt x="386833" y="17092"/>
                    <a:pt x="383276" y="21498"/>
                  </a:cubicBezTo>
                  <a:cubicBezTo>
                    <a:pt x="379712" y="25899"/>
                    <a:pt x="377174" y="31042"/>
                    <a:pt x="375859" y="36548"/>
                  </a:cubicBezTo>
                  <a:cubicBezTo>
                    <a:pt x="374537" y="42053"/>
                    <a:pt x="374448" y="47787"/>
                    <a:pt x="375620" y="53325"/>
                  </a:cubicBezTo>
                  <a:cubicBezTo>
                    <a:pt x="379202" y="71282"/>
                    <a:pt x="395956" y="83537"/>
                    <a:pt x="414209" y="83537"/>
                  </a:cubicBezTo>
                  <a:lnTo>
                    <a:pt x="520143" y="83537"/>
                  </a:lnTo>
                  <a:lnTo>
                    <a:pt x="355289" y="301846"/>
                  </a:lnTo>
                  <a:cubicBezTo>
                    <a:pt x="354067" y="303455"/>
                    <a:pt x="353324" y="305379"/>
                    <a:pt x="353136" y="307389"/>
                  </a:cubicBezTo>
                  <a:cubicBezTo>
                    <a:pt x="352940" y="309399"/>
                    <a:pt x="353319" y="311428"/>
                    <a:pt x="354212" y="313237"/>
                  </a:cubicBezTo>
                  <a:cubicBezTo>
                    <a:pt x="355113" y="315047"/>
                    <a:pt x="356491" y="316581"/>
                    <a:pt x="358204" y="317647"/>
                  </a:cubicBezTo>
                  <a:cubicBezTo>
                    <a:pt x="359923" y="318714"/>
                    <a:pt x="361900" y="319286"/>
                    <a:pt x="363921" y="319295"/>
                  </a:cubicBezTo>
                  <a:lnTo>
                    <a:pt x="622504" y="319295"/>
                  </a:lnTo>
                  <a:cubicBezTo>
                    <a:pt x="640744" y="319295"/>
                    <a:pt x="657518" y="307037"/>
                    <a:pt x="661099" y="289082"/>
                  </a:cubicBezTo>
                  <a:cubicBezTo>
                    <a:pt x="662271" y="283539"/>
                    <a:pt x="662185" y="277805"/>
                    <a:pt x="660861" y="272299"/>
                  </a:cubicBezTo>
                  <a:cubicBezTo>
                    <a:pt x="659537" y="266794"/>
                    <a:pt x="657004" y="261650"/>
                    <a:pt x="653451" y="257250"/>
                  </a:cubicBezTo>
                  <a:cubicBezTo>
                    <a:pt x="649898" y="252849"/>
                    <a:pt x="645402" y="249297"/>
                    <a:pt x="640297" y="246849"/>
                  </a:cubicBezTo>
                  <a:cubicBezTo>
                    <a:pt x="635191" y="244391"/>
                    <a:pt x="629610" y="243115"/>
                    <a:pt x="623952" y="243105"/>
                  </a:cubicBezTo>
                  <a:lnTo>
                    <a:pt x="494883" y="243105"/>
                  </a:lnTo>
                  <a:lnTo>
                    <a:pt x="659613" y="24972"/>
                  </a:lnTo>
                  <a:cubicBezTo>
                    <a:pt x="660842" y="23340"/>
                    <a:pt x="661595" y="21403"/>
                    <a:pt x="661785" y="19371"/>
                  </a:cubicBezTo>
                  <a:cubicBezTo>
                    <a:pt x="661976" y="17340"/>
                    <a:pt x="661604" y="15295"/>
                    <a:pt x="660690" y="13473"/>
                  </a:cubicBezTo>
                  <a:cubicBezTo>
                    <a:pt x="659785" y="11637"/>
                    <a:pt x="658385" y="10101"/>
                    <a:pt x="656661" y="9021"/>
                  </a:cubicBezTo>
                  <a:cubicBezTo>
                    <a:pt x="654937" y="7942"/>
                    <a:pt x="652927" y="7363"/>
                    <a:pt x="650888" y="7358"/>
                  </a:cubicBezTo>
                  <a:lnTo>
                    <a:pt x="412780" y="7358"/>
                  </a:lnTo>
                  <a:close/>
                  <a:moveTo>
                    <a:pt x="1446105" y="8240"/>
                  </a:moveTo>
                  <a:cubicBezTo>
                    <a:pt x="1437514" y="10272"/>
                    <a:pt x="1429894" y="15174"/>
                    <a:pt x="1424484" y="22127"/>
                  </a:cubicBezTo>
                  <a:cubicBezTo>
                    <a:pt x="1419112" y="29080"/>
                    <a:pt x="1416254" y="37666"/>
                    <a:pt x="1416378" y="46473"/>
                  </a:cubicBezTo>
                  <a:lnTo>
                    <a:pt x="1416378" y="173313"/>
                  </a:lnTo>
                  <a:lnTo>
                    <a:pt x="1210980" y="9758"/>
                  </a:lnTo>
                  <a:cubicBezTo>
                    <a:pt x="1209361" y="8475"/>
                    <a:pt x="1207427" y="7675"/>
                    <a:pt x="1205389" y="7453"/>
                  </a:cubicBezTo>
                  <a:cubicBezTo>
                    <a:pt x="1203341" y="7230"/>
                    <a:pt x="1201274" y="7580"/>
                    <a:pt x="1199426" y="8482"/>
                  </a:cubicBezTo>
                  <a:cubicBezTo>
                    <a:pt x="1197569" y="9377"/>
                    <a:pt x="1196006" y="10773"/>
                    <a:pt x="1194921" y="12520"/>
                  </a:cubicBezTo>
                  <a:cubicBezTo>
                    <a:pt x="1193835" y="14273"/>
                    <a:pt x="1193254" y="16285"/>
                    <a:pt x="1193263" y="18343"/>
                  </a:cubicBezTo>
                  <a:lnTo>
                    <a:pt x="1193263" y="280243"/>
                  </a:lnTo>
                  <a:cubicBezTo>
                    <a:pt x="1193120" y="289054"/>
                    <a:pt x="1195987" y="297645"/>
                    <a:pt x="1201388" y="304589"/>
                  </a:cubicBezTo>
                  <a:cubicBezTo>
                    <a:pt x="1206789" y="311542"/>
                    <a:pt x="1214409" y="316447"/>
                    <a:pt x="1222962" y="318486"/>
                  </a:cubicBezTo>
                  <a:cubicBezTo>
                    <a:pt x="1228525" y="319714"/>
                    <a:pt x="1234288" y="319667"/>
                    <a:pt x="1239803" y="318362"/>
                  </a:cubicBezTo>
                  <a:cubicBezTo>
                    <a:pt x="1245346" y="317066"/>
                    <a:pt x="1250518" y="314533"/>
                    <a:pt x="1254966" y="310961"/>
                  </a:cubicBezTo>
                  <a:cubicBezTo>
                    <a:pt x="1259415" y="307389"/>
                    <a:pt x="1263006" y="302874"/>
                    <a:pt x="1265444" y="297721"/>
                  </a:cubicBezTo>
                  <a:cubicBezTo>
                    <a:pt x="1267882" y="292587"/>
                    <a:pt x="1269159" y="286958"/>
                    <a:pt x="1269159" y="281272"/>
                  </a:cubicBezTo>
                  <a:lnTo>
                    <a:pt x="1269159" y="153323"/>
                  </a:lnTo>
                  <a:lnTo>
                    <a:pt x="1474538" y="316885"/>
                  </a:lnTo>
                  <a:cubicBezTo>
                    <a:pt x="1476195" y="318171"/>
                    <a:pt x="1478138" y="318962"/>
                    <a:pt x="1480148" y="319190"/>
                  </a:cubicBezTo>
                  <a:cubicBezTo>
                    <a:pt x="1482224" y="319419"/>
                    <a:pt x="1484291" y="319057"/>
                    <a:pt x="1486120" y="318162"/>
                  </a:cubicBezTo>
                  <a:cubicBezTo>
                    <a:pt x="1487949" y="317266"/>
                    <a:pt x="1489530" y="315866"/>
                    <a:pt x="1490625" y="314123"/>
                  </a:cubicBezTo>
                  <a:cubicBezTo>
                    <a:pt x="1491721" y="312380"/>
                    <a:pt x="1492273" y="310361"/>
                    <a:pt x="1492273" y="308303"/>
                  </a:cubicBezTo>
                  <a:lnTo>
                    <a:pt x="1492273" y="45444"/>
                  </a:lnTo>
                  <a:cubicBezTo>
                    <a:pt x="1492273" y="39748"/>
                    <a:pt x="1490997" y="34123"/>
                    <a:pt x="1488559" y="28985"/>
                  </a:cubicBezTo>
                  <a:cubicBezTo>
                    <a:pt x="1486120" y="23848"/>
                    <a:pt x="1482529" y="19327"/>
                    <a:pt x="1478081" y="15759"/>
                  </a:cubicBezTo>
                  <a:cubicBezTo>
                    <a:pt x="1473633" y="12190"/>
                    <a:pt x="1468461" y="9656"/>
                    <a:pt x="1462908" y="8354"/>
                  </a:cubicBezTo>
                  <a:cubicBezTo>
                    <a:pt x="1457364" y="7059"/>
                    <a:pt x="1451649" y="7015"/>
                    <a:pt x="1446105" y="8240"/>
                  </a:cubicBezTo>
                  <a:close/>
                  <a:moveTo>
                    <a:pt x="911265" y="76254"/>
                  </a:moveTo>
                  <a:cubicBezTo>
                    <a:pt x="998152" y="76254"/>
                    <a:pt x="1063066" y="122196"/>
                    <a:pt x="1063066" y="163286"/>
                  </a:cubicBezTo>
                  <a:cubicBezTo>
                    <a:pt x="1063066" y="204383"/>
                    <a:pt x="998152" y="250325"/>
                    <a:pt x="911265" y="250325"/>
                  </a:cubicBezTo>
                  <a:cubicBezTo>
                    <a:pt x="824397" y="250325"/>
                    <a:pt x="759483" y="204383"/>
                    <a:pt x="759483" y="163286"/>
                  </a:cubicBezTo>
                  <a:cubicBezTo>
                    <a:pt x="759483" y="122196"/>
                    <a:pt x="824397" y="76254"/>
                    <a:pt x="911265" y="76254"/>
                  </a:cubicBezTo>
                  <a:close/>
                  <a:moveTo>
                    <a:pt x="911265" y="67"/>
                  </a:moveTo>
                  <a:cubicBezTo>
                    <a:pt x="785515" y="67"/>
                    <a:pt x="683578" y="73142"/>
                    <a:pt x="683578" y="163286"/>
                  </a:cubicBezTo>
                  <a:cubicBezTo>
                    <a:pt x="683578" y="253421"/>
                    <a:pt x="785515" y="326506"/>
                    <a:pt x="911265" y="326506"/>
                  </a:cubicBezTo>
                  <a:cubicBezTo>
                    <a:pt x="1037024" y="326506"/>
                    <a:pt x="1138961" y="253421"/>
                    <a:pt x="1138961" y="163286"/>
                  </a:cubicBezTo>
                  <a:cubicBezTo>
                    <a:pt x="1138961" y="73142"/>
                    <a:pt x="1037024" y="67"/>
                    <a:pt x="911265" y="67"/>
                  </a:cubicBezTo>
                  <a:close/>
                </a:path>
              </a:pathLst>
            </a:custGeom>
            <a:grpFill/>
            <a:ln w="76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9C6A208F-2A8F-8640-1889-7EF3989875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560661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33" imgH="233" progId="TCLayout.ActiveDocument.1">
                  <p:embed/>
                </p:oleObj>
              </mc:Choice>
              <mc:Fallback>
                <p:oleObj name="Слайд think-cell" r:id="rId3" imgW="233" imgH="233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9C6A208F-2A8F-8640-1889-7EF3989875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Объект 2">
            <a:extLst>
              <a:ext uri="{FF2B5EF4-FFF2-40B4-BE49-F238E27FC236}">
                <a16:creationId xmlns:a16="http://schemas.microsoft.com/office/drawing/2014/main" id="{91C59567-F70E-CC32-748F-63A920CFAA0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763" y="1520824"/>
            <a:ext cx="10910887" cy="4741864"/>
          </a:xfrm>
        </p:spPr>
        <p:txBody>
          <a:bodyPr/>
          <a:lstStyle>
            <a:lvl1pPr>
              <a:lnSpc>
                <a:spcPct val="100000"/>
              </a:lnSpc>
              <a:spcAft>
                <a:spcPts val="1200"/>
              </a:spcAft>
              <a:defRPr sz="2400"/>
            </a:lvl1pPr>
            <a:lvl2pPr>
              <a:lnSpc>
                <a:spcPct val="100000"/>
              </a:lnSpc>
              <a:spcAft>
                <a:spcPts val="1200"/>
              </a:spcAft>
              <a:defRPr sz="2400"/>
            </a:lvl2pPr>
            <a:lvl3pPr>
              <a:lnSpc>
                <a:spcPct val="100000"/>
              </a:lnSpc>
              <a:spcAft>
                <a:spcPts val="1200"/>
              </a:spcAft>
              <a:defRPr sz="2400"/>
            </a:lvl3pPr>
            <a:lvl4pPr>
              <a:lnSpc>
                <a:spcPct val="100000"/>
              </a:lnSpc>
              <a:spcAft>
                <a:spcPts val="1200"/>
              </a:spcAft>
              <a:defRPr sz="2400"/>
            </a:lvl4pPr>
            <a:lvl5pPr>
              <a:lnSpc>
                <a:spcPct val="100000"/>
              </a:lnSpc>
              <a:spcAft>
                <a:spcPts val="1200"/>
              </a:spcAft>
              <a:defRPr sz="24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1CD188B5-4A1B-CBD8-E7B6-3AA0E6DAFA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5099" y="420493"/>
            <a:ext cx="10910888" cy="78315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2000"/>
              </a:lnSpc>
              <a:defRPr sz="4400" spc="-30" baseline="0"/>
            </a:lvl1pPr>
          </a:lstStyle>
          <a:p>
            <a:r>
              <a:rPr lang="ru-RU" dirty="0"/>
              <a:t>Заголовок слайда в 1 строку</a:t>
            </a:r>
          </a:p>
        </p:txBody>
      </p:sp>
      <p:sp>
        <p:nvSpPr>
          <p:cNvPr id="38" name="Прямоугольник: скругленные углы 37">
            <a:extLst>
              <a:ext uri="{FF2B5EF4-FFF2-40B4-BE49-F238E27FC236}">
                <a16:creationId xmlns:a16="http://schemas.microsoft.com/office/drawing/2014/main" id="{7B5F198A-2559-F2F6-5327-6954972E8252}"/>
              </a:ext>
            </a:extLst>
          </p:cNvPr>
          <p:cNvSpPr/>
          <p:nvPr/>
        </p:nvSpPr>
        <p:spPr>
          <a:xfrm>
            <a:off x="-2138458" y="54865"/>
            <a:ext cx="1928241" cy="2826069"/>
          </a:xfrm>
          <a:prstGeom prst="roundRect">
            <a:avLst>
              <a:gd name="adj" fmla="val 5926"/>
            </a:avLst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9" name="Прямоугольник: скругленные верхние углы 38">
            <a:extLst>
              <a:ext uri="{FF2B5EF4-FFF2-40B4-BE49-F238E27FC236}">
                <a16:creationId xmlns:a16="http://schemas.microsoft.com/office/drawing/2014/main" id="{7F566F0E-F78F-3D2D-3421-869755AFA559}"/>
              </a:ext>
            </a:extLst>
          </p:cNvPr>
          <p:cNvSpPr/>
          <p:nvPr/>
        </p:nvSpPr>
        <p:spPr>
          <a:xfrm>
            <a:off x="-2136930" y="0"/>
            <a:ext cx="1926713" cy="2880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36000" rtlCol="0" anchor="ctr"/>
          <a:lstStyle/>
          <a:p>
            <a:pPr algn="ctr"/>
            <a:r>
              <a:rPr lang="ru-RU" sz="1100" b="1">
                <a:solidFill>
                  <a:schemeClr val="tx1"/>
                </a:solidFill>
              </a:rPr>
              <a:t>Размеры текста</a:t>
            </a:r>
          </a:p>
        </p:txBody>
      </p:sp>
      <p:graphicFrame>
        <p:nvGraphicFramePr>
          <p:cNvPr id="40" name="Таблица 46">
            <a:extLst>
              <a:ext uri="{FF2B5EF4-FFF2-40B4-BE49-F238E27FC236}">
                <a16:creationId xmlns:a16="http://schemas.microsoft.com/office/drawing/2014/main" id="{90C90852-1187-6692-C182-38F701835EF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42695781"/>
              </p:ext>
            </p:extLst>
          </p:nvPr>
        </p:nvGraphicFramePr>
        <p:xfrm>
          <a:off x="-2046114" y="312643"/>
          <a:ext cx="1958731" cy="2142000"/>
        </p:xfrm>
        <a:graphic>
          <a:graphicData uri="http://schemas.openxmlformats.org/drawingml/2006/table">
            <a:tbl>
              <a:tblPr/>
              <a:tblGrid>
                <a:gridCol w="532517">
                  <a:extLst>
                    <a:ext uri="{9D8B030D-6E8A-4147-A177-3AD203B41FA5}">
                      <a16:colId xmlns:a16="http://schemas.microsoft.com/office/drawing/2014/main" val="2594385797"/>
                    </a:ext>
                  </a:extLst>
                </a:gridCol>
                <a:gridCol w="1426214">
                  <a:extLst>
                    <a:ext uri="{9D8B030D-6E8A-4147-A177-3AD203B41FA5}">
                      <a16:colId xmlns:a16="http://schemas.microsoft.com/office/drawing/2014/main" val="1017723076"/>
                    </a:ext>
                  </a:extLst>
                </a:gridCol>
              </a:tblGrid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en-US" sz="1200" b="1"/>
                        <a:t>5</a:t>
                      </a:r>
                      <a:r>
                        <a:rPr lang="ru-RU" sz="1200" b="1"/>
                        <a:t>4+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0" spc="-40" baseline="0"/>
                        <a:t>акцентные цифр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8329665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en-US" sz="1200" b="1"/>
                        <a:t>44</a:t>
                      </a:r>
                      <a:endParaRPr lang="ru-RU" sz="1200" b="1"/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заголовки и самые </a:t>
                      </a:r>
                      <a:br>
                        <a:rPr lang="ru-RU" sz="1000" spc="-40" baseline="0"/>
                      </a:br>
                      <a:r>
                        <a:rPr lang="ru-RU" sz="1000" spc="-40" baseline="0"/>
                        <a:t>важные данные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17697917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en-US" sz="1200" b="1"/>
                        <a:t>32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en-US" sz="1200" b="1"/>
                        <a:t>24</a:t>
                      </a:r>
                      <a:endParaRPr lang="ru-RU" sz="1200" b="1"/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подзаголовки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72780009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en-US" sz="1200" b="1"/>
                        <a:t>24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</a:t>
                      </a:r>
                      <a:r>
                        <a:rPr lang="en-US" sz="1200" b="1"/>
                        <a:t>8</a:t>
                      </a:r>
                      <a:endParaRPr lang="ru-RU" sz="1200" b="1"/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основной текст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0685745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</a:t>
                      </a:r>
                      <a:r>
                        <a:rPr lang="en-US" sz="1200" b="1">
                          <a:solidFill>
                            <a:schemeClr val="tx1"/>
                          </a:solidFill>
                        </a:rPr>
                        <a:t>8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</a:t>
                      </a:r>
                      <a:r>
                        <a:rPr lang="en-US" sz="1200" b="1">
                          <a:solidFill>
                            <a:schemeClr val="tx1"/>
                          </a:solidFill>
                        </a:rPr>
                        <a:t>4</a:t>
                      </a:r>
                      <a:endParaRPr lang="ru-RU" sz="1200" b="1">
                        <a:solidFill>
                          <a:schemeClr val="tx1"/>
                        </a:solidFill>
                      </a:endParaRP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торой уровень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текста (менее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ажная информация)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1997433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</a:t>
                      </a:r>
                      <a:r>
                        <a:rPr lang="en-US" sz="1200" b="1">
                          <a:solidFill>
                            <a:schemeClr val="tx1"/>
                          </a:solidFill>
                        </a:rPr>
                        <a:t>2</a:t>
                      </a:r>
                      <a:endParaRPr lang="ru-RU" sz="1200" b="1">
                        <a:solidFill>
                          <a:schemeClr val="tx1"/>
                        </a:solidFill>
                      </a:endParaRP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сноски, пояснения, </a:t>
                      </a:r>
                      <a:br>
                        <a:rPr lang="en-US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большие таблиц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76660845"/>
                  </a:ext>
                </a:extLst>
              </a:tr>
            </a:tbl>
          </a:graphicData>
        </a:graphic>
      </p:graphicFrame>
      <p:sp>
        <p:nvSpPr>
          <p:cNvPr id="41" name="Полилиния: фигура 40">
            <a:extLst>
              <a:ext uri="{FF2B5EF4-FFF2-40B4-BE49-F238E27FC236}">
                <a16:creationId xmlns:a16="http://schemas.microsoft.com/office/drawing/2014/main" id="{16881EB9-3774-1E79-046E-FF7CB7E5BD88}"/>
              </a:ext>
            </a:extLst>
          </p:cNvPr>
          <p:cNvSpPr/>
          <p:nvPr/>
        </p:nvSpPr>
        <p:spPr>
          <a:xfrm>
            <a:off x="-2004344" y="2488864"/>
            <a:ext cx="216624" cy="228657"/>
          </a:xfrm>
          <a:custGeom>
            <a:avLst/>
            <a:gdLst>
              <a:gd name="connsiteX0" fmla="*/ 72536 w 171450"/>
              <a:gd name="connsiteY0" fmla="*/ 162210 h 180974"/>
              <a:gd name="connsiteX1" fmla="*/ 98923 w 171450"/>
              <a:gd name="connsiteY1" fmla="*/ 162210 h 180974"/>
              <a:gd name="connsiteX2" fmla="*/ 103600 w 171450"/>
              <a:gd name="connsiteY2" fmla="*/ 172160 h 180974"/>
              <a:gd name="connsiteX3" fmla="*/ 85726 w 171450"/>
              <a:gd name="connsiteY3" fmla="*/ 180974 h 180974"/>
              <a:gd name="connsiteX4" fmla="*/ 67852 w 171450"/>
              <a:gd name="connsiteY4" fmla="*/ 172160 h 180974"/>
              <a:gd name="connsiteX5" fmla="*/ 72536 w 171450"/>
              <a:gd name="connsiteY5" fmla="*/ 162210 h 180974"/>
              <a:gd name="connsiteX6" fmla="*/ 152400 w 171450"/>
              <a:gd name="connsiteY6" fmla="*/ 76200 h 180974"/>
              <a:gd name="connsiteX7" fmla="*/ 161925 w 171450"/>
              <a:gd name="connsiteY7" fmla="*/ 76200 h 180974"/>
              <a:gd name="connsiteX8" fmla="*/ 171450 w 171450"/>
              <a:gd name="connsiteY8" fmla="*/ 85725 h 180974"/>
              <a:gd name="connsiteX9" fmla="*/ 161925 w 171450"/>
              <a:gd name="connsiteY9" fmla="*/ 95250 h 180974"/>
              <a:gd name="connsiteX10" fmla="*/ 152400 w 171450"/>
              <a:gd name="connsiteY10" fmla="*/ 95250 h 180974"/>
              <a:gd name="connsiteX11" fmla="*/ 142875 w 171450"/>
              <a:gd name="connsiteY11" fmla="*/ 85725 h 180974"/>
              <a:gd name="connsiteX12" fmla="*/ 152400 w 171450"/>
              <a:gd name="connsiteY12" fmla="*/ 76200 h 180974"/>
              <a:gd name="connsiteX13" fmla="*/ 9525 w 171450"/>
              <a:gd name="connsiteY13" fmla="*/ 76200 h 180974"/>
              <a:gd name="connsiteX14" fmla="*/ 19050 w 171450"/>
              <a:gd name="connsiteY14" fmla="*/ 76200 h 180974"/>
              <a:gd name="connsiteX15" fmla="*/ 28575 w 171450"/>
              <a:gd name="connsiteY15" fmla="*/ 85725 h 180974"/>
              <a:gd name="connsiteX16" fmla="*/ 19050 w 171450"/>
              <a:gd name="connsiteY16" fmla="*/ 95250 h 180974"/>
              <a:gd name="connsiteX17" fmla="*/ 9525 w 171450"/>
              <a:gd name="connsiteY17" fmla="*/ 95250 h 180974"/>
              <a:gd name="connsiteX18" fmla="*/ 0 w 171450"/>
              <a:gd name="connsiteY18" fmla="*/ 85725 h 180974"/>
              <a:gd name="connsiteX19" fmla="*/ 9525 w 171450"/>
              <a:gd name="connsiteY19" fmla="*/ 76200 h 180974"/>
              <a:gd name="connsiteX20" fmla="*/ 85725 w 171450"/>
              <a:gd name="connsiteY20" fmla="*/ 38100 h 180974"/>
              <a:gd name="connsiteX21" fmla="*/ 133350 w 171450"/>
              <a:gd name="connsiteY21" fmla="*/ 85725 h 180974"/>
              <a:gd name="connsiteX22" fmla="*/ 123174 w 171450"/>
              <a:gd name="connsiteY22" fmla="*/ 114596 h 180974"/>
              <a:gd name="connsiteX23" fmla="*/ 114300 w 171450"/>
              <a:gd name="connsiteY23" fmla="*/ 138113 h 180974"/>
              <a:gd name="connsiteX24" fmla="*/ 85725 w 171450"/>
              <a:gd name="connsiteY24" fmla="*/ 152400 h 180974"/>
              <a:gd name="connsiteX25" fmla="*/ 57150 w 171450"/>
              <a:gd name="connsiteY25" fmla="*/ 138113 h 180974"/>
              <a:gd name="connsiteX26" fmla="*/ 48275 w 171450"/>
              <a:gd name="connsiteY26" fmla="*/ 114596 h 180974"/>
              <a:gd name="connsiteX27" fmla="*/ 38100 w 171450"/>
              <a:gd name="connsiteY27" fmla="*/ 85725 h 180974"/>
              <a:gd name="connsiteX28" fmla="*/ 85725 w 171450"/>
              <a:gd name="connsiteY28" fmla="*/ 38100 h 180974"/>
              <a:gd name="connsiteX29" fmla="*/ 136141 w 171450"/>
              <a:gd name="connsiteY29" fmla="*/ 21840 h 180974"/>
              <a:gd name="connsiteX30" fmla="*/ 149611 w 171450"/>
              <a:gd name="connsiteY30" fmla="*/ 21840 h 180974"/>
              <a:gd name="connsiteX31" fmla="*/ 149611 w 171450"/>
              <a:gd name="connsiteY31" fmla="*/ 35310 h 180974"/>
              <a:gd name="connsiteX32" fmla="*/ 140086 w 171450"/>
              <a:gd name="connsiteY32" fmla="*/ 44835 h 180974"/>
              <a:gd name="connsiteX33" fmla="*/ 126616 w 171450"/>
              <a:gd name="connsiteY33" fmla="*/ 44835 h 180974"/>
              <a:gd name="connsiteX34" fmla="*/ 126616 w 171450"/>
              <a:gd name="connsiteY34" fmla="*/ 31365 h 180974"/>
              <a:gd name="connsiteX35" fmla="*/ 21840 w 171450"/>
              <a:gd name="connsiteY35" fmla="*/ 21840 h 180974"/>
              <a:gd name="connsiteX36" fmla="*/ 35310 w 171450"/>
              <a:gd name="connsiteY36" fmla="*/ 21840 h 180974"/>
              <a:gd name="connsiteX37" fmla="*/ 44835 w 171450"/>
              <a:gd name="connsiteY37" fmla="*/ 31365 h 180974"/>
              <a:gd name="connsiteX38" fmla="*/ 44835 w 171450"/>
              <a:gd name="connsiteY38" fmla="*/ 44835 h 180974"/>
              <a:gd name="connsiteX39" fmla="*/ 31365 w 171450"/>
              <a:gd name="connsiteY39" fmla="*/ 44835 h 180974"/>
              <a:gd name="connsiteX40" fmla="*/ 21840 w 171450"/>
              <a:gd name="connsiteY40" fmla="*/ 35310 h 180974"/>
              <a:gd name="connsiteX41" fmla="*/ 21840 w 171450"/>
              <a:gd name="connsiteY41" fmla="*/ 21840 h 180974"/>
              <a:gd name="connsiteX42" fmla="*/ 85725 w 171450"/>
              <a:gd name="connsiteY42" fmla="*/ 0 h 180974"/>
              <a:gd name="connsiteX43" fmla="*/ 95250 w 171450"/>
              <a:gd name="connsiteY43" fmla="*/ 9525 h 180974"/>
              <a:gd name="connsiteX44" fmla="*/ 95250 w 171450"/>
              <a:gd name="connsiteY44" fmla="*/ 19050 h 180974"/>
              <a:gd name="connsiteX45" fmla="*/ 85725 w 171450"/>
              <a:gd name="connsiteY45" fmla="*/ 28575 h 180974"/>
              <a:gd name="connsiteX46" fmla="*/ 76200 w 171450"/>
              <a:gd name="connsiteY46" fmla="*/ 19050 h 180974"/>
              <a:gd name="connsiteX47" fmla="*/ 76200 w 171450"/>
              <a:gd name="connsiteY47" fmla="*/ 9525 h 180974"/>
              <a:gd name="connsiteX48" fmla="*/ 85725 w 171450"/>
              <a:gd name="connsiteY48" fmla="*/ 0 h 18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1450" h="180974">
                <a:moveTo>
                  <a:pt x="72536" y="162210"/>
                </a:moveTo>
                <a:cubicBezTo>
                  <a:pt x="80449" y="164140"/>
                  <a:pt x="90933" y="164211"/>
                  <a:pt x="98923" y="162210"/>
                </a:cubicBezTo>
                <a:cubicBezTo>
                  <a:pt x="105617" y="160534"/>
                  <a:pt x="105617" y="166533"/>
                  <a:pt x="103600" y="172160"/>
                </a:cubicBezTo>
                <a:cubicBezTo>
                  <a:pt x="100950" y="179549"/>
                  <a:pt x="95451" y="180974"/>
                  <a:pt x="85726" y="180974"/>
                </a:cubicBezTo>
                <a:cubicBezTo>
                  <a:pt x="76000" y="180974"/>
                  <a:pt x="70501" y="179549"/>
                  <a:pt x="67852" y="172160"/>
                </a:cubicBezTo>
                <a:cubicBezTo>
                  <a:pt x="65835" y="166534"/>
                  <a:pt x="65835" y="160576"/>
                  <a:pt x="72536" y="162210"/>
                </a:cubicBezTo>
                <a:close/>
                <a:moveTo>
                  <a:pt x="152400" y="76200"/>
                </a:moveTo>
                <a:lnTo>
                  <a:pt x="161925" y="76200"/>
                </a:lnTo>
                <a:cubicBezTo>
                  <a:pt x="167186" y="76200"/>
                  <a:pt x="171450" y="80464"/>
                  <a:pt x="171450" y="85725"/>
                </a:cubicBezTo>
                <a:cubicBezTo>
                  <a:pt x="171450" y="90986"/>
                  <a:pt x="167186" y="95250"/>
                  <a:pt x="161925" y="95250"/>
                </a:cubicBezTo>
                <a:lnTo>
                  <a:pt x="152400" y="95250"/>
                </a:lnTo>
                <a:cubicBezTo>
                  <a:pt x="147139" y="95250"/>
                  <a:pt x="142875" y="90986"/>
                  <a:pt x="142875" y="85725"/>
                </a:cubicBezTo>
                <a:cubicBezTo>
                  <a:pt x="142875" y="80464"/>
                  <a:pt x="147139" y="76200"/>
                  <a:pt x="152400" y="76200"/>
                </a:cubicBezTo>
                <a:close/>
                <a:moveTo>
                  <a:pt x="9525" y="76200"/>
                </a:moveTo>
                <a:lnTo>
                  <a:pt x="19050" y="76200"/>
                </a:lnTo>
                <a:cubicBezTo>
                  <a:pt x="24310" y="76200"/>
                  <a:pt x="28575" y="80464"/>
                  <a:pt x="28575" y="85725"/>
                </a:cubicBezTo>
                <a:cubicBezTo>
                  <a:pt x="28575" y="90986"/>
                  <a:pt x="24310" y="95250"/>
                  <a:pt x="19050" y="95250"/>
                </a:cubicBezTo>
                <a:lnTo>
                  <a:pt x="9525" y="95250"/>
                </a:lnTo>
                <a:cubicBezTo>
                  <a:pt x="4265" y="95250"/>
                  <a:pt x="0" y="90986"/>
                  <a:pt x="0" y="85725"/>
                </a:cubicBezTo>
                <a:cubicBezTo>
                  <a:pt x="0" y="80464"/>
                  <a:pt x="4265" y="76200"/>
                  <a:pt x="9525" y="76200"/>
                </a:cubicBezTo>
                <a:close/>
                <a:moveTo>
                  <a:pt x="85725" y="38100"/>
                </a:moveTo>
                <a:cubicBezTo>
                  <a:pt x="112027" y="38100"/>
                  <a:pt x="133350" y="58671"/>
                  <a:pt x="133350" y="85725"/>
                </a:cubicBezTo>
                <a:cubicBezTo>
                  <a:pt x="133350" y="100663"/>
                  <a:pt x="128144" y="107793"/>
                  <a:pt x="123174" y="114596"/>
                </a:cubicBezTo>
                <a:cubicBezTo>
                  <a:pt x="118639" y="120807"/>
                  <a:pt x="114300" y="126748"/>
                  <a:pt x="114300" y="138113"/>
                </a:cubicBezTo>
                <a:cubicBezTo>
                  <a:pt x="114300" y="147638"/>
                  <a:pt x="104775" y="152400"/>
                  <a:pt x="85725" y="152400"/>
                </a:cubicBezTo>
                <a:cubicBezTo>
                  <a:pt x="66675" y="152400"/>
                  <a:pt x="57150" y="147638"/>
                  <a:pt x="57150" y="138113"/>
                </a:cubicBezTo>
                <a:cubicBezTo>
                  <a:pt x="57150" y="126748"/>
                  <a:pt x="52811" y="120807"/>
                  <a:pt x="48275" y="114596"/>
                </a:cubicBezTo>
                <a:cubicBezTo>
                  <a:pt x="43306" y="107793"/>
                  <a:pt x="38100" y="100663"/>
                  <a:pt x="38100" y="85725"/>
                </a:cubicBezTo>
                <a:cubicBezTo>
                  <a:pt x="38100" y="57150"/>
                  <a:pt x="59422" y="38100"/>
                  <a:pt x="85725" y="38100"/>
                </a:cubicBezTo>
                <a:close/>
                <a:moveTo>
                  <a:pt x="136141" y="21840"/>
                </a:moveTo>
                <a:cubicBezTo>
                  <a:pt x="139860" y="18120"/>
                  <a:pt x="145891" y="18120"/>
                  <a:pt x="149611" y="21840"/>
                </a:cubicBezTo>
                <a:cubicBezTo>
                  <a:pt x="153330" y="25560"/>
                  <a:pt x="153330" y="31590"/>
                  <a:pt x="149611" y="35310"/>
                </a:cubicBezTo>
                <a:lnTo>
                  <a:pt x="140086" y="44835"/>
                </a:lnTo>
                <a:cubicBezTo>
                  <a:pt x="136366" y="48555"/>
                  <a:pt x="130335" y="48555"/>
                  <a:pt x="126616" y="44835"/>
                </a:cubicBezTo>
                <a:cubicBezTo>
                  <a:pt x="122896" y="41115"/>
                  <a:pt x="122896" y="35085"/>
                  <a:pt x="126616" y="31365"/>
                </a:cubicBezTo>
                <a:close/>
                <a:moveTo>
                  <a:pt x="21840" y="21840"/>
                </a:moveTo>
                <a:cubicBezTo>
                  <a:pt x="25560" y="18120"/>
                  <a:pt x="31590" y="18120"/>
                  <a:pt x="35310" y="21840"/>
                </a:cubicBezTo>
                <a:lnTo>
                  <a:pt x="44835" y="31365"/>
                </a:lnTo>
                <a:cubicBezTo>
                  <a:pt x="48555" y="35085"/>
                  <a:pt x="48555" y="41115"/>
                  <a:pt x="44835" y="44835"/>
                </a:cubicBezTo>
                <a:cubicBezTo>
                  <a:pt x="41115" y="48555"/>
                  <a:pt x="35085" y="48555"/>
                  <a:pt x="31365" y="44835"/>
                </a:cubicBezTo>
                <a:lnTo>
                  <a:pt x="21840" y="35310"/>
                </a:lnTo>
                <a:cubicBezTo>
                  <a:pt x="18120" y="31590"/>
                  <a:pt x="18120" y="25560"/>
                  <a:pt x="21840" y="21840"/>
                </a:cubicBezTo>
                <a:close/>
                <a:moveTo>
                  <a:pt x="85725" y="0"/>
                </a:moveTo>
                <a:cubicBezTo>
                  <a:pt x="90986" y="0"/>
                  <a:pt x="95250" y="4265"/>
                  <a:pt x="95250" y="9525"/>
                </a:cubicBezTo>
                <a:lnTo>
                  <a:pt x="95250" y="19050"/>
                </a:lnTo>
                <a:cubicBezTo>
                  <a:pt x="95250" y="24310"/>
                  <a:pt x="90986" y="28575"/>
                  <a:pt x="85725" y="28575"/>
                </a:cubicBezTo>
                <a:cubicBezTo>
                  <a:pt x="80464" y="28575"/>
                  <a:pt x="76200" y="24310"/>
                  <a:pt x="76200" y="19050"/>
                </a:cubicBezTo>
                <a:lnTo>
                  <a:pt x="76200" y="9525"/>
                </a:lnTo>
                <a:cubicBezTo>
                  <a:pt x="76200" y="4265"/>
                  <a:pt x="80464" y="0"/>
                  <a:pt x="85725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3575B971-17FB-73BD-BC0C-C9F8A9DB1D14}"/>
              </a:ext>
            </a:extLst>
          </p:cNvPr>
          <p:cNvSpPr txBox="1"/>
          <p:nvPr/>
        </p:nvSpPr>
        <p:spPr>
          <a:xfrm>
            <a:off x="-1691344" y="2506490"/>
            <a:ext cx="1373969" cy="2428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</a:pPr>
            <a:r>
              <a:rPr lang="ru-RU" sz="900" b="0">
                <a:solidFill>
                  <a:schemeClr val="accent1"/>
                </a:solidFill>
              </a:rPr>
              <a:t>Используй эти размеры </a:t>
            </a:r>
            <a:br>
              <a:rPr lang="ru-RU" sz="900" b="0">
                <a:solidFill>
                  <a:schemeClr val="accent1"/>
                </a:solidFill>
              </a:rPr>
            </a:br>
            <a:r>
              <a:rPr lang="ru-RU" sz="900" b="0">
                <a:solidFill>
                  <a:schemeClr val="accent1"/>
                </a:solidFill>
              </a:rPr>
              <a:t>по всей презентации</a:t>
            </a:r>
          </a:p>
        </p:txBody>
      </p:sp>
      <p:sp>
        <p:nvSpPr>
          <p:cNvPr id="5" name="Номер слайда 5">
            <a:extLst>
              <a:ext uri="{FF2B5EF4-FFF2-40B4-BE49-F238E27FC236}">
                <a16:creationId xmlns:a16="http://schemas.microsoft.com/office/drawing/2014/main" id="{37F91FFE-0848-C32B-3DE7-253AE66324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57744" y="6430370"/>
            <a:ext cx="908050" cy="216000"/>
          </a:xfrm>
        </p:spPr>
        <p:txBody>
          <a:bodyPr/>
          <a:lstStyle>
            <a:lvl1pPr>
              <a:defRPr>
                <a:solidFill>
                  <a:srgbClr val="5A6C7D"/>
                </a:solidFill>
              </a:defRPr>
            </a:lvl1pPr>
          </a:lstStyle>
          <a:p>
            <a:fld id="{EB5249F5-0093-48B0-B996-C4E44A87EAF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7" name="Нижний колонтитул 4">
            <a:extLst>
              <a:ext uri="{FF2B5EF4-FFF2-40B4-BE49-F238E27FC236}">
                <a16:creationId xmlns:a16="http://schemas.microsoft.com/office/drawing/2014/main" id="{3533BB9A-69F9-284C-B8F9-524632360E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458800" y="6465600"/>
            <a:ext cx="7274114" cy="144500"/>
          </a:xfrm>
        </p:spPr>
        <p:txBody>
          <a:bodyPr anchor="b"/>
          <a:lstStyle>
            <a:lvl1pPr>
              <a:defRPr sz="1000">
                <a:solidFill>
                  <a:srgbClr val="5A6C7D"/>
                </a:solidFill>
              </a:defRPr>
            </a:lvl1pPr>
          </a:lstStyle>
          <a:p>
            <a:endParaRPr lang="ru-RU" dirty="0"/>
          </a:p>
        </p:txBody>
      </p:sp>
      <p:grpSp>
        <p:nvGrpSpPr>
          <p:cNvPr id="108" name="Группа 107">
            <a:extLst>
              <a:ext uri="{FF2B5EF4-FFF2-40B4-BE49-F238E27FC236}">
                <a16:creationId xmlns:a16="http://schemas.microsoft.com/office/drawing/2014/main" id="{BD89BFE4-C341-1B47-9B71-F50873234CE8}"/>
              </a:ext>
            </a:extLst>
          </p:cNvPr>
          <p:cNvGrpSpPr/>
          <p:nvPr userDrawn="1"/>
        </p:nvGrpSpPr>
        <p:grpSpPr>
          <a:xfrm>
            <a:off x="-2138458" y="3080607"/>
            <a:ext cx="1935384" cy="3777393"/>
            <a:chOff x="-2138458" y="3080607"/>
            <a:chExt cx="1935384" cy="3777393"/>
          </a:xfrm>
        </p:grpSpPr>
        <p:grpSp>
          <p:nvGrpSpPr>
            <p:cNvPr id="109" name="Группа 108">
              <a:extLst>
                <a:ext uri="{FF2B5EF4-FFF2-40B4-BE49-F238E27FC236}">
                  <a16:creationId xmlns:a16="http://schemas.microsoft.com/office/drawing/2014/main" id="{834BC7B3-5C70-524F-ADD8-52F3C5F107E0}"/>
                </a:ext>
              </a:extLst>
            </p:cNvPr>
            <p:cNvGrpSpPr/>
            <p:nvPr userDrawn="1"/>
          </p:nvGrpSpPr>
          <p:grpSpPr>
            <a:xfrm>
              <a:off x="-2131314" y="5782119"/>
              <a:ext cx="1928240" cy="1075881"/>
              <a:chOff x="-2131314" y="5782119"/>
              <a:chExt cx="1928240" cy="1075881"/>
            </a:xfrm>
          </p:grpSpPr>
          <p:sp>
            <p:nvSpPr>
              <p:cNvPr id="135" name="Прямоугольник: скругленные углы 89">
                <a:extLst>
                  <a:ext uri="{FF2B5EF4-FFF2-40B4-BE49-F238E27FC236}">
                    <a16:creationId xmlns:a16="http://schemas.microsoft.com/office/drawing/2014/main" id="{5217C7F2-4697-C849-9729-B97317BDCD65}"/>
                  </a:ext>
                </a:extLst>
              </p:cNvPr>
              <p:cNvSpPr/>
              <p:nvPr/>
            </p:nvSpPr>
            <p:spPr>
              <a:xfrm>
                <a:off x="-2131314" y="5782119"/>
                <a:ext cx="1928240" cy="1075881"/>
              </a:xfrm>
              <a:prstGeom prst="roundRect">
                <a:avLst>
                  <a:gd name="adj" fmla="val 12985"/>
                </a:avLst>
              </a:prstGeom>
              <a:solidFill>
                <a:schemeClr val="bg1">
                  <a:alpha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36" name="TextBox 135">
                <a:extLst>
                  <a:ext uri="{FF2B5EF4-FFF2-40B4-BE49-F238E27FC236}">
                    <a16:creationId xmlns:a16="http://schemas.microsoft.com/office/drawing/2014/main" id="{FC583186-DDFC-904C-BE35-F43E5AEB75EF}"/>
                  </a:ext>
                </a:extLst>
              </p:cNvPr>
              <p:cNvSpPr txBox="1"/>
              <p:nvPr/>
            </p:nvSpPr>
            <p:spPr>
              <a:xfrm>
                <a:off x="-1788338" y="5868204"/>
                <a:ext cx="1155882" cy="151095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pPr algn="l">
                  <a:lnSpc>
                    <a:spcPct val="90000"/>
                  </a:lnSpc>
                </a:pPr>
                <a:r>
                  <a:rPr lang="ru-RU" sz="1000" b="1">
                    <a:solidFill>
                      <a:schemeClr val="accent1"/>
                    </a:solidFill>
                  </a:rPr>
                  <a:t>Шаблон </a:t>
                </a:r>
                <a:r>
                  <a:rPr lang="en-US" sz="1000" b="1">
                    <a:solidFill>
                      <a:schemeClr val="accent1"/>
                    </a:solidFill>
                  </a:rPr>
                  <a:t>Ozon</a:t>
                </a:r>
                <a:endParaRPr lang="ru-RU" sz="1000" b="1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37" name="Рисунок 93">
                <a:extLst>
                  <a:ext uri="{FF2B5EF4-FFF2-40B4-BE49-F238E27FC236}">
                    <a16:creationId xmlns:a16="http://schemas.microsoft.com/office/drawing/2014/main" id="{39A53F60-DC92-BC4D-9DBA-E0749A80126E}"/>
                  </a:ext>
                </a:extLst>
              </p:cNvPr>
              <p:cNvSpPr/>
              <p:nvPr/>
            </p:nvSpPr>
            <p:spPr>
              <a:xfrm>
                <a:off x="-2004963" y="5853908"/>
                <a:ext cx="161099" cy="161099"/>
              </a:xfrm>
              <a:custGeom>
                <a:avLst/>
                <a:gdLst>
                  <a:gd name="connsiteX0" fmla="*/ 85725 w 171450"/>
                  <a:gd name="connsiteY0" fmla="*/ 171450 h 171450"/>
                  <a:gd name="connsiteX1" fmla="*/ 171450 w 171450"/>
                  <a:gd name="connsiteY1" fmla="*/ 85725 h 171450"/>
                  <a:gd name="connsiteX2" fmla="*/ 85725 w 171450"/>
                  <a:gd name="connsiteY2" fmla="*/ 0 h 171450"/>
                  <a:gd name="connsiteX3" fmla="*/ 0 w 171450"/>
                  <a:gd name="connsiteY3" fmla="*/ 85725 h 171450"/>
                  <a:gd name="connsiteX4" fmla="*/ 85725 w 171450"/>
                  <a:gd name="connsiteY4" fmla="*/ 171450 h 171450"/>
                  <a:gd name="connsiteX5" fmla="*/ 130560 w 171450"/>
                  <a:gd name="connsiteY5" fmla="*/ 73410 h 171450"/>
                  <a:gd name="connsiteX6" fmla="*/ 82935 w 171450"/>
                  <a:gd name="connsiteY6" fmla="*/ 121035 h 171450"/>
                  <a:gd name="connsiteX7" fmla="*/ 69465 w 171450"/>
                  <a:gd name="connsiteY7" fmla="*/ 121035 h 171450"/>
                  <a:gd name="connsiteX8" fmla="*/ 40890 w 171450"/>
                  <a:gd name="connsiteY8" fmla="*/ 92460 h 171450"/>
                  <a:gd name="connsiteX9" fmla="*/ 40890 w 171450"/>
                  <a:gd name="connsiteY9" fmla="*/ 78990 h 171450"/>
                  <a:gd name="connsiteX10" fmla="*/ 54360 w 171450"/>
                  <a:gd name="connsiteY10" fmla="*/ 78990 h 171450"/>
                  <a:gd name="connsiteX11" fmla="*/ 76200 w 171450"/>
                  <a:gd name="connsiteY11" fmla="*/ 100830 h 171450"/>
                  <a:gd name="connsiteX12" fmla="*/ 117090 w 171450"/>
                  <a:gd name="connsiteY12" fmla="*/ 59940 h 171450"/>
                  <a:gd name="connsiteX13" fmla="*/ 130560 w 171450"/>
                  <a:gd name="connsiteY13" fmla="*/ 59940 h 171450"/>
                  <a:gd name="connsiteX14" fmla="*/ 130560 w 171450"/>
                  <a:gd name="connsiteY14" fmla="*/ 73410 h 171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71450" h="171450">
                    <a:moveTo>
                      <a:pt x="85725" y="171450"/>
                    </a:moveTo>
                    <a:cubicBezTo>
                      <a:pt x="138915" y="171450"/>
                      <a:pt x="171450" y="138915"/>
                      <a:pt x="171450" y="85725"/>
                    </a:cubicBezTo>
                    <a:cubicBezTo>
                      <a:pt x="171450" y="32535"/>
                      <a:pt x="138915" y="0"/>
                      <a:pt x="85725" y="0"/>
                    </a:cubicBezTo>
                    <a:cubicBezTo>
                      <a:pt x="32535" y="0"/>
                      <a:pt x="0" y="32535"/>
                      <a:pt x="0" y="85725"/>
                    </a:cubicBezTo>
                    <a:cubicBezTo>
                      <a:pt x="0" y="138915"/>
                      <a:pt x="32535" y="171450"/>
                      <a:pt x="85725" y="171450"/>
                    </a:cubicBezTo>
                    <a:close/>
                    <a:moveTo>
                      <a:pt x="130560" y="73410"/>
                    </a:moveTo>
                    <a:lnTo>
                      <a:pt x="82935" y="121035"/>
                    </a:lnTo>
                    <a:cubicBezTo>
                      <a:pt x="79216" y="124755"/>
                      <a:pt x="73184" y="124755"/>
                      <a:pt x="69465" y="121035"/>
                    </a:cubicBezTo>
                    <a:lnTo>
                      <a:pt x="40890" y="92460"/>
                    </a:lnTo>
                    <a:cubicBezTo>
                      <a:pt x="37170" y="88741"/>
                      <a:pt x="37170" y="82709"/>
                      <a:pt x="40890" y="78990"/>
                    </a:cubicBezTo>
                    <a:cubicBezTo>
                      <a:pt x="44610" y="75270"/>
                      <a:pt x="50640" y="75270"/>
                      <a:pt x="54360" y="78990"/>
                    </a:cubicBezTo>
                    <a:lnTo>
                      <a:pt x="76200" y="100830"/>
                    </a:lnTo>
                    <a:lnTo>
                      <a:pt x="117090" y="59940"/>
                    </a:lnTo>
                    <a:cubicBezTo>
                      <a:pt x="120809" y="56220"/>
                      <a:pt x="126841" y="56220"/>
                      <a:pt x="130560" y="59940"/>
                    </a:cubicBezTo>
                    <a:cubicBezTo>
                      <a:pt x="134280" y="63660"/>
                      <a:pt x="134280" y="69691"/>
                      <a:pt x="130560" y="734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38" name="TextBox 137">
                <a:extLst>
                  <a:ext uri="{FF2B5EF4-FFF2-40B4-BE49-F238E27FC236}">
                    <a16:creationId xmlns:a16="http://schemas.microsoft.com/office/drawing/2014/main" id="{6B979AC4-0565-544F-BD17-2769D5F3B3F7}"/>
                  </a:ext>
                </a:extLst>
              </p:cNvPr>
              <p:cNvSpPr txBox="1"/>
              <p:nvPr/>
            </p:nvSpPr>
            <p:spPr>
              <a:xfrm>
                <a:off x="-2004962" y="6072106"/>
                <a:ext cx="1687587" cy="60024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l">
                  <a:lnSpc>
                    <a:spcPct val="110000"/>
                  </a:lnSpc>
                </a:pPr>
                <a:r>
                  <a:rPr lang="ru-RU" sz="900" spc="-30" baseline="0">
                    <a:solidFill>
                      <a:schemeClr val="tx2"/>
                    </a:solidFill>
                  </a:rPr>
                  <a:t>Если нужно больше материалов: </a:t>
                </a:r>
                <a:r>
                  <a:rPr lang="ru-RU" sz="900" b="1" spc="-30" baseline="0">
                    <a:solidFill>
                      <a:schemeClr val="tx2"/>
                    </a:solidFill>
                  </a:rPr>
                  <a:t>правое меню </a:t>
                </a:r>
                <a:r>
                  <a:rPr lang="en-US" sz="900" b="1" spc="-30" baseline="0">
                    <a:solidFill>
                      <a:schemeClr val="tx2"/>
                    </a:solidFill>
                  </a:rPr>
                  <a:t>Staff — Brand </a:t>
                </a:r>
                <a:r>
                  <a:rPr lang="ru-RU" sz="900" b="1" spc="-30" baseline="0">
                    <a:solidFill>
                      <a:schemeClr val="tx2"/>
                    </a:solidFill>
                  </a:rPr>
                  <a:t>— Всё для презентаций. </a:t>
                </a:r>
                <a:r>
                  <a:rPr lang="ru-RU" sz="900" b="0" spc="-30" baseline="0">
                    <a:solidFill>
                      <a:schemeClr val="tx2"/>
                    </a:solidFill>
                  </a:rPr>
                  <a:t>Или пиши нам на </a:t>
                </a:r>
                <a:r>
                  <a:rPr lang="en-US" sz="900" b="0" spc="-30" baseline="0">
                    <a:solidFill>
                      <a:schemeClr val="tx2"/>
                    </a:solidFill>
                  </a:rPr>
                  <a:t>presentations@ozon.ru.</a:t>
                </a:r>
                <a:r>
                  <a:rPr lang="ru-RU" sz="900" b="0" spc="-30" baseline="0">
                    <a:solidFill>
                      <a:schemeClr val="tx2"/>
                    </a:solidFill>
                  </a:rPr>
                  <a:t> </a:t>
                </a:r>
              </a:p>
            </p:txBody>
          </p:sp>
        </p:grpSp>
        <p:grpSp>
          <p:nvGrpSpPr>
            <p:cNvPr id="110" name="Группа 109">
              <a:extLst>
                <a:ext uri="{FF2B5EF4-FFF2-40B4-BE49-F238E27FC236}">
                  <a16:creationId xmlns:a16="http://schemas.microsoft.com/office/drawing/2014/main" id="{2969F078-F215-5C48-8DA5-5E62D47FE51E}"/>
                </a:ext>
              </a:extLst>
            </p:cNvPr>
            <p:cNvGrpSpPr/>
            <p:nvPr userDrawn="1"/>
          </p:nvGrpSpPr>
          <p:grpSpPr>
            <a:xfrm>
              <a:off x="-2138458" y="3080607"/>
              <a:ext cx="1928241" cy="2523683"/>
              <a:chOff x="-2138458" y="3070447"/>
              <a:chExt cx="1928241" cy="2523683"/>
            </a:xfrm>
          </p:grpSpPr>
          <p:sp>
            <p:nvSpPr>
              <p:cNvPr id="111" name="Прямоугольник: скругленные углы 57">
                <a:extLst>
                  <a:ext uri="{FF2B5EF4-FFF2-40B4-BE49-F238E27FC236}">
                    <a16:creationId xmlns:a16="http://schemas.microsoft.com/office/drawing/2014/main" id="{BA8E07D1-5D78-8A41-AF3B-B182ED2754F4}"/>
                  </a:ext>
                </a:extLst>
              </p:cNvPr>
              <p:cNvSpPr/>
              <p:nvPr/>
            </p:nvSpPr>
            <p:spPr>
              <a:xfrm>
                <a:off x="-2138458" y="3125312"/>
                <a:ext cx="1928241" cy="2468818"/>
              </a:xfrm>
              <a:prstGeom prst="roundRect">
                <a:avLst>
                  <a:gd name="adj" fmla="val 5926"/>
                </a:avLst>
              </a:prstGeom>
              <a:solidFill>
                <a:schemeClr val="bg1">
                  <a:alpha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12" name="Прямоугольник: скругленные верхние углы 58">
                <a:extLst>
                  <a:ext uri="{FF2B5EF4-FFF2-40B4-BE49-F238E27FC236}">
                    <a16:creationId xmlns:a16="http://schemas.microsoft.com/office/drawing/2014/main" id="{60938D9F-E19D-FF4B-A2C5-144BA9918D0D}"/>
                  </a:ext>
                </a:extLst>
              </p:cNvPr>
              <p:cNvSpPr/>
              <p:nvPr/>
            </p:nvSpPr>
            <p:spPr>
              <a:xfrm>
                <a:off x="-2136930" y="3070447"/>
                <a:ext cx="1926713" cy="2880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accent6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36000" rtlCol="0" anchor="ctr"/>
              <a:lstStyle/>
              <a:p>
                <a:pPr algn="ctr"/>
                <a:r>
                  <a:rPr lang="ru-RU" sz="1100" b="1">
                    <a:solidFill>
                      <a:schemeClr val="tx1"/>
                    </a:solidFill>
                  </a:rPr>
                  <a:t>Цвета </a:t>
                </a:r>
                <a:r>
                  <a:rPr lang="en-US" sz="1100" b="1">
                    <a:solidFill>
                      <a:schemeClr val="tx1"/>
                    </a:solidFill>
                  </a:rPr>
                  <a:t>Ozon</a:t>
                </a:r>
                <a:endParaRPr lang="ru-RU" sz="1100" b="1">
                  <a:solidFill>
                    <a:schemeClr val="tx1"/>
                  </a:solidFill>
                </a:endParaRPr>
              </a:p>
            </p:txBody>
          </p:sp>
          <p:sp>
            <p:nvSpPr>
              <p:cNvPr id="113" name="TextBox 112">
                <a:extLst>
                  <a:ext uri="{FF2B5EF4-FFF2-40B4-BE49-F238E27FC236}">
                    <a16:creationId xmlns:a16="http://schemas.microsoft.com/office/drawing/2014/main" id="{D2C25D91-90BB-E64E-80BC-FF2F371E3358}"/>
                  </a:ext>
                </a:extLst>
              </p:cNvPr>
              <p:cNvSpPr txBox="1"/>
              <p:nvPr/>
            </p:nvSpPr>
            <p:spPr>
              <a:xfrm>
                <a:off x="-2003446" y="3412239"/>
                <a:ext cx="1638525" cy="17162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l"/>
                <a:r>
                  <a:rPr lang="ru-RU" sz="1000" dirty="0"/>
                  <a:t>Цвет текста </a:t>
                </a:r>
              </a:p>
            </p:txBody>
          </p:sp>
          <p:sp>
            <p:nvSpPr>
              <p:cNvPr id="114" name="Прямоугольник: скругленные углы 61">
                <a:extLst>
                  <a:ext uri="{FF2B5EF4-FFF2-40B4-BE49-F238E27FC236}">
                    <a16:creationId xmlns:a16="http://schemas.microsoft.com/office/drawing/2014/main" id="{3A77C429-0EDB-0340-A4D2-EA9F85F17989}"/>
                  </a:ext>
                </a:extLst>
              </p:cNvPr>
              <p:cNvSpPr/>
              <p:nvPr userDrawn="1"/>
            </p:nvSpPr>
            <p:spPr>
              <a:xfrm>
                <a:off x="-2004344" y="3611632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tx1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15" name="Прямоугольник: скругленные углы 62">
                <a:extLst>
                  <a:ext uri="{FF2B5EF4-FFF2-40B4-BE49-F238E27FC236}">
                    <a16:creationId xmlns:a16="http://schemas.microsoft.com/office/drawing/2014/main" id="{740F1B91-58A6-7C49-BA12-5E631058543D}"/>
                  </a:ext>
                </a:extLst>
              </p:cNvPr>
              <p:cNvSpPr/>
              <p:nvPr/>
            </p:nvSpPr>
            <p:spPr>
              <a:xfrm>
                <a:off x="-1738339" y="3611632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accent6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16" name="Прямоугольник: скругленные углы 63">
                <a:extLst>
                  <a:ext uri="{FF2B5EF4-FFF2-40B4-BE49-F238E27FC236}">
                    <a16:creationId xmlns:a16="http://schemas.microsoft.com/office/drawing/2014/main" id="{DCF0F58B-DBBB-A548-8606-CFB0E9CFC841}"/>
                  </a:ext>
                </a:extLst>
              </p:cNvPr>
              <p:cNvSpPr/>
              <p:nvPr/>
            </p:nvSpPr>
            <p:spPr>
              <a:xfrm>
                <a:off x="-1739900" y="4646897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accent3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17" name="Прямоугольник: скругленные углы 68">
                <a:extLst>
                  <a:ext uri="{FF2B5EF4-FFF2-40B4-BE49-F238E27FC236}">
                    <a16:creationId xmlns:a16="http://schemas.microsoft.com/office/drawing/2014/main" id="{BBB5C707-1A45-6B41-AE89-AE36E0EEDF3F}"/>
                  </a:ext>
                </a:extLst>
              </p:cNvPr>
              <p:cNvSpPr/>
              <p:nvPr/>
            </p:nvSpPr>
            <p:spPr>
              <a:xfrm>
                <a:off x="-2004963" y="4646897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accent1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18" name="TextBox 117">
                <a:extLst>
                  <a:ext uri="{FF2B5EF4-FFF2-40B4-BE49-F238E27FC236}">
                    <a16:creationId xmlns:a16="http://schemas.microsoft.com/office/drawing/2014/main" id="{10AF350A-F228-9D46-8228-C2006B46C831}"/>
                  </a:ext>
                </a:extLst>
              </p:cNvPr>
              <p:cNvSpPr txBox="1"/>
              <p:nvPr/>
            </p:nvSpPr>
            <p:spPr>
              <a:xfrm>
                <a:off x="-2003446" y="3935644"/>
                <a:ext cx="1638525" cy="17162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l"/>
                <a:r>
                  <a:rPr lang="ru-RU" sz="1000"/>
                  <a:t>Цвет больших плашек</a:t>
                </a:r>
              </a:p>
            </p:txBody>
          </p:sp>
          <p:sp>
            <p:nvSpPr>
              <p:cNvPr id="119" name="Прямоугольник: скругленные углы 70">
                <a:extLst>
                  <a:ext uri="{FF2B5EF4-FFF2-40B4-BE49-F238E27FC236}">
                    <a16:creationId xmlns:a16="http://schemas.microsoft.com/office/drawing/2014/main" id="{0B82D208-C021-4A43-BA7B-1A1BBCBD27B0}"/>
                  </a:ext>
                </a:extLst>
              </p:cNvPr>
              <p:cNvSpPr/>
              <p:nvPr/>
            </p:nvSpPr>
            <p:spPr>
              <a:xfrm>
                <a:off x="-1209774" y="4131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accent2">
                  <a:lumMod val="20000"/>
                  <a:lumOff val="80000"/>
                </a:schemeClr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20" name="Прямоугольник: скругленные углы 71">
                <a:extLst>
                  <a:ext uri="{FF2B5EF4-FFF2-40B4-BE49-F238E27FC236}">
                    <a16:creationId xmlns:a16="http://schemas.microsoft.com/office/drawing/2014/main" id="{EB6C1208-56F6-CC4A-8274-94EA92BF9714}"/>
                  </a:ext>
                </a:extLst>
              </p:cNvPr>
              <p:cNvSpPr/>
              <p:nvPr/>
            </p:nvSpPr>
            <p:spPr>
              <a:xfrm>
                <a:off x="-2004963" y="4131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accent6">
                  <a:lumMod val="20000"/>
                  <a:lumOff val="80000"/>
                </a:schemeClr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21" name="Прямоугольник: скругленные углы 74">
                <a:extLst>
                  <a:ext uri="{FF2B5EF4-FFF2-40B4-BE49-F238E27FC236}">
                    <a16:creationId xmlns:a16="http://schemas.microsoft.com/office/drawing/2014/main" id="{4A968071-A79E-B84E-9BC5-BB5AE9B37327}"/>
                  </a:ext>
                </a:extLst>
              </p:cNvPr>
              <p:cNvSpPr/>
              <p:nvPr/>
            </p:nvSpPr>
            <p:spPr>
              <a:xfrm>
                <a:off x="-1475201" y="4131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accent5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22" name="TextBox 121">
                <a:extLst>
                  <a:ext uri="{FF2B5EF4-FFF2-40B4-BE49-F238E27FC236}">
                    <a16:creationId xmlns:a16="http://schemas.microsoft.com/office/drawing/2014/main" id="{89754C95-231D-B242-8E40-42E570622A38}"/>
                  </a:ext>
                </a:extLst>
              </p:cNvPr>
              <p:cNvSpPr txBox="1"/>
              <p:nvPr/>
            </p:nvSpPr>
            <p:spPr>
              <a:xfrm>
                <a:off x="-2003446" y="4451492"/>
                <a:ext cx="1638525" cy="17162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l"/>
                <a:r>
                  <a:rPr lang="ru-RU" sz="1000"/>
                  <a:t>Цвета маленьких плашек</a:t>
                </a:r>
              </a:p>
            </p:txBody>
          </p:sp>
          <p:sp>
            <p:nvSpPr>
              <p:cNvPr id="123" name="Прямоугольник: скругленные углы 82">
                <a:extLst>
                  <a:ext uri="{FF2B5EF4-FFF2-40B4-BE49-F238E27FC236}">
                    <a16:creationId xmlns:a16="http://schemas.microsoft.com/office/drawing/2014/main" id="{48244B61-4FE3-494E-A759-779D4173ED2C}"/>
                  </a:ext>
                </a:extLst>
              </p:cNvPr>
              <p:cNvSpPr/>
              <p:nvPr userDrawn="1"/>
            </p:nvSpPr>
            <p:spPr>
              <a:xfrm>
                <a:off x="-1739900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B7EDC9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24" name="Прямоугольник: скругленные углы 83">
                <a:extLst>
                  <a:ext uri="{FF2B5EF4-FFF2-40B4-BE49-F238E27FC236}">
                    <a16:creationId xmlns:a16="http://schemas.microsoft.com/office/drawing/2014/main" id="{A28D6D7E-757B-0548-B01F-811EE63AF0D7}"/>
                  </a:ext>
                </a:extLst>
              </p:cNvPr>
              <p:cNvSpPr/>
              <p:nvPr/>
            </p:nvSpPr>
            <p:spPr>
              <a:xfrm>
                <a:off x="-1474837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FFA800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25" name="Прямоугольник: скругленные углы 84">
                <a:extLst>
                  <a:ext uri="{FF2B5EF4-FFF2-40B4-BE49-F238E27FC236}">
                    <a16:creationId xmlns:a16="http://schemas.microsoft.com/office/drawing/2014/main" id="{EC12264D-60CC-2941-A2D5-986F8230811D}"/>
                  </a:ext>
                </a:extLst>
              </p:cNvPr>
              <p:cNvSpPr/>
              <p:nvPr/>
            </p:nvSpPr>
            <p:spPr>
              <a:xfrm>
                <a:off x="-2004963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10C44C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26" name="TextBox 125">
                <a:extLst>
                  <a:ext uri="{FF2B5EF4-FFF2-40B4-BE49-F238E27FC236}">
                    <a16:creationId xmlns:a16="http://schemas.microsoft.com/office/drawing/2014/main" id="{FF0FDEB6-74FB-7D48-84BD-929415B84CD6}"/>
                  </a:ext>
                </a:extLst>
              </p:cNvPr>
              <p:cNvSpPr txBox="1"/>
              <p:nvPr/>
            </p:nvSpPr>
            <p:spPr>
              <a:xfrm>
                <a:off x="-2003446" y="4973480"/>
                <a:ext cx="1638525" cy="17162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l"/>
                <a:r>
                  <a:rPr lang="ru-RU" sz="900"/>
                  <a:t>Рост / падение показателей</a:t>
                </a:r>
              </a:p>
            </p:txBody>
          </p:sp>
          <p:sp>
            <p:nvSpPr>
              <p:cNvPr id="127" name="Прямоугольник: скругленные углы 13">
                <a:extLst>
                  <a:ext uri="{FF2B5EF4-FFF2-40B4-BE49-F238E27FC236}">
                    <a16:creationId xmlns:a16="http://schemas.microsoft.com/office/drawing/2014/main" id="{DBB56AF9-4B8A-D948-92F8-5C656226D42A}"/>
                  </a:ext>
                </a:extLst>
              </p:cNvPr>
              <p:cNvSpPr/>
              <p:nvPr/>
            </p:nvSpPr>
            <p:spPr>
              <a:xfrm>
                <a:off x="-944711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F53C14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28" name="Прямоугольник: скругленные углы 14">
                <a:extLst>
                  <a:ext uri="{FF2B5EF4-FFF2-40B4-BE49-F238E27FC236}">
                    <a16:creationId xmlns:a16="http://schemas.microsoft.com/office/drawing/2014/main" id="{E5865762-5817-3948-90BF-C383B0E13803}"/>
                  </a:ext>
                </a:extLst>
              </p:cNvPr>
              <p:cNvSpPr/>
              <p:nvPr/>
            </p:nvSpPr>
            <p:spPr>
              <a:xfrm>
                <a:off x="-679648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FCC4B8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29" name="Прямоугольник: скругленные углы 15">
                <a:extLst>
                  <a:ext uri="{FF2B5EF4-FFF2-40B4-BE49-F238E27FC236}">
                    <a16:creationId xmlns:a16="http://schemas.microsoft.com/office/drawing/2014/main" id="{B6F0FF74-E048-D44F-81D4-8EAF2714191B}"/>
                  </a:ext>
                </a:extLst>
              </p:cNvPr>
              <p:cNvSpPr/>
              <p:nvPr/>
            </p:nvSpPr>
            <p:spPr>
              <a:xfrm>
                <a:off x="-1209774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FFE5B2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30" name="Прямоугольник: скругленные углы 20">
                <a:extLst>
                  <a:ext uri="{FF2B5EF4-FFF2-40B4-BE49-F238E27FC236}">
                    <a16:creationId xmlns:a16="http://schemas.microsoft.com/office/drawing/2014/main" id="{FCE31E5B-D877-844B-AD8D-6C96B45AA384}"/>
                  </a:ext>
                </a:extLst>
              </p:cNvPr>
              <p:cNvSpPr/>
              <p:nvPr userDrawn="1"/>
            </p:nvSpPr>
            <p:spPr>
              <a:xfrm>
                <a:off x="-944711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F53C14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31" name="Прямоугольник: скругленные углы 21">
                <a:extLst>
                  <a:ext uri="{FF2B5EF4-FFF2-40B4-BE49-F238E27FC236}">
                    <a16:creationId xmlns:a16="http://schemas.microsoft.com/office/drawing/2014/main" id="{579A5768-EB25-2147-837F-96AA6EBFDCF8}"/>
                  </a:ext>
                </a:extLst>
              </p:cNvPr>
              <p:cNvSpPr/>
              <p:nvPr userDrawn="1"/>
            </p:nvSpPr>
            <p:spPr>
              <a:xfrm>
                <a:off x="-679648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FCC4B8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32" name="Прямоугольник: скругленные углы 22">
                <a:extLst>
                  <a:ext uri="{FF2B5EF4-FFF2-40B4-BE49-F238E27FC236}">
                    <a16:creationId xmlns:a16="http://schemas.microsoft.com/office/drawing/2014/main" id="{F851E1D3-D231-D141-9846-508981BCF64C}"/>
                  </a:ext>
                </a:extLst>
              </p:cNvPr>
              <p:cNvSpPr/>
              <p:nvPr userDrawn="1"/>
            </p:nvSpPr>
            <p:spPr>
              <a:xfrm>
                <a:off x="-1209774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FFE5B2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33" name="Прямоугольник: скругленные углы 79">
                <a:extLst>
                  <a:ext uri="{FF2B5EF4-FFF2-40B4-BE49-F238E27FC236}">
                    <a16:creationId xmlns:a16="http://schemas.microsoft.com/office/drawing/2014/main" id="{45406E7B-B207-844F-81FD-6B1178F1B353}"/>
                  </a:ext>
                </a:extLst>
              </p:cNvPr>
              <p:cNvSpPr/>
              <p:nvPr userDrawn="1"/>
            </p:nvSpPr>
            <p:spPr>
              <a:xfrm>
                <a:off x="-1735356" y="4136975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bg1"/>
              </a:solidFill>
              <a:ln w="12700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34" name="Прямоугольник: скругленные углы 63">
                <a:extLst>
                  <a:ext uri="{FF2B5EF4-FFF2-40B4-BE49-F238E27FC236}">
                    <a16:creationId xmlns:a16="http://schemas.microsoft.com/office/drawing/2014/main" id="{A658E357-7580-F642-8B18-619020470BBB}"/>
                  </a:ext>
                </a:extLst>
              </p:cNvPr>
              <p:cNvSpPr/>
              <p:nvPr userDrawn="1"/>
            </p:nvSpPr>
            <p:spPr>
              <a:xfrm>
                <a:off x="-1476289" y="4646897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accent2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18665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8">
          <p15:clr>
            <a:srgbClr val="F26B43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_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Прямоугольник: скругленные углы 30">
            <a:extLst>
              <a:ext uri="{FF2B5EF4-FFF2-40B4-BE49-F238E27FC236}">
                <a16:creationId xmlns:a16="http://schemas.microsoft.com/office/drawing/2014/main" id="{B5CEA510-779D-B186-51D9-A7BE6A4D8CBF}"/>
              </a:ext>
            </a:extLst>
          </p:cNvPr>
          <p:cNvSpPr/>
          <p:nvPr/>
        </p:nvSpPr>
        <p:spPr>
          <a:xfrm>
            <a:off x="-2138458" y="54865"/>
            <a:ext cx="1928241" cy="2826069"/>
          </a:xfrm>
          <a:prstGeom prst="roundRect">
            <a:avLst>
              <a:gd name="adj" fmla="val 5926"/>
            </a:avLst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" name="Прямоугольник: скругленные верхние углы 31">
            <a:extLst>
              <a:ext uri="{FF2B5EF4-FFF2-40B4-BE49-F238E27FC236}">
                <a16:creationId xmlns:a16="http://schemas.microsoft.com/office/drawing/2014/main" id="{A1C959ED-4845-914A-5E46-E2BC8420265D}"/>
              </a:ext>
            </a:extLst>
          </p:cNvPr>
          <p:cNvSpPr/>
          <p:nvPr/>
        </p:nvSpPr>
        <p:spPr>
          <a:xfrm>
            <a:off x="-2136930" y="0"/>
            <a:ext cx="1926713" cy="2880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36000" rtlCol="0" anchor="ctr"/>
          <a:lstStyle/>
          <a:p>
            <a:pPr algn="ctr"/>
            <a:r>
              <a:rPr lang="ru-RU" sz="1100" b="1">
                <a:solidFill>
                  <a:schemeClr val="tx1"/>
                </a:solidFill>
              </a:rPr>
              <a:t>Размеры текста</a:t>
            </a:r>
          </a:p>
        </p:txBody>
      </p:sp>
      <p:graphicFrame>
        <p:nvGraphicFramePr>
          <p:cNvPr id="33" name="Таблица 46">
            <a:extLst>
              <a:ext uri="{FF2B5EF4-FFF2-40B4-BE49-F238E27FC236}">
                <a16:creationId xmlns:a16="http://schemas.microsoft.com/office/drawing/2014/main" id="{E10B7DDB-30E3-5914-1530-1B343B89ECF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64283051"/>
              </p:ext>
            </p:extLst>
          </p:nvPr>
        </p:nvGraphicFramePr>
        <p:xfrm>
          <a:off x="-2046114" y="312643"/>
          <a:ext cx="1958731" cy="2142000"/>
        </p:xfrm>
        <a:graphic>
          <a:graphicData uri="http://schemas.openxmlformats.org/drawingml/2006/table">
            <a:tbl>
              <a:tblPr/>
              <a:tblGrid>
                <a:gridCol w="532517">
                  <a:extLst>
                    <a:ext uri="{9D8B030D-6E8A-4147-A177-3AD203B41FA5}">
                      <a16:colId xmlns:a16="http://schemas.microsoft.com/office/drawing/2014/main" val="2594385797"/>
                    </a:ext>
                  </a:extLst>
                </a:gridCol>
                <a:gridCol w="1426214">
                  <a:extLst>
                    <a:ext uri="{9D8B030D-6E8A-4147-A177-3AD203B41FA5}">
                      <a16:colId xmlns:a16="http://schemas.microsoft.com/office/drawing/2014/main" val="1017723076"/>
                    </a:ext>
                  </a:extLst>
                </a:gridCol>
              </a:tblGrid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44+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0" spc="-40" baseline="0"/>
                        <a:t>акцентные цифр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8329665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32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заголовки и самые </a:t>
                      </a:r>
                      <a:br>
                        <a:rPr lang="ru-RU" sz="1000" spc="-40" baseline="0"/>
                      </a:br>
                      <a:r>
                        <a:rPr lang="ru-RU" sz="1000" spc="-40" baseline="0"/>
                        <a:t>важные данные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17697917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24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8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подзаголовки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72780009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18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4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основной текст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0685745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4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2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торой уровень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текста (менее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ажная информация)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1997433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0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сноски, пояснения, </a:t>
                      </a:r>
                      <a:br>
                        <a:rPr lang="en-US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большие таблиц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76660845"/>
                  </a:ext>
                </a:extLst>
              </a:tr>
            </a:tbl>
          </a:graphicData>
        </a:graphic>
      </p:graphicFrame>
      <p:sp>
        <p:nvSpPr>
          <p:cNvPr id="34" name="Полилиния: фигура 33">
            <a:extLst>
              <a:ext uri="{FF2B5EF4-FFF2-40B4-BE49-F238E27FC236}">
                <a16:creationId xmlns:a16="http://schemas.microsoft.com/office/drawing/2014/main" id="{E3D1AAE3-78D4-3900-EC14-93255434D8AD}"/>
              </a:ext>
            </a:extLst>
          </p:cNvPr>
          <p:cNvSpPr/>
          <p:nvPr/>
        </p:nvSpPr>
        <p:spPr>
          <a:xfrm>
            <a:off x="-2004344" y="2488864"/>
            <a:ext cx="216624" cy="228657"/>
          </a:xfrm>
          <a:custGeom>
            <a:avLst/>
            <a:gdLst>
              <a:gd name="connsiteX0" fmla="*/ 72536 w 171450"/>
              <a:gd name="connsiteY0" fmla="*/ 162210 h 180974"/>
              <a:gd name="connsiteX1" fmla="*/ 98923 w 171450"/>
              <a:gd name="connsiteY1" fmla="*/ 162210 h 180974"/>
              <a:gd name="connsiteX2" fmla="*/ 103600 w 171450"/>
              <a:gd name="connsiteY2" fmla="*/ 172160 h 180974"/>
              <a:gd name="connsiteX3" fmla="*/ 85726 w 171450"/>
              <a:gd name="connsiteY3" fmla="*/ 180974 h 180974"/>
              <a:gd name="connsiteX4" fmla="*/ 67852 w 171450"/>
              <a:gd name="connsiteY4" fmla="*/ 172160 h 180974"/>
              <a:gd name="connsiteX5" fmla="*/ 72536 w 171450"/>
              <a:gd name="connsiteY5" fmla="*/ 162210 h 180974"/>
              <a:gd name="connsiteX6" fmla="*/ 152400 w 171450"/>
              <a:gd name="connsiteY6" fmla="*/ 76200 h 180974"/>
              <a:gd name="connsiteX7" fmla="*/ 161925 w 171450"/>
              <a:gd name="connsiteY7" fmla="*/ 76200 h 180974"/>
              <a:gd name="connsiteX8" fmla="*/ 171450 w 171450"/>
              <a:gd name="connsiteY8" fmla="*/ 85725 h 180974"/>
              <a:gd name="connsiteX9" fmla="*/ 161925 w 171450"/>
              <a:gd name="connsiteY9" fmla="*/ 95250 h 180974"/>
              <a:gd name="connsiteX10" fmla="*/ 152400 w 171450"/>
              <a:gd name="connsiteY10" fmla="*/ 95250 h 180974"/>
              <a:gd name="connsiteX11" fmla="*/ 142875 w 171450"/>
              <a:gd name="connsiteY11" fmla="*/ 85725 h 180974"/>
              <a:gd name="connsiteX12" fmla="*/ 152400 w 171450"/>
              <a:gd name="connsiteY12" fmla="*/ 76200 h 180974"/>
              <a:gd name="connsiteX13" fmla="*/ 9525 w 171450"/>
              <a:gd name="connsiteY13" fmla="*/ 76200 h 180974"/>
              <a:gd name="connsiteX14" fmla="*/ 19050 w 171450"/>
              <a:gd name="connsiteY14" fmla="*/ 76200 h 180974"/>
              <a:gd name="connsiteX15" fmla="*/ 28575 w 171450"/>
              <a:gd name="connsiteY15" fmla="*/ 85725 h 180974"/>
              <a:gd name="connsiteX16" fmla="*/ 19050 w 171450"/>
              <a:gd name="connsiteY16" fmla="*/ 95250 h 180974"/>
              <a:gd name="connsiteX17" fmla="*/ 9525 w 171450"/>
              <a:gd name="connsiteY17" fmla="*/ 95250 h 180974"/>
              <a:gd name="connsiteX18" fmla="*/ 0 w 171450"/>
              <a:gd name="connsiteY18" fmla="*/ 85725 h 180974"/>
              <a:gd name="connsiteX19" fmla="*/ 9525 w 171450"/>
              <a:gd name="connsiteY19" fmla="*/ 76200 h 180974"/>
              <a:gd name="connsiteX20" fmla="*/ 85725 w 171450"/>
              <a:gd name="connsiteY20" fmla="*/ 38100 h 180974"/>
              <a:gd name="connsiteX21" fmla="*/ 133350 w 171450"/>
              <a:gd name="connsiteY21" fmla="*/ 85725 h 180974"/>
              <a:gd name="connsiteX22" fmla="*/ 123174 w 171450"/>
              <a:gd name="connsiteY22" fmla="*/ 114596 h 180974"/>
              <a:gd name="connsiteX23" fmla="*/ 114300 w 171450"/>
              <a:gd name="connsiteY23" fmla="*/ 138113 h 180974"/>
              <a:gd name="connsiteX24" fmla="*/ 85725 w 171450"/>
              <a:gd name="connsiteY24" fmla="*/ 152400 h 180974"/>
              <a:gd name="connsiteX25" fmla="*/ 57150 w 171450"/>
              <a:gd name="connsiteY25" fmla="*/ 138113 h 180974"/>
              <a:gd name="connsiteX26" fmla="*/ 48275 w 171450"/>
              <a:gd name="connsiteY26" fmla="*/ 114596 h 180974"/>
              <a:gd name="connsiteX27" fmla="*/ 38100 w 171450"/>
              <a:gd name="connsiteY27" fmla="*/ 85725 h 180974"/>
              <a:gd name="connsiteX28" fmla="*/ 85725 w 171450"/>
              <a:gd name="connsiteY28" fmla="*/ 38100 h 180974"/>
              <a:gd name="connsiteX29" fmla="*/ 136141 w 171450"/>
              <a:gd name="connsiteY29" fmla="*/ 21840 h 180974"/>
              <a:gd name="connsiteX30" fmla="*/ 149611 w 171450"/>
              <a:gd name="connsiteY30" fmla="*/ 21840 h 180974"/>
              <a:gd name="connsiteX31" fmla="*/ 149611 w 171450"/>
              <a:gd name="connsiteY31" fmla="*/ 35310 h 180974"/>
              <a:gd name="connsiteX32" fmla="*/ 140086 w 171450"/>
              <a:gd name="connsiteY32" fmla="*/ 44835 h 180974"/>
              <a:gd name="connsiteX33" fmla="*/ 126616 w 171450"/>
              <a:gd name="connsiteY33" fmla="*/ 44835 h 180974"/>
              <a:gd name="connsiteX34" fmla="*/ 126616 w 171450"/>
              <a:gd name="connsiteY34" fmla="*/ 31365 h 180974"/>
              <a:gd name="connsiteX35" fmla="*/ 21840 w 171450"/>
              <a:gd name="connsiteY35" fmla="*/ 21840 h 180974"/>
              <a:gd name="connsiteX36" fmla="*/ 35310 w 171450"/>
              <a:gd name="connsiteY36" fmla="*/ 21840 h 180974"/>
              <a:gd name="connsiteX37" fmla="*/ 44835 w 171450"/>
              <a:gd name="connsiteY37" fmla="*/ 31365 h 180974"/>
              <a:gd name="connsiteX38" fmla="*/ 44835 w 171450"/>
              <a:gd name="connsiteY38" fmla="*/ 44835 h 180974"/>
              <a:gd name="connsiteX39" fmla="*/ 31365 w 171450"/>
              <a:gd name="connsiteY39" fmla="*/ 44835 h 180974"/>
              <a:gd name="connsiteX40" fmla="*/ 21840 w 171450"/>
              <a:gd name="connsiteY40" fmla="*/ 35310 h 180974"/>
              <a:gd name="connsiteX41" fmla="*/ 21840 w 171450"/>
              <a:gd name="connsiteY41" fmla="*/ 21840 h 180974"/>
              <a:gd name="connsiteX42" fmla="*/ 85725 w 171450"/>
              <a:gd name="connsiteY42" fmla="*/ 0 h 180974"/>
              <a:gd name="connsiteX43" fmla="*/ 95250 w 171450"/>
              <a:gd name="connsiteY43" fmla="*/ 9525 h 180974"/>
              <a:gd name="connsiteX44" fmla="*/ 95250 w 171450"/>
              <a:gd name="connsiteY44" fmla="*/ 19050 h 180974"/>
              <a:gd name="connsiteX45" fmla="*/ 85725 w 171450"/>
              <a:gd name="connsiteY45" fmla="*/ 28575 h 180974"/>
              <a:gd name="connsiteX46" fmla="*/ 76200 w 171450"/>
              <a:gd name="connsiteY46" fmla="*/ 19050 h 180974"/>
              <a:gd name="connsiteX47" fmla="*/ 76200 w 171450"/>
              <a:gd name="connsiteY47" fmla="*/ 9525 h 180974"/>
              <a:gd name="connsiteX48" fmla="*/ 85725 w 171450"/>
              <a:gd name="connsiteY48" fmla="*/ 0 h 18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1450" h="180974">
                <a:moveTo>
                  <a:pt x="72536" y="162210"/>
                </a:moveTo>
                <a:cubicBezTo>
                  <a:pt x="80449" y="164140"/>
                  <a:pt x="90933" y="164211"/>
                  <a:pt x="98923" y="162210"/>
                </a:cubicBezTo>
                <a:cubicBezTo>
                  <a:pt x="105617" y="160534"/>
                  <a:pt x="105617" y="166533"/>
                  <a:pt x="103600" y="172160"/>
                </a:cubicBezTo>
                <a:cubicBezTo>
                  <a:pt x="100950" y="179549"/>
                  <a:pt x="95451" y="180974"/>
                  <a:pt x="85726" y="180974"/>
                </a:cubicBezTo>
                <a:cubicBezTo>
                  <a:pt x="76000" y="180974"/>
                  <a:pt x="70501" y="179549"/>
                  <a:pt x="67852" y="172160"/>
                </a:cubicBezTo>
                <a:cubicBezTo>
                  <a:pt x="65835" y="166534"/>
                  <a:pt x="65835" y="160576"/>
                  <a:pt x="72536" y="162210"/>
                </a:cubicBezTo>
                <a:close/>
                <a:moveTo>
                  <a:pt x="152400" y="76200"/>
                </a:moveTo>
                <a:lnTo>
                  <a:pt x="161925" y="76200"/>
                </a:lnTo>
                <a:cubicBezTo>
                  <a:pt x="167186" y="76200"/>
                  <a:pt x="171450" y="80464"/>
                  <a:pt x="171450" y="85725"/>
                </a:cubicBezTo>
                <a:cubicBezTo>
                  <a:pt x="171450" y="90986"/>
                  <a:pt x="167186" y="95250"/>
                  <a:pt x="161925" y="95250"/>
                </a:cubicBezTo>
                <a:lnTo>
                  <a:pt x="152400" y="95250"/>
                </a:lnTo>
                <a:cubicBezTo>
                  <a:pt x="147139" y="95250"/>
                  <a:pt x="142875" y="90986"/>
                  <a:pt x="142875" y="85725"/>
                </a:cubicBezTo>
                <a:cubicBezTo>
                  <a:pt x="142875" y="80464"/>
                  <a:pt x="147139" y="76200"/>
                  <a:pt x="152400" y="76200"/>
                </a:cubicBezTo>
                <a:close/>
                <a:moveTo>
                  <a:pt x="9525" y="76200"/>
                </a:moveTo>
                <a:lnTo>
                  <a:pt x="19050" y="76200"/>
                </a:lnTo>
                <a:cubicBezTo>
                  <a:pt x="24310" y="76200"/>
                  <a:pt x="28575" y="80464"/>
                  <a:pt x="28575" y="85725"/>
                </a:cubicBezTo>
                <a:cubicBezTo>
                  <a:pt x="28575" y="90986"/>
                  <a:pt x="24310" y="95250"/>
                  <a:pt x="19050" y="95250"/>
                </a:cubicBezTo>
                <a:lnTo>
                  <a:pt x="9525" y="95250"/>
                </a:lnTo>
                <a:cubicBezTo>
                  <a:pt x="4265" y="95250"/>
                  <a:pt x="0" y="90986"/>
                  <a:pt x="0" y="85725"/>
                </a:cubicBezTo>
                <a:cubicBezTo>
                  <a:pt x="0" y="80464"/>
                  <a:pt x="4265" y="76200"/>
                  <a:pt x="9525" y="76200"/>
                </a:cubicBezTo>
                <a:close/>
                <a:moveTo>
                  <a:pt x="85725" y="38100"/>
                </a:moveTo>
                <a:cubicBezTo>
                  <a:pt x="112027" y="38100"/>
                  <a:pt x="133350" y="58671"/>
                  <a:pt x="133350" y="85725"/>
                </a:cubicBezTo>
                <a:cubicBezTo>
                  <a:pt x="133350" y="100663"/>
                  <a:pt x="128144" y="107793"/>
                  <a:pt x="123174" y="114596"/>
                </a:cubicBezTo>
                <a:cubicBezTo>
                  <a:pt x="118639" y="120807"/>
                  <a:pt x="114300" y="126748"/>
                  <a:pt x="114300" y="138113"/>
                </a:cubicBezTo>
                <a:cubicBezTo>
                  <a:pt x="114300" y="147638"/>
                  <a:pt x="104775" y="152400"/>
                  <a:pt x="85725" y="152400"/>
                </a:cubicBezTo>
                <a:cubicBezTo>
                  <a:pt x="66675" y="152400"/>
                  <a:pt x="57150" y="147638"/>
                  <a:pt x="57150" y="138113"/>
                </a:cubicBezTo>
                <a:cubicBezTo>
                  <a:pt x="57150" y="126748"/>
                  <a:pt x="52811" y="120807"/>
                  <a:pt x="48275" y="114596"/>
                </a:cubicBezTo>
                <a:cubicBezTo>
                  <a:pt x="43306" y="107793"/>
                  <a:pt x="38100" y="100663"/>
                  <a:pt x="38100" y="85725"/>
                </a:cubicBezTo>
                <a:cubicBezTo>
                  <a:pt x="38100" y="57150"/>
                  <a:pt x="59422" y="38100"/>
                  <a:pt x="85725" y="38100"/>
                </a:cubicBezTo>
                <a:close/>
                <a:moveTo>
                  <a:pt x="136141" y="21840"/>
                </a:moveTo>
                <a:cubicBezTo>
                  <a:pt x="139860" y="18120"/>
                  <a:pt x="145891" y="18120"/>
                  <a:pt x="149611" y="21840"/>
                </a:cubicBezTo>
                <a:cubicBezTo>
                  <a:pt x="153330" y="25560"/>
                  <a:pt x="153330" y="31590"/>
                  <a:pt x="149611" y="35310"/>
                </a:cubicBezTo>
                <a:lnTo>
                  <a:pt x="140086" y="44835"/>
                </a:lnTo>
                <a:cubicBezTo>
                  <a:pt x="136366" y="48555"/>
                  <a:pt x="130335" y="48555"/>
                  <a:pt x="126616" y="44835"/>
                </a:cubicBezTo>
                <a:cubicBezTo>
                  <a:pt x="122896" y="41115"/>
                  <a:pt x="122896" y="35085"/>
                  <a:pt x="126616" y="31365"/>
                </a:cubicBezTo>
                <a:close/>
                <a:moveTo>
                  <a:pt x="21840" y="21840"/>
                </a:moveTo>
                <a:cubicBezTo>
                  <a:pt x="25560" y="18120"/>
                  <a:pt x="31590" y="18120"/>
                  <a:pt x="35310" y="21840"/>
                </a:cubicBezTo>
                <a:lnTo>
                  <a:pt x="44835" y="31365"/>
                </a:lnTo>
                <a:cubicBezTo>
                  <a:pt x="48555" y="35085"/>
                  <a:pt x="48555" y="41115"/>
                  <a:pt x="44835" y="44835"/>
                </a:cubicBezTo>
                <a:cubicBezTo>
                  <a:pt x="41115" y="48555"/>
                  <a:pt x="35085" y="48555"/>
                  <a:pt x="31365" y="44835"/>
                </a:cubicBezTo>
                <a:lnTo>
                  <a:pt x="21840" y="35310"/>
                </a:lnTo>
                <a:cubicBezTo>
                  <a:pt x="18120" y="31590"/>
                  <a:pt x="18120" y="25560"/>
                  <a:pt x="21840" y="21840"/>
                </a:cubicBezTo>
                <a:close/>
                <a:moveTo>
                  <a:pt x="85725" y="0"/>
                </a:moveTo>
                <a:cubicBezTo>
                  <a:pt x="90986" y="0"/>
                  <a:pt x="95250" y="4265"/>
                  <a:pt x="95250" y="9525"/>
                </a:cubicBezTo>
                <a:lnTo>
                  <a:pt x="95250" y="19050"/>
                </a:lnTo>
                <a:cubicBezTo>
                  <a:pt x="95250" y="24310"/>
                  <a:pt x="90986" y="28575"/>
                  <a:pt x="85725" y="28575"/>
                </a:cubicBezTo>
                <a:cubicBezTo>
                  <a:pt x="80464" y="28575"/>
                  <a:pt x="76200" y="24310"/>
                  <a:pt x="76200" y="19050"/>
                </a:cubicBezTo>
                <a:lnTo>
                  <a:pt x="76200" y="9525"/>
                </a:lnTo>
                <a:cubicBezTo>
                  <a:pt x="76200" y="4265"/>
                  <a:pt x="80464" y="0"/>
                  <a:pt x="85725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8" name="Полилиния: фигура 57">
            <a:extLst>
              <a:ext uri="{FF2B5EF4-FFF2-40B4-BE49-F238E27FC236}">
                <a16:creationId xmlns:a16="http://schemas.microsoft.com/office/drawing/2014/main" id="{39436597-275E-B3E6-1DAB-CAF537F82E50}"/>
              </a:ext>
            </a:extLst>
          </p:cNvPr>
          <p:cNvSpPr/>
          <p:nvPr/>
        </p:nvSpPr>
        <p:spPr>
          <a:xfrm>
            <a:off x="-2004344" y="2488864"/>
            <a:ext cx="216624" cy="228657"/>
          </a:xfrm>
          <a:custGeom>
            <a:avLst/>
            <a:gdLst>
              <a:gd name="connsiteX0" fmla="*/ 72536 w 171450"/>
              <a:gd name="connsiteY0" fmla="*/ 162210 h 180974"/>
              <a:gd name="connsiteX1" fmla="*/ 98923 w 171450"/>
              <a:gd name="connsiteY1" fmla="*/ 162210 h 180974"/>
              <a:gd name="connsiteX2" fmla="*/ 103600 w 171450"/>
              <a:gd name="connsiteY2" fmla="*/ 172160 h 180974"/>
              <a:gd name="connsiteX3" fmla="*/ 85726 w 171450"/>
              <a:gd name="connsiteY3" fmla="*/ 180974 h 180974"/>
              <a:gd name="connsiteX4" fmla="*/ 67852 w 171450"/>
              <a:gd name="connsiteY4" fmla="*/ 172160 h 180974"/>
              <a:gd name="connsiteX5" fmla="*/ 72536 w 171450"/>
              <a:gd name="connsiteY5" fmla="*/ 162210 h 180974"/>
              <a:gd name="connsiteX6" fmla="*/ 152400 w 171450"/>
              <a:gd name="connsiteY6" fmla="*/ 76200 h 180974"/>
              <a:gd name="connsiteX7" fmla="*/ 161925 w 171450"/>
              <a:gd name="connsiteY7" fmla="*/ 76200 h 180974"/>
              <a:gd name="connsiteX8" fmla="*/ 171450 w 171450"/>
              <a:gd name="connsiteY8" fmla="*/ 85725 h 180974"/>
              <a:gd name="connsiteX9" fmla="*/ 161925 w 171450"/>
              <a:gd name="connsiteY9" fmla="*/ 95250 h 180974"/>
              <a:gd name="connsiteX10" fmla="*/ 152400 w 171450"/>
              <a:gd name="connsiteY10" fmla="*/ 95250 h 180974"/>
              <a:gd name="connsiteX11" fmla="*/ 142875 w 171450"/>
              <a:gd name="connsiteY11" fmla="*/ 85725 h 180974"/>
              <a:gd name="connsiteX12" fmla="*/ 152400 w 171450"/>
              <a:gd name="connsiteY12" fmla="*/ 76200 h 180974"/>
              <a:gd name="connsiteX13" fmla="*/ 9525 w 171450"/>
              <a:gd name="connsiteY13" fmla="*/ 76200 h 180974"/>
              <a:gd name="connsiteX14" fmla="*/ 19050 w 171450"/>
              <a:gd name="connsiteY14" fmla="*/ 76200 h 180974"/>
              <a:gd name="connsiteX15" fmla="*/ 28575 w 171450"/>
              <a:gd name="connsiteY15" fmla="*/ 85725 h 180974"/>
              <a:gd name="connsiteX16" fmla="*/ 19050 w 171450"/>
              <a:gd name="connsiteY16" fmla="*/ 95250 h 180974"/>
              <a:gd name="connsiteX17" fmla="*/ 9525 w 171450"/>
              <a:gd name="connsiteY17" fmla="*/ 95250 h 180974"/>
              <a:gd name="connsiteX18" fmla="*/ 0 w 171450"/>
              <a:gd name="connsiteY18" fmla="*/ 85725 h 180974"/>
              <a:gd name="connsiteX19" fmla="*/ 9525 w 171450"/>
              <a:gd name="connsiteY19" fmla="*/ 76200 h 180974"/>
              <a:gd name="connsiteX20" fmla="*/ 85725 w 171450"/>
              <a:gd name="connsiteY20" fmla="*/ 38100 h 180974"/>
              <a:gd name="connsiteX21" fmla="*/ 133350 w 171450"/>
              <a:gd name="connsiteY21" fmla="*/ 85725 h 180974"/>
              <a:gd name="connsiteX22" fmla="*/ 123174 w 171450"/>
              <a:gd name="connsiteY22" fmla="*/ 114596 h 180974"/>
              <a:gd name="connsiteX23" fmla="*/ 114300 w 171450"/>
              <a:gd name="connsiteY23" fmla="*/ 138113 h 180974"/>
              <a:gd name="connsiteX24" fmla="*/ 85725 w 171450"/>
              <a:gd name="connsiteY24" fmla="*/ 152400 h 180974"/>
              <a:gd name="connsiteX25" fmla="*/ 57150 w 171450"/>
              <a:gd name="connsiteY25" fmla="*/ 138113 h 180974"/>
              <a:gd name="connsiteX26" fmla="*/ 48275 w 171450"/>
              <a:gd name="connsiteY26" fmla="*/ 114596 h 180974"/>
              <a:gd name="connsiteX27" fmla="*/ 38100 w 171450"/>
              <a:gd name="connsiteY27" fmla="*/ 85725 h 180974"/>
              <a:gd name="connsiteX28" fmla="*/ 85725 w 171450"/>
              <a:gd name="connsiteY28" fmla="*/ 38100 h 180974"/>
              <a:gd name="connsiteX29" fmla="*/ 136141 w 171450"/>
              <a:gd name="connsiteY29" fmla="*/ 21840 h 180974"/>
              <a:gd name="connsiteX30" fmla="*/ 149611 w 171450"/>
              <a:gd name="connsiteY30" fmla="*/ 21840 h 180974"/>
              <a:gd name="connsiteX31" fmla="*/ 149611 w 171450"/>
              <a:gd name="connsiteY31" fmla="*/ 35310 h 180974"/>
              <a:gd name="connsiteX32" fmla="*/ 140086 w 171450"/>
              <a:gd name="connsiteY32" fmla="*/ 44835 h 180974"/>
              <a:gd name="connsiteX33" fmla="*/ 126616 w 171450"/>
              <a:gd name="connsiteY33" fmla="*/ 44835 h 180974"/>
              <a:gd name="connsiteX34" fmla="*/ 126616 w 171450"/>
              <a:gd name="connsiteY34" fmla="*/ 31365 h 180974"/>
              <a:gd name="connsiteX35" fmla="*/ 21840 w 171450"/>
              <a:gd name="connsiteY35" fmla="*/ 21840 h 180974"/>
              <a:gd name="connsiteX36" fmla="*/ 35310 w 171450"/>
              <a:gd name="connsiteY36" fmla="*/ 21840 h 180974"/>
              <a:gd name="connsiteX37" fmla="*/ 44835 w 171450"/>
              <a:gd name="connsiteY37" fmla="*/ 31365 h 180974"/>
              <a:gd name="connsiteX38" fmla="*/ 44835 w 171450"/>
              <a:gd name="connsiteY38" fmla="*/ 44835 h 180974"/>
              <a:gd name="connsiteX39" fmla="*/ 31365 w 171450"/>
              <a:gd name="connsiteY39" fmla="*/ 44835 h 180974"/>
              <a:gd name="connsiteX40" fmla="*/ 21840 w 171450"/>
              <a:gd name="connsiteY40" fmla="*/ 35310 h 180974"/>
              <a:gd name="connsiteX41" fmla="*/ 21840 w 171450"/>
              <a:gd name="connsiteY41" fmla="*/ 21840 h 180974"/>
              <a:gd name="connsiteX42" fmla="*/ 85725 w 171450"/>
              <a:gd name="connsiteY42" fmla="*/ 0 h 180974"/>
              <a:gd name="connsiteX43" fmla="*/ 95250 w 171450"/>
              <a:gd name="connsiteY43" fmla="*/ 9525 h 180974"/>
              <a:gd name="connsiteX44" fmla="*/ 95250 w 171450"/>
              <a:gd name="connsiteY44" fmla="*/ 19050 h 180974"/>
              <a:gd name="connsiteX45" fmla="*/ 85725 w 171450"/>
              <a:gd name="connsiteY45" fmla="*/ 28575 h 180974"/>
              <a:gd name="connsiteX46" fmla="*/ 76200 w 171450"/>
              <a:gd name="connsiteY46" fmla="*/ 19050 h 180974"/>
              <a:gd name="connsiteX47" fmla="*/ 76200 w 171450"/>
              <a:gd name="connsiteY47" fmla="*/ 9525 h 180974"/>
              <a:gd name="connsiteX48" fmla="*/ 85725 w 171450"/>
              <a:gd name="connsiteY48" fmla="*/ 0 h 18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1450" h="180974">
                <a:moveTo>
                  <a:pt x="72536" y="162210"/>
                </a:moveTo>
                <a:cubicBezTo>
                  <a:pt x="80449" y="164140"/>
                  <a:pt x="90933" y="164211"/>
                  <a:pt x="98923" y="162210"/>
                </a:cubicBezTo>
                <a:cubicBezTo>
                  <a:pt x="105617" y="160534"/>
                  <a:pt x="105617" y="166533"/>
                  <a:pt x="103600" y="172160"/>
                </a:cubicBezTo>
                <a:cubicBezTo>
                  <a:pt x="100950" y="179549"/>
                  <a:pt x="95451" y="180974"/>
                  <a:pt x="85726" y="180974"/>
                </a:cubicBezTo>
                <a:cubicBezTo>
                  <a:pt x="76000" y="180974"/>
                  <a:pt x="70501" y="179549"/>
                  <a:pt x="67852" y="172160"/>
                </a:cubicBezTo>
                <a:cubicBezTo>
                  <a:pt x="65835" y="166534"/>
                  <a:pt x="65835" y="160576"/>
                  <a:pt x="72536" y="162210"/>
                </a:cubicBezTo>
                <a:close/>
                <a:moveTo>
                  <a:pt x="152400" y="76200"/>
                </a:moveTo>
                <a:lnTo>
                  <a:pt x="161925" y="76200"/>
                </a:lnTo>
                <a:cubicBezTo>
                  <a:pt x="167186" y="76200"/>
                  <a:pt x="171450" y="80464"/>
                  <a:pt x="171450" y="85725"/>
                </a:cubicBezTo>
                <a:cubicBezTo>
                  <a:pt x="171450" y="90986"/>
                  <a:pt x="167186" y="95250"/>
                  <a:pt x="161925" y="95250"/>
                </a:cubicBezTo>
                <a:lnTo>
                  <a:pt x="152400" y="95250"/>
                </a:lnTo>
                <a:cubicBezTo>
                  <a:pt x="147139" y="95250"/>
                  <a:pt x="142875" y="90986"/>
                  <a:pt x="142875" y="85725"/>
                </a:cubicBezTo>
                <a:cubicBezTo>
                  <a:pt x="142875" y="80464"/>
                  <a:pt x="147139" y="76200"/>
                  <a:pt x="152400" y="76200"/>
                </a:cubicBezTo>
                <a:close/>
                <a:moveTo>
                  <a:pt x="9525" y="76200"/>
                </a:moveTo>
                <a:lnTo>
                  <a:pt x="19050" y="76200"/>
                </a:lnTo>
                <a:cubicBezTo>
                  <a:pt x="24310" y="76200"/>
                  <a:pt x="28575" y="80464"/>
                  <a:pt x="28575" y="85725"/>
                </a:cubicBezTo>
                <a:cubicBezTo>
                  <a:pt x="28575" y="90986"/>
                  <a:pt x="24310" y="95250"/>
                  <a:pt x="19050" y="95250"/>
                </a:cubicBezTo>
                <a:lnTo>
                  <a:pt x="9525" y="95250"/>
                </a:lnTo>
                <a:cubicBezTo>
                  <a:pt x="4265" y="95250"/>
                  <a:pt x="0" y="90986"/>
                  <a:pt x="0" y="85725"/>
                </a:cubicBezTo>
                <a:cubicBezTo>
                  <a:pt x="0" y="80464"/>
                  <a:pt x="4265" y="76200"/>
                  <a:pt x="9525" y="76200"/>
                </a:cubicBezTo>
                <a:close/>
                <a:moveTo>
                  <a:pt x="85725" y="38100"/>
                </a:moveTo>
                <a:cubicBezTo>
                  <a:pt x="112027" y="38100"/>
                  <a:pt x="133350" y="58671"/>
                  <a:pt x="133350" y="85725"/>
                </a:cubicBezTo>
                <a:cubicBezTo>
                  <a:pt x="133350" y="100663"/>
                  <a:pt x="128144" y="107793"/>
                  <a:pt x="123174" y="114596"/>
                </a:cubicBezTo>
                <a:cubicBezTo>
                  <a:pt x="118639" y="120807"/>
                  <a:pt x="114300" y="126748"/>
                  <a:pt x="114300" y="138113"/>
                </a:cubicBezTo>
                <a:cubicBezTo>
                  <a:pt x="114300" y="147638"/>
                  <a:pt x="104775" y="152400"/>
                  <a:pt x="85725" y="152400"/>
                </a:cubicBezTo>
                <a:cubicBezTo>
                  <a:pt x="66675" y="152400"/>
                  <a:pt x="57150" y="147638"/>
                  <a:pt x="57150" y="138113"/>
                </a:cubicBezTo>
                <a:cubicBezTo>
                  <a:pt x="57150" y="126748"/>
                  <a:pt x="52811" y="120807"/>
                  <a:pt x="48275" y="114596"/>
                </a:cubicBezTo>
                <a:cubicBezTo>
                  <a:pt x="43306" y="107793"/>
                  <a:pt x="38100" y="100663"/>
                  <a:pt x="38100" y="85725"/>
                </a:cubicBezTo>
                <a:cubicBezTo>
                  <a:pt x="38100" y="57150"/>
                  <a:pt x="59422" y="38100"/>
                  <a:pt x="85725" y="38100"/>
                </a:cubicBezTo>
                <a:close/>
                <a:moveTo>
                  <a:pt x="136141" y="21840"/>
                </a:moveTo>
                <a:cubicBezTo>
                  <a:pt x="139860" y="18120"/>
                  <a:pt x="145891" y="18120"/>
                  <a:pt x="149611" y="21840"/>
                </a:cubicBezTo>
                <a:cubicBezTo>
                  <a:pt x="153330" y="25560"/>
                  <a:pt x="153330" y="31590"/>
                  <a:pt x="149611" y="35310"/>
                </a:cubicBezTo>
                <a:lnTo>
                  <a:pt x="140086" y="44835"/>
                </a:lnTo>
                <a:cubicBezTo>
                  <a:pt x="136366" y="48555"/>
                  <a:pt x="130335" y="48555"/>
                  <a:pt x="126616" y="44835"/>
                </a:cubicBezTo>
                <a:cubicBezTo>
                  <a:pt x="122896" y="41115"/>
                  <a:pt x="122896" y="35085"/>
                  <a:pt x="126616" y="31365"/>
                </a:cubicBezTo>
                <a:close/>
                <a:moveTo>
                  <a:pt x="21840" y="21840"/>
                </a:moveTo>
                <a:cubicBezTo>
                  <a:pt x="25560" y="18120"/>
                  <a:pt x="31590" y="18120"/>
                  <a:pt x="35310" y="21840"/>
                </a:cubicBezTo>
                <a:lnTo>
                  <a:pt x="44835" y="31365"/>
                </a:lnTo>
                <a:cubicBezTo>
                  <a:pt x="48555" y="35085"/>
                  <a:pt x="48555" y="41115"/>
                  <a:pt x="44835" y="44835"/>
                </a:cubicBezTo>
                <a:cubicBezTo>
                  <a:pt x="41115" y="48555"/>
                  <a:pt x="35085" y="48555"/>
                  <a:pt x="31365" y="44835"/>
                </a:cubicBezTo>
                <a:lnTo>
                  <a:pt x="21840" y="35310"/>
                </a:lnTo>
                <a:cubicBezTo>
                  <a:pt x="18120" y="31590"/>
                  <a:pt x="18120" y="25560"/>
                  <a:pt x="21840" y="21840"/>
                </a:cubicBezTo>
                <a:close/>
                <a:moveTo>
                  <a:pt x="85725" y="0"/>
                </a:moveTo>
                <a:cubicBezTo>
                  <a:pt x="90986" y="0"/>
                  <a:pt x="95250" y="4265"/>
                  <a:pt x="95250" y="9525"/>
                </a:cubicBezTo>
                <a:lnTo>
                  <a:pt x="95250" y="19050"/>
                </a:lnTo>
                <a:cubicBezTo>
                  <a:pt x="95250" y="24310"/>
                  <a:pt x="90986" y="28575"/>
                  <a:pt x="85725" y="28575"/>
                </a:cubicBezTo>
                <a:cubicBezTo>
                  <a:pt x="80464" y="28575"/>
                  <a:pt x="76200" y="24310"/>
                  <a:pt x="76200" y="19050"/>
                </a:cubicBezTo>
                <a:lnTo>
                  <a:pt x="76200" y="9525"/>
                </a:lnTo>
                <a:cubicBezTo>
                  <a:pt x="76200" y="4265"/>
                  <a:pt x="80464" y="0"/>
                  <a:pt x="85725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1F0AA0D0-E6D7-0849-E730-1598B0ABEC6F}"/>
              </a:ext>
            </a:extLst>
          </p:cNvPr>
          <p:cNvSpPr txBox="1"/>
          <p:nvPr/>
        </p:nvSpPr>
        <p:spPr>
          <a:xfrm>
            <a:off x="-1691344" y="2506490"/>
            <a:ext cx="1373969" cy="2428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</a:pPr>
            <a:r>
              <a:rPr lang="ru-RU" sz="900" b="0">
                <a:solidFill>
                  <a:schemeClr val="accent1"/>
                </a:solidFill>
              </a:rPr>
              <a:t>Используй эти размеры </a:t>
            </a:r>
            <a:br>
              <a:rPr lang="ru-RU" sz="900" b="0">
                <a:solidFill>
                  <a:schemeClr val="accent1"/>
                </a:solidFill>
              </a:rPr>
            </a:br>
            <a:r>
              <a:rPr lang="ru-RU" sz="900" b="0">
                <a:solidFill>
                  <a:schemeClr val="accent1"/>
                </a:solidFill>
              </a:rPr>
              <a:t>по всей презентации</a:t>
            </a:r>
          </a:p>
        </p:txBody>
      </p:sp>
      <p:sp>
        <p:nvSpPr>
          <p:cNvPr id="3" name="Прямоугольник: скругленные верхние углы 2">
            <a:extLst>
              <a:ext uri="{FF2B5EF4-FFF2-40B4-BE49-F238E27FC236}">
                <a16:creationId xmlns:a16="http://schemas.microsoft.com/office/drawing/2014/main" id="{D1B15945-87AF-F9F3-2DE0-3A1B323E535F}"/>
              </a:ext>
            </a:extLst>
          </p:cNvPr>
          <p:cNvSpPr/>
          <p:nvPr userDrawn="1"/>
        </p:nvSpPr>
        <p:spPr>
          <a:xfrm>
            <a:off x="-2136930" y="0"/>
            <a:ext cx="1926713" cy="2880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36000" rtlCol="0" anchor="ctr"/>
          <a:lstStyle/>
          <a:p>
            <a:pPr algn="ctr"/>
            <a:r>
              <a:rPr lang="ru-RU" sz="1100" b="1">
                <a:solidFill>
                  <a:schemeClr val="tx1"/>
                </a:solidFill>
              </a:rPr>
              <a:t>Размеры текста</a:t>
            </a:r>
          </a:p>
        </p:txBody>
      </p:sp>
      <p:sp>
        <p:nvSpPr>
          <p:cNvPr id="5" name="Полилиния: фигура 4">
            <a:extLst>
              <a:ext uri="{FF2B5EF4-FFF2-40B4-BE49-F238E27FC236}">
                <a16:creationId xmlns:a16="http://schemas.microsoft.com/office/drawing/2014/main" id="{376C75D7-5626-838A-6058-04D945C0E7E6}"/>
              </a:ext>
            </a:extLst>
          </p:cNvPr>
          <p:cNvSpPr/>
          <p:nvPr userDrawn="1"/>
        </p:nvSpPr>
        <p:spPr>
          <a:xfrm>
            <a:off x="-2004344" y="2488864"/>
            <a:ext cx="216624" cy="228657"/>
          </a:xfrm>
          <a:custGeom>
            <a:avLst/>
            <a:gdLst>
              <a:gd name="connsiteX0" fmla="*/ 72536 w 171450"/>
              <a:gd name="connsiteY0" fmla="*/ 162210 h 180974"/>
              <a:gd name="connsiteX1" fmla="*/ 98923 w 171450"/>
              <a:gd name="connsiteY1" fmla="*/ 162210 h 180974"/>
              <a:gd name="connsiteX2" fmla="*/ 103600 w 171450"/>
              <a:gd name="connsiteY2" fmla="*/ 172160 h 180974"/>
              <a:gd name="connsiteX3" fmla="*/ 85726 w 171450"/>
              <a:gd name="connsiteY3" fmla="*/ 180974 h 180974"/>
              <a:gd name="connsiteX4" fmla="*/ 67852 w 171450"/>
              <a:gd name="connsiteY4" fmla="*/ 172160 h 180974"/>
              <a:gd name="connsiteX5" fmla="*/ 72536 w 171450"/>
              <a:gd name="connsiteY5" fmla="*/ 162210 h 180974"/>
              <a:gd name="connsiteX6" fmla="*/ 152400 w 171450"/>
              <a:gd name="connsiteY6" fmla="*/ 76200 h 180974"/>
              <a:gd name="connsiteX7" fmla="*/ 161925 w 171450"/>
              <a:gd name="connsiteY7" fmla="*/ 76200 h 180974"/>
              <a:gd name="connsiteX8" fmla="*/ 171450 w 171450"/>
              <a:gd name="connsiteY8" fmla="*/ 85725 h 180974"/>
              <a:gd name="connsiteX9" fmla="*/ 161925 w 171450"/>
              <a:gd name="connsiteY9" fmla="*/ 95250 h 180974"/>
              <a:gd name="connsiteX10" fmla="*/ 152400 w 171450"/>
              <a:gd name="connsiteY10" fmla="*/ 95250 h 180974"/>
              <a:gd name="connsiteX11" fmla="*/ 142875 w 171450"/>
              <a:gd name="connsiteY11" fmla="*/ 85725 h 180974"/>
              <a:gd name="connsiteX12" fmla="*/ 152400 w 171450"/>
              <a:gd name="connsiteY12" fmla="*/ 76200 h 180974"/>
              <a:gd name="connsiteX13" fmla="*/ 9525 w 171450"/>
              <a:gd name="connsiteY13" fmla="*/ 76200 h 180974"/>
              <a:gd name="connsiteX14" fmla="*/ 19050 w 171450"/>
              <a:gd name="connsiteY14" fmla="*/ 76200 h 180974"/>
              <a:gd name="connsiteX15" fmla="*/ 28575 w 171450"/>
              <a:gd name="connsiteY15" fmla="*/ 85725 h 180974"/>
              <a:gd name="connsiteX16" fmla="*/ 19050 w 171450"/>
              <a:gd name="connsiteY16" fmla="*/ 95250 h 180974"/>
              <a:gd name="connsiteX17" fmla="*/ 9525 w 171450"/>
              <a:gd name="connsiteY17" fmla="*/ 95250 h 180974"/>
              <a:gd name="connsiteX18" fmla="*/ 0 w 171450"/>
              <a:gd name="connsiteY18" fmla="*/ 85725 h 180974"/>
              <a:gd name="connsiteX19" fmla="*/ 9525 w 171450"/>
              <a:gd name="connsiteY19" fmla="*/ 76200 h 180974"/>
              <a:gd name="connsiteX20" fmla="*/ 85725 w 171450"/>
              <a:gd name="connsiteY20" fmla="*/ 38100 h 180974"/>
              <a:gd name="connsiteX21" fmla="*/ 133350 w 171450"/>
              <a:gd name="connsiteY21" fmla="*/ 85725 h 180974"/>
              <a:gd name="connsiteX22" fmla="*/ 123174 w 171450"/>
              <a:gd name="connsiteY22" fmla="*/ 114596 h 180974"/>
              <a:gd name="connsiteX23" fmla="*/ 114300 w 171450"/>
              <a:gd name="connsiteY23" fmla="*/ 138113 h 180974"/>
              <a:gd name="connsiteX24" fmla="*/ 85725 w 171450"/>
              <a:gd name="connsiteY24" fmla="*/ 152400 h 180974"/>
              <a:gd name="connsiteX25" fmla="*/ 57150 w 171450"/>
              <a:gd name="connsiteY25" fmla="*/ 138113 h 180974"/>
              <a:gd name="connsiteX26" fmla="*/ 48275 w 171450"/>
              <a:gd name="connsiteY26" fmla="*/ 114596 h 180974"/>
              <a:gd name="connsiteX27" fmla="*/ 38100 w 171450"/>
              <a:gd name="connsiteY27" fmla="*/ 85725 h 180974"/>
              <a:gd name="connsiteX28" fmla="*/ 85725 w 171450"/>
              <a:gd name="connsiteY28" fmla="*/ 38100 h 180974"/>
              <a:gd name="connsiteX29" fmla="*/ 136141 w 171450"/>
              <a:gd name="connsiteY29" fmla="*/ 21840 h 180974"/>
              <a:gd name="connsiteX30" fmla="*/ 149611 w 171450"/>
              <a:gd name="connsiteY30" fmla="*/ 21840 h 180974"/>
              <a:gd name="connsiteX31" fmla="*/ 149611 w 171450"/>
              <a:gd name="connsiteY31" fmla="*/ 35310 h 180974"/>
              <a:gd name="connsiteX32" fmla="*/ 140086 w 171450"/>
              <a:gd name="connsiteY32" fmla="*/ 44835 h 180974"/>
              <a:gd name="connsiteX33" fmla="*/ 126616 w 171450"/>
              <a:gd name="connsiteY33" fmla="*/ 44835 h 180974"/>
              <a:gd name="connsiteX34" fmla="*/ 126616 w 171450"/>
              <a:gd name="connsiteY34" fmla="*/ 31365 h 180974"/>
              <a:gd name="connsiteX35" fmla="*/ 21840 w 171450"/>
              <a:gd name="connsiteY35" fmla="*/ 21840 h 180974"/>
              <a:gd name="connsiteX36" fmla="*/ 35310 w 171450"/>
              <a:gd name="connsiteY36" fmla="*/ 21840 h 180974"/>
              <a:gd name="connsiteX37" fmla="*/ 44835 w 171450"/>
              <a:gd name="connsiteY37" fmla="*/ 31365 h 180974"/>
              <a:gd name="connsiteX38" fmla="*/ 44835 w 171450"/>
              <a:gd name="connsiteY38" fmla="*/ 44835 h 180974"/>
              <a:gd name="connsiteX39" fmla="*/ 31365 w 171450"/>
              <a:gd name="connsiteY39" fmla="*/ 44835 h 180974"/>
              <a:gd name="connsiteX40" fmla="*/ 21840 w 171450"/>
              <a:gd name="connsiteY40" fmla="*/ 35310 h 180974"/>
              <a:gd name="connsiteX41" fmla="*/ 21840 w 171450"/>
              <a:gd name="connsiteY41" fmla="*/ 21840 h 180974"/>
              <a:gd name="connsiteX42" fmla="*/ 85725 w 171450"/>
              <a:gd name="connsiteY42" fmla="*/ 0 h 180974"/>
              <a:gd name="connsiteX43" fmla="*/ 95250 w 171450"/>
              <a:gd name="connsiteY43" fmla="*/ 9525 h 180974"/>
              <a:gd name="connsiteX44" fmla="*/ 95250 w 171450"/>
              <a:gd name="connsiteY44" fmla="*/ 19050 h 180974"/>
              <a:gd name="connsiteX45" fmla="*/ 85725 w 171450"/>
              <a:gd name="connsiteY45" fmla="*/ 28575 h 180974"/>
              <a:gd name="connsiteX46" fmla="*/ 76200 w 171450"/>
              <a:gd name="connsiteY46" fmla="*/ 19050 h 180974"/>
              <a:gd name="connsiteX47" fmla="*/ 76200 w 171450"/>
              <a:gd name="connsiteY47" fmla="*/ 9525 h 180974"/>
              <a:gd name="connsiteX48" fmla="*/ 85725 w 171450"/>
              <a:gd name="connsiteY48" fmla="*/ 0 h 18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1450" h="180974">
                <a:moveTo>
                  <a:pt x="72536" y="162210"/>
                </a:moveTo>
                <a:cubicBezTo>
                  <a:pt x="80449" y="164140"/>
                  <a:pt x="90933" y="164211"/>
                  <a:pt x="98923" y="162210"/>
                </a:cubicBezTo>
                <a:cubicBezTo>
                  <a:pt x="105617" y="160534"/>
                  <a:pt x="105617" y="166533"/>
                  <a:pt x="103600" y="172160"/>
                </a:cubicBezTo>
                <a:cubicBezTo>
                  <a:pt x="100950" y="179549"/>
                  <a:pt x="95451" y="180974"/>
                  <a:pt x="85726" y="180974"/>
                </a:cubicBezTo>
                <a:cubicBezTo>
                  <a:pt x="76000" y="180974"/>
                  <a:pt x="70501" y="179549"/>
                  <a:pt x="67852" y="172160"/>
                </a:cubicBezTo>
                <a:cubicBezTo>
                  <a:pt x="65835" y="166534"/>
                  <a:pt x="65835" y="160576"/>
                  <a:pt x="72536" y="162210"/>
                </a:cubicBezTo>
                <a:close/>
                <a:moveTo>
                  <a:pt x="152400" y="76200"/>
                </a:moveTo>
                <a:lnTo>
                  <a:pt x="161925" y="76200"/>
                </a:lnTo>
                <a:cubicBezTo>
                  <a:pt x="167186" y="76200"/>
                  <a:pt x="171450" y="80464"/>
                  <a:pt x="171450" y="85725"/>
                </a:cubicBezTo>
                <a:cubicBezTo>
                  <a:pt x="171450" y="90986"/>
                  <a:pt x="167186" y="95250"/>
                  <a:pt x="161925" y="95250"/>
                </a:cubicBezTo>
                <a:lnTo>
                  <a:pt x="152400" y="95250"/>
                </a:lnTo>
                <a:cubicBezTo>
                  <a:pt x="147139" y="95250"/>
                  <a:pt x="142875" y="90986"/>
                  <a:pt x="142875" y="85725"/>
                </a:cubicBezTo>
                <a:cubicBezTo>
                  <a:pt x="142875" y="80464"/>
                  <a:pt x="147139" y="76200"/>
                  <a:pt x="152400" y="76200"/>
                </a:cubicBezTo>
                <a:close/>
                <a:moveTo>
                  <a:pt x="9525" y="76200"/>
                </a:moveTo>
                <a:lnTo>
                  <a:pt x="19050" y="76200"/>
                </a:lnTo>
                <a:cubicBezTo>
                  <a:pt x="24310" y="76200"/>
                  <a:pt x="28575" y="80464"/>
                  <a:pt x="28575" y="85725"/>
                </a:cubicBezTo>
                <a:cubicBezTo>
                  <a:pt x="28575" y="90986"/>
                  <a:pt x="24310" y="95250"/>
                  <a:pt x="19050" y="95250"/>
                </a:cubicBezTo>
                <a:lnTo>
                  <a:pt x="9525" y="95250"/>
                </a:lnTo>
                <a:cubicBezTo>
                  <a:pt x="4265" y="95250"/>
                  <a:pt x="0" y="90986"/>
                  <a:pt x="0" y="85725"/>
                </a:cubicBezTo>
                <a:cubicBezTo>
                  <a:pt x="0" y="80464"/>
                  <a:pt x="4265" y="76200"/>
                  <a:pt x="9525" y="76200"/>
                </a:cubicBezTo>
                <a:close/>
                <a:moveTo>
                  <a:pt x="85725" y="38100"/>
                </a:moveTo>
                <a:cubicBezTo>
                  <a:pt x="112027" y="38100"/>
                  <a:pt x="133350" y="58671"/>
                  <a:pt x="133350" y="85725"/>
                </a:cubicBezTo>
                <a:cubicBezTo>
                  <a:pt x="133350" y="100663"/>
                  <a:pt x="128144" y="107793"/>
                  <a:pt x="123174" y="114596"/>
                </a:cubicBezTo>
                <a:cubicBezTo>
                  <a:pt x="118639" y="120807"/>
                  <a:pt x="114300" y="126748"/>
                  <a:pt x="114300" y="138113"/>
                </a:cubicBezTo>
                <a:cubicBezTo>
                  <a:pt x="114300" y="147638"/>
                  <a:pt x="104775" y="152400"/>
                  <a:pt x="85725" y="152400"/>
                </a:cubicBezTo>
                <a:cubicBezTo>
                  <a:pt x="66675" y="152400"/>
                  <a:pt x="57150" y="147638"/>
                  <a:pt x="57150" y="138113"/>
                </a:cubicBezTo>
                <a:cubicBezTo>
                  <a:pt x="57150" y="126748"/>
                  <a:pt x="52811" y="120807"/>
                  <a:pt x="48275" y="114596"/>
                </a:cubicBezTo>
                <a:cubicBezTo>
                  <a:pt x="43306" y="107793"/>
                  <a:pt x="38100" y="100663"/>
                  <a:pt x="38100" y="85725"/>
                </a:cubicBezTo>
                <a:cubicBezTo>
                  <a:pt x="38100" y="57150"/>
                  <a:pt x="59422" y="38100"/>
                  <a:pt x="85725" y="38100"/>
                </a:cubicBezTo>
                <a:close/>
                <a:moveTo>
                  <a:pt x="136141" y="21840"/>
                </a:moveTo>
                <a:cubicBezTo>
                  <a:pt x="139860" y="18120"/>
                  <a:pt x="145891" y="18120"/>
                  <a:pt x="149611" y="21840"/>
                </a:cubicBezTo>
                <a:cubicBezTo>
                  <a:pt x="153330" y="25560"/>
                  <a:pt x="153330" y="31590"/>
                  <a:pt x="149611" y="35310"/>
                </a:cubicBezTo>
                <a:lnTo>
                  <a:pt x="140086" y="44835"/>
                </a:lnTo>
                <a:cubicBezTo>
                  <a:pt x="136366" y="48555"/>
                  <a:pt x="130335" y="48555"/>
                  <a:pt x="126616" y="44835"/>
                </a:cubicBezTo>
                <a:cubicBezTo>
                  <a:pt x="122896" y="41115"/>
                  <a:pt x="122896" y="35085"/>
                  <a:pt x="126616" y="31365"/>
                </a:cubicBezTo>
                <a:close/>
                <a:moveTo>
                  <a:pt x="21840" y="21840"/>
                </a:moveTo>
                <a:cubicBezTo>
                  <a:pt x="25560" y="18120"/>
                  <a:pt x="31590" y="18120"/>
                  <a:pt x="35310" y="21840"/>
                </a:cubicBezTo>
                <a:lnTo>
                  <a:pt x="44835" y="31365"/>
                </a:lnTo>
                <a:cubicBezTo>
                  <a:pt x="48555" y="35085"/>
                  <a:pt x="48555" y="41115"/>
                  <a:pt x="44835" y="44835"/>
                </a:cubicBezTo>
                <a:cubicBezTo>
                  <a:pt x="41115" y="48555"/>
                  <a:pt x="35085" y="48555"/>
                  <a:pt x="31365" y="44835"/>
                </a:cubicBezTo>
                <a:lnTo>
                  <a:pt x="21840" y="35310"/>
                </a:lnTo>
                <a:cubicBezTo>
                  <a:pt x="18120" y="31590"/>
                  <a:pt x="18120" y="25560"/>
                  <a:pt x="21840" y="21840"/>
                </a:cubicBezTo>
                <a:close/>
                <a:moveTo>
                  <a:pt x="85725" y="0"/>
                </a:moveTo>
                <a:cubicBezTo>
                  <a:pt x="90986" y="0"/>
                  <a:pt x="95250" y="4265"/>
                  <a:pt x="95250" y="9525"/>
                </a:cubicBezTo>
                <a:lnTo>
                  <a:pt x="95250" y="19050"/>
                </a:lnTo>
                <a:cubicBezTo>
                  <a:pt x="95250" y="24310"/>
                  <a:pt x="90986" y="28575"/>
                  <a:pt x="85725" y="28575"/>
                </a:cubicBezTo>
                <a:cubicBezTo>
                  <a:pt x="80464" y="28575"/>
                  <a:pt x="76200" y="24310"/>
                  <a:pt x="76200" y="19050"/>
                </a:cubicBezTo>
                <a:lnTo>
                  <a:pt x="76200" y="9525"/>
                </a:lnTo>
                <a:cubicBezTo>
                  <a:pt x="76200" y="4265"/>
                  <a:pt x="80464" y="0"/>
                  <a:pt x="85725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460A991C-BA4C-C31C-B948-D5F252D0A83E}"/>
              </a:ext>
            </a:extLst>
          </p:cNvPr>
          <p:cNvSpPr txBox="1"/>
          <p:nvPr userDrawn="1"/>
        </p:nvSpPr>
        <p:spPr>
          <a:xfrm>
            <a:off x="-1691344" y="2506490"/>
            <a:ext cx="1373969" cy="2428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</a:pPr>
            <a:r>
              <a:rPr lang="ru-RU" sz="900" b="0">
                <a:solidFill>
                  <a:schemeClr val="accent1"/>
                </a:solidFill>
              </a:rPr>
              <a:t>Используй эти размеры </a:t>
            </a:r>
            <a:br>
              <a:rPr lang="ru-RU" sz="900" b="0">
                <a:solidFill>
                  <a:schemeClr val="accent1"/>
                </a:solidFill>
              </a:rPr>
            </a:br>
            <a:r>
              <a:rPr lang="ru-RU" sz="900" b="0">
                <a:solidFill>
                  <a:schemeClr val="accent1"/>
                </a:solidFill>
              </a:rPr>
              <a:t>по всей презентации</a:t>
            </a:r>
          </a:p>
        </p:txBody>
      </p:sp>
      <p:grpSp>
        <p:nvGrpSpPr>
          <p:cNvPr id="99" name="Группа 98">
            <a:extLst>
              <a:ext uri="{FF2B5EF4-FFF2-40B4-BE49-F238E27FC236}">
                <a16:creationId xmlns:a16="http://schemas.microsoft.com/office/drawing/2014/main" id="{2E71DD8D-C54C-374A-9710-1CDE851D0C87}"/>
              </a:ext>
            </a:extLst>
          </p:cNvPr>
          <p:cNvGrpSpPr/>
          <p:nvPr userDrawn="1"/>
        </p:nvGrpSpPr>
        <p:grpSpPr>
          <a:xfrm>
            <a:off x="-2138458" y="3080607"/>
            <a:ext cx="1935384" cy="3777393"/>
            <a:chOff x="-2138458" y="3080607"/>
            <a:chExt cx="1935384" cy="3777393"/>
          </a:xfrm>
        </p:grpSpPr>
        <p:grpSp>
          <p:nvGrpSpPr>
            <p:cNvPr id="100" name="Группа 99">
              <a:extLst>
                <a:ext uri="{FF2B5EF4-FFF2-40B4-BE49-F238E27FC236}">
                  <a16:creationId xmlns:a16="http://schemas.microsoft.com/office/drawing/2014/main" id="{B53855B0-DA7A-AE45-A173-614583F73039}"/>
                </a:ext>
              </a:extLst>
            </p:cNvPr>
            <p:cNvGrpSpPr/>
            <p:nvPr userDrawn="1"/>
          </p:nvGrpSpPr>
          <p:grpSpPr>
            <a:xfrm>
              <a:off x="-2131314" y="5782119"/>
              <a:ext cx="1928240" cy="1075881"/>
              <a:chOff x="-2131314" y="5782119"/>
              <a:chExt cx="1928240" cy="1075881"/>
            </a:xfrm>
          </p:grpSpPr>
          <p:sp>
            <p:nvSpPr>
              <p:cNvPr id="126" name="Прямоугольник: скругленные углы 89">
                <a:extLst>
                  <a:ext uri="{FF2B5EF4-FFF2-40B4-BE49-F238E27FC236}">
                    <a16:creationId xmlns:a16="http://schemas.microsoft.com/office/drawing/2014/main" id="{7159AD1D-C09D-8647-A4AA-10E7BFB4D65C}"/>
                  </a:ext>
                </a:extLst>
              </p:cNvPr>
              <p:cNvSpPr/>
              <p:nvPr/>
            </p:nvSpPr>
            <p:spPr>
              <a:xfrm>
                <a:off x="-2131314" y="5782119"/>
                <a:ext cx="1928240" cy="1075881"/>
              </a:xfrm>
              <a:prstGeom prst="roundRect">
                <a:avLst>
                  <a:gd name="adj" fmla="val 12985"/>
                </a:avLst>
              </a:prstGeom>
              <a:solidFill>
                <a:schemeClr val="bg1">
                  <a:alpha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27" name="TextBox 126">
                <a:extLst>
                  <a:ext uri="{FF2B5EF4-FFF2-40B4-BE49-F238E27FC236}">
                    <a16:creationId xmlns:a16="http://schemas.microsoft.com/office/drawing/2014/main" id="{E33568B0-11B5-1141-8702-FA715885AE3C}"/>
                  </a:ext>
                </a:extLst>
              </p:cNvPr>
              <p:cNvSpPr txBox="1"/>
              <p:nvPr/>
            </p:nvSpPr>
            <p:spPr>
              <a:xfrm>
                <a:off x="-1788338" y="5868204"/>
                <a:ext cx="1155882" cy="151095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pPr algn="l">
                  <a:lnSpc>
                    <a:spcPct val="90000"/>
                  </a:lnSpc>
                </a:pPr>
                <a:r>
                  <a:rPr lang="ru-RU" sz="1000" b="1">
                    <a:solidFill>
                      <a:schemeClr val="accent1"/>
                    </a:solidFill>
                  </a:rPr>
                  <a:t>Шаблон </a:t>
                </a:r>
                <a:r>
                  <a:rPr lang="en-US" sz="1000" b="1">
                    <a:solidFill>
                      <a:schemeClr val="accent1"/>
                    </a:solidFill>
                  </a:rPr>
                  <a:t>Ozon</a:t>
                </a:r>
                <a:endParaRPr lang="ru-RU" sz="1000" b="1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28" name="Рисунок 93">
                <a:extLst>
                  <a:ext uri="{FF2B5EF4-FFF2-40B4-BE49-F238E27FC236}">
                    <a16:creationId xmlns:a16="http://schemas.microsoft.com/office/drawing/2014/main" id="{40273014-DBDC-8E4F-B059-5B0DD4EC34FF}"/>
                  </a:ext>
                </a:extLst>
              </p:cNvPr>
              <p:cNvSpPr/>
              <p:nvPr/>
            </p:nvSpPr>
            <p:spPr>
              <a:xfrm>
                <a:off x="-2004963" y="5853908"/>
                <a:ext cx="161099" cy="161099"/>
              </a:xfrm>
              <a:custGeom>
                <a:avLst/>
                <a:gdLst>
                  <a:gd name="connsiteX0" fmla="*/ 85725 w 171450"/>
                  <a:gd name="connsiteY0" fmla="*/ 171450 h 171450"/>
                  <a:gd name="connsiteX1" fmla="*/ 171450 w 171450"/>
                  <a:gd name="connsiteY1" fmla="*/ 85725 h 171450"/>
                  <a:gd name="connsiteX2" fmla="*/ 85725 w 171450"/>
                  <a:gd name="connsiteY2" fmla="*/ 0 h 171450"/>
                  <a:gd name="connsiteX3" fmla="*/ 0 w 171450"/>
                  <a:gd name="connsiteY3" fmla="*/ 85725 h 171450"/>
                  <a:gd name="connsiteX4" fmla="*/ 85725 w 171450"/>
                  <a:gd name="connsiteY4" fmla="*/ 171450 h 171450"/>
                  <a:gd name="connsiteX5" fmla="*/ 130560 w 171450"/>
                  <a:gd name="connsiteY5" fmla="*/ 73410 h 171450"/>
                  <a:gd name="connsiteX6" fmla="*/ 82935 w 171450"/>
                  <a:gd name="connsiteY6" fmla="*/ 121035 h 171450"/>
                  <a:gd name="connsiteX7" fmla="*/ 69465 w 171450"/>
                  <a:gd name="connsiteY7" fmla="*/ 121035 h 171450"/>
                  <a:gd name="connsiteX8" fmla="*/ 40890 w 171450"/>
                  <a:gd name="connsiteY8" fmla="*/ 92460 h 171450"/>
                  <a:gd name="connsiteX9" fmla="*/ 40890 w 171450"/>
                  <a:gd name="connsiteY9" fmla="*/ 78990 h 171450"/>
                  <a:gd name="connsiteX10" fmla="*/ 54360 w 171450"/>
                  <a:gd name="connsiteY10" fmla="*/ 78990 h 171450"/>
                  <a:gd name="connsiteX11" fmla="*/ 76200 w 171450"/>
                  <a:gd name="connsiteY11" fmla="*/ 100830 h 171450"/>
                  <a:gd name="connsiteX12" fmla="*/ 117090 w 171450"/>
                  <a:gd name="connsiteY12" fmla="*/ 59940 h 171450"/>
                  <a:gd name="connsiteX13" fmla="*/ 130560 w 171450"/>
                  <a:gd name="connsiteY13" fmla="*/ 59940 h 171450"/>
                  <a:gd name="connsiteX14" fmla="*/ 130560 w 171450"/>
                  <a:gd name="connsiteY14" fmla="*/ 73410 h 171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71450" h="171450">
                    <a:moveTo>
                      <a:pt x="85725" y="171450"/>
                    </a:moveTo>
                    <a:cubicBezTo>
                      <a:pt x="138915" y="171450"/>
                      <a:pt x="171450" y="138915"/>
                      <a:pt x="171450" y="85725"/>
                    </a:cubicBezTo>
                    <a:cubicBezTo>
                      <a:pt x="171450" y="32535"/>
                      <a:pt x="138915" y="0"/>
                      <a:pt x="85725" y="0"/>
                    </a:cubicBezTo>
                    <a:cubicBezTo>
                      <a:pt x="32535" y="0"/>
                      <a:pt x="0" y="32535"/>
                      <a:pt x="0" y="85725"/>
                    </a:cubicBezTo>
                    <a:cubicBezTo>
                      <a:pt x="0" y="138915"/>
                      <a:pt x="32535" y="171450"/>
                      <a:pt x="85725" y="171450"/>
                    </a:cubicBezTo>
                    <a:close/>
                    <a:moveTo>
                      <a:pt x="130560" y="73410"/>
                    </a:moveTo>
                    <a:lnTo>
                      <a:pt x="82935" y="121035"/>
                    </a:lnTo>
                    <a:cubicBezTo>
                      <a:pt x="79216" y="124755"/>
                      <a:pt x="73184" y="124755"/>
                      <a:pt x="69465" y="121035"/>
                    </a:cubicBezTo>
                    <a:lnTo>
                      <a:pt x="40890" y="92460"/>
                    </a:lnTo>
                    <a:cubicBezTo>
                      <a:pt x="37170" y="88741"/>
                      <a:pt x="37170" y="82709"/>
                      <a:pt x="40890" y="78990"/>
                    </a:cubicBezTo>
                    <a:cubicBezTo>
                      <a:pt x="44610" y="75270"/>
                      <a:pt x="50640" y="75270"/>
                      <a:pt x="54360" y="78990"/>
                    </a:cubicBezTo>
                    <a:lnTo>
                      <a:pt x="76200" y="100830"/>
                    </a:lnTo>
                    <a:lnTo>
                      <a:pt x="117090" y="59940"/>
                    </a:lnTo>
                    <a:cubicBezTo>
                      <a:pt x="120809" y="56220"/>
                      <a:pt x="126841" y="56220"/>
                      <a:pt x="130560" y="59940"/>
                    </a:cubicBezTo>
                    <a:cubicBezTo>
                      <a:pt x="134280" y="63660"/>
                      <a:pt x="134280" y="69691"/>
                      <a:pt x="130560" y="734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29" name="TextBox 128">
                <a:extLst>
                  <a:ext uri="{FF2B5EF4-FFF2-40B4-BE49-F238E27FC236}">
                    <a16:creationId xmlns:a16="http://schemas.microsoft.com/office/drawing/2014/main" id="{BE28EB6D-6A7C-A94F-821E-17CA0CB207E6}"/>
                  </a:ext>
                </a:extLst>
              </p:cNvPr>
              <p:cNvSpPr txBox="1"/>
              <p:nvPr/>
            </p:nvSpPr>
            <p:spPr>
              <a:xfrm>
                <a:off x="-2004962" y="6072106"/>
                <a:ext cx="1687587" cy="60024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l">
                  <a:lnSpc>
                    <a:spcPct val="110000"/>
                  </a:lnSpc>
                </a:pPr>
                <a:r>
                  <a:rPr lang="ru-RU" sz="900" spc="-30" baseline="0">
                    <a:solidFill>
                      <a:schemeClr val="tx2"/>
                    </a:solidFill>
                  </a:rPr>
                  <a:t>Если нужно больше материалов: </a:t>
                </a:r>
                <a:r>
                  <a:rPr lang="ru-RU" sz="900" b="1" spc="-30" baseline="0">
                    <a:solidFill>
                      <a:schemeClr val="tx2"/>
                    </a:solidFill>
                  </a:rPr>
                  <a:t>правое меню </a:t>
                </a:r>
                <a:r>
                  <a:rPr lang="en-US" sz="900" b="1" spc="-30" baseline="0">
                    <a:solidFill>
                      <a:schemeClr val="tx2"/>
                    </a:solidFill>
                  </a:rPr>
                  <a:t>Staff — Brand </a:t>
                </a:r>
                <a:r>
                  <a:rPr lang="ru-RU" sz="900" b="1" spc="-30" baseline="0">
                    <a:solidFill>
                      <a:schemeClr val="tx2"/>
                    </a:solidFill>
                  </a:rPr>
                  <a:t>— Всё для презентаций. </a:t>
                </a:r>
                <a:r>
                  <a:rPr lang="ru-RU" sz="900" b="0" spc="-30" baseline="0">
                    <a:solidFill>
                      <a:schemeClr val="tx2"/>
                    </a:solidFill>
                  </a:rPr>
                  <a:t>Или пиши нам на </a:t>
                </a:r>
                <a:r>
                  <a:rPr lang="en-US" sz="900" b="0" spc="-30" baseline="0">
                    <a:solidFill>
                      <a:schemeClr val="tx2"/>
                    </a:solidFill>
                  </a:rPr>
                  <a:t>presentations@ozon.ru.</a:t>
                </a:r>
                <a:r>
                  <a:rPr lang="ru-RU" sz="900" b="0" spc="-30" baseline="0">
                    <a:solidFill>
                      <a:schemeClr val="tx2"/>
                    </a:solidFill>
                  </a:rPr>
                  <a:t> </a:t>
                </a:r>
              </a:p>
            </p:txBody>
          </p:sp>
        </p:grpSp>
        <p:grpSp>
          <p:nvGrpSpPr>
            <p:cNvPr id="101" name="Группа 100">
              <a:extLst>
                <a:ext uri="{FF2B5EF4-FFF2-40B4-BE49-F238E27FC236}">
                  <a16:creationId xmlns:a16="http://schemas.microsoft.com/office/drawing/2014/main" id="{6F63AD88-FFF4-B441-A69B-64E098AD1010}"/>
                </a:ext>
              </a:extLst>
            </p:cNvPr>
            <p:cNvGrpSpPr/>
            <p:nvPr userDrawn="1"/>
          </p:nvGrpSpPr>
          <p:grpSpPr>
            <a:xfrm>
              <a:off x="-2138458" y="3080607"/>
              <a:ext cx="1928241" cy="2523683"/>
              <a:chOff x="-2138458" y="3070447"/>
              <a:chExt cx="1928241" cy="2523683"/>
            </a:xfrm>
          </p:grpSpPr>
          <p:sp>
            <p:nvSpPr>
              <p:cNvPr id="102" name="Прямоугольник: скругленные углы 57">
                <a:extLst>
                  <a:ext uri="{FF2B5EF4-FFF2-40B4-BE49-F238E27FC236}">
                    <a16:creationId xmlns:a16="http://schemas.microsoft.com/office/drawing/2014/main" id="{EE1DB3FB-2874-5C4C-A609-057380990A72}"/>
                  </a:ext>
                </a:extLst>
              </p:cNvPr>
              <p:cNvSpPr/>
              <p:nvPr/>
            </p:nvSpPr>
            <p:spPr>
              <a:xfrm>
                <a:off x="-2138458" y="3125312"/>
                <a:ext cx="1928241" cy="2468818"/>
              </a:xfrm>
              <a:prstGeom prst="roundRect">
                <a:avLst>
                  <a:gd name="adj" fmla="val 5926"/>
                </a:avLst>
              </a:prstGeom>
              <a:solidFill>
                <a:schemeClr val="bg1">
                  <a:alpha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03" name="Прямоугольник: скругленные верхние углы 58">
                <a:extLst>
                  <a:ext uri="{FF2B5EF4-FFF2-40B4-BE49-F238E27FC236}">
                    <a16:creationId xmlns:a16="http://schemas.microsoft.com/office/drawing/2014/main" id="{EE39FAF2-0900-DF43-8015-C2169FC456FD}"/>
                  </a:ext>
                </a:extLst>
              </p:cNvPr>
              <p:cNvSpPr/>
              <p:nvPr/>
            </p:nvSpPr>
            <p:spPr>
              <a:xfrm>
                <a:off x="-2136930" y="3070447"/>
                <a:ext cx="1926713" cy="2880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accent6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36000" rtlCol="0" anchor="ctr"/>
              <a:lstStyle/>
              <a:p>
                <a:pPr algn="ctr"/>
                <a:r>
                  <a:rPr lang="ru-RU" sz="1100" b="1">
                    <a:solidFill>
                      <a:schemeClr val="tx1"/>
                    </a:solidFill>
                  </a:rPr>
                  <a:t>Цвета </a:t>
                </a:r>
                <a:r>
                  <a:rPr lang="en-US" sz="1100" b="1">
                    <a:solidFill>
                      <a:schemeClr val="tx1"/>
                    </a:solidFill>
                  </a:rPr>
                  <a:t>Ozon</a:t>
                </a:r>
                <a:endParaRPr lang="ru-RU" sz="1100" b="1">
                  <a:solidFill>
                    <a:schemeClr val="tx1"/>
                  </a:solidFill>
                </a:endParaRPr>
              </a:p>
            </p:txBody>
          </p:sp>
          <p:sp>
            <p:nvSpPr>
              <p:cNvPr id="104" name="TextBox 103">
                <a:extLst>
                  <a:ext uri="{FF2B5EF4-FFF2-40B4-BE49-F238E27FC236}">
                    <a16:creationId xmlns:a16="http://schemas.microsoft.com/office/drawing/2014/main" id="{F2D0638E-C82E-AA4F-9A3C-0F0C4889B269}"/>
                  </a:ext>
                </a:extLst>
              </p:cNvPr>
              <p:cNvSpPr txBox="1"/>
              <p:nvPr/>
            </p:nvSpPr>
            <p:spPr>
              <a:xfrm>
                <a:off x="-2003446" y="3412239"/>
                <a:ext cx="1638525" cy="17162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l"/>
                <a:r>
                  <a:rPr lang="ru-RU" sz="1000" dirty="0"/>
                  <a:t>Цвет текста </a:t>
                </a:r>
              </a:p>
            </p:txBody>
          </p:sp>
          <p:sp>
            <p:nvSpPr>
              <p:cNvPr id="105" name="Прямоугольник: скругленные углы 61">
                <a:extLst>
                  <a:ext uri="{FF2B5EF4-FFF2-40B4-BE49-F238E27FC236}">
                    <a16:creationId xmlns:a16="http://schemas.microsoft.com/office/drawing/2014/main" id="{E7C333EA-AFEE-0042-929F-A50583107B88}"/>
                  </a:ext>
                </a:extLst>
              </p:cNvPr>
              <p:cNvSpPr/>
              <p:nvPr userDrawn="1"/>
            </p:nvSpPr>
            <p:spPr>
              <a:xfrm>
                <a:off x="-2004344" y="3611632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tx1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06" name="Прямоугольник: скругленные углы 62">
                <a:extLst>
                  <a:ext uri="{FF2B5EF4-FFF2-40B4-BE49-F238E27FC236}">
                    <a16:creationId xmlns:a16="http://schemas.microsoft.com/office/drawing/2014/main" id="{A6D201BF-E90D-9143-84E4-E1844FC5F0A1}"/>
                  </a:ext>
                </a:extLst>
              </p:cNvPr>
              <p:cNvSpPr/>
              <p:nvPr/>
            </p:nvSpPr>
            <p:spPr>
              <a:xfrm>
                <a:off x="-1738339" y="3611632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accent6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07" name="Прямоугольник: скругленные углы 63">
                <a:extLst>
                  <a:ext uri="{FF2B5EF4-FFF2-40B4-BE49-F238E27FC236}">
                    <a16:creationId xmlns:a16="http://schemas.microsoft.com/office/drawing/2014/main" id="{E0610E90-A29F-5143-8FC6-FC430BFB8135}"/>
                  </a:ext>
                </a:extLst>
              </p:cNvPr>
              <p:cNvSpPr/>
              <p:nvPr/>
            </p:nvSpPr>
            <p:spPr>
              <a:xfrm>
                <a:off x="-1739900" y="4646897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accent3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08" name="Прямоугольник: скругленные углы 68">
                <a:extLst>
                  <a:ext uri="{FF2B5EF4-FFF2-40B4-BE49-F238E27FC236}">
                    <a16:creationId xmlns:a16="http://schemas.microsoft.com/office/drawing/2014/main" id="{F532578D-C6A7-3E41-AC25-F7E0C266A6F6}"/>
                  </a:ext>
                </a:extLst>
              </p:cNvPr>
              <p:cNvSpPr/>
              <p:nvPr/>
            </p:nvSpPr>
            <p:spPr>
              <a:xfrm>
                <a:off x="-2004963" y="4646897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accent1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09" name="TextBox 108">
                <a:extLst>
                  <a:ext uri="{FF2B5EF4-FFF2-40B4-BE49-F238E27FC236}">
                    <a16:creationId xmlns:a16="http://schemas.microsoft.com/office/drawing/2014/main" id="{D3E7CF2D-4E99-D648-9065-91ED8253D14D}"/>
                  </a:ext>
                </a:extLst>
              </p:cNvPr>
              <p:cNvSpPr txBox="1"/>
              <p:nvPr/>
            </p:nvSpPr>
            <p:spPr>
              <a:xfrm>
                <a:off x="-2003446" y="3935644"/>
                <a:ext cx="1638525" cy="17162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l"/>
                <a:r>
                  <a:rPr lang="ru-RU" sz="1000"/>
                  <a:t>Цвет больших плашек</a:t>
                </a:r>
              </a:p>
            </p:txBody>
          </p:sp>
          <p:sp>
            <p:nvSpPr>
              <p:cNvPr id="110" name="Прямоугольник: скругленные углы 70">
                <a:extLst>
                  <a:ext uri="{FF2B5EF4-FFF2-40B4-BE49-F238E27FC236}">
                    <a16:creationId xmlns:a16="http://schemas.microsoft.com/office/drawing/2014/main" id="{D7748610-2B67-AE4A-87D5-AD06019CD507}"/>
                  </a:ext>
                </a:extLst>
              </p:cNvPr>
              <p:cNvSpPr/>
              <p:nvPr/>
            </p:nvSpPr>
            <p:spPr>
              <a:xfrm>
                <a:off x="-1209774" y="4131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accent2">
                  <a:lumMod val="20000"/>
                  <a:lumOff val="80000"/>
                </a:schemeClr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11" name="Прямоугольник: скругленные углы 71">
                <a:extLst>
                  <a:ext uri="{FF2B5EF4-FFF2-40B4-BE49-F238E27FC236}">
                    <a16:creationId xmlns:a16="http://schemas.microsoft.com/office/drawing/2014/main" id="{CB11B6E2-D967-B04C-8A33-92F3ECE14FD5}"/>
                  </a:ext>
                </a:extLst>
              </p:cNvPr>
              <p:cNvSpPr/>
              <p:nvPr/>
            </p:nvSpPr>
            <p:spPr>
              <a:xfrm>
                <a:off x="-2004963" y="4131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accent6">
                  <a:lumMod val="20000"/>
                  <a:lumOff val="80000"/>
                </a:schemeClr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12" name="Прямоугольник: скругленные углы 74">
                <a:extLst>
                  <a:ext uri="{FF2B5EF4-FFF2-40B4-BE49-F238E27FC236}">
                    <a16:creationId xmlns:a16="http://schemas.microsoft.com/office/drawing/2014/main" id="{BCB11055-11DA-3247-9ACA-197DD2E71500}"/>
                  </a:ext>
                </a:extLst>
              </p:cNvPr>
              <p:cNvSpPr/>
              <p:nvPr/>
            </p:nvSpPr>
            <p:spPr>
              <a:xfrm>
                <a:off x="-1475201" y="4131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accent5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13" name="TextBox 112">
                <a:extLst>
                  <a:ext uri="{FF2B5EF4-FFF2-40B4-BE49-F238E27FC236}">
                    <a16:creationId xmlns:a16="http://schemas.microsoft.com/office/drawing/2014/main" id="{47F8CA85-9D43-394C-9685-2939CB8BA4C0}"/>
                  </a:ext>
                </a:extLst>
              </p:cNvPr>
              <p:cNvSpPr txBox="1"/>
              <p:nvPr/>
            </p:nvSpPr>
            <p:spPr>
              <a:xfrm>
                <a:off x="-2003446" y="4451492"/>
                <a:ext cx="1638525" cy="17162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l"/>
                <a:r>
                  <a:rPr lang="ru-RU" sz="1000"/>
                  <a:t>Цвета маленьких плашек</a:t>
                </a:r>
              </a:p>
            </p:txBody>
          </p:sp>
          <p:sp>
            <p:nvSpPr>
              <p:cNvPr id="114" name="Прямоугольник: скругленные углы 82">
                <a:extLst>
                  <a:ext uri="{FF2B5EF4-FFF2-40B4-BE49-F238E27FC236}">
                    <a16:creationId xmlns:a16="http://schemas.microsoft.com/office/drawing/2014/main" id="{717F8812-6875-1D45-994E-BB339312194C}"/>
                  </a:ext>
                </a:extLst>
              </p:cNvPr>
              <p:cNvSpPr/>
              <p:nvPr userDrawn="1"/>
            </p:nvSpPr>
            <p:spPr>
              <a:xfrm>
                <a:off x="-1739900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B7EDC9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15" name="Прямоугольник: скругленные углы 83">
                <a:extLst>
                  <a:ext uri="{FF2B5EF4-FFF2-40B4-BE49-F238E27FC236}">
                    <a16:creationId xmlns:a16="http://schemas.microsoft.com/office/drawing/2014/main" id="{E0AECB4F-8351-794D-93C5-0FC56AFD1D44}"/>
                  </a:ext>
                </a:extLst>
              </p:cNvPr>
              <p:cNvSpPr/>
              <p:nvPr/>
            </p:nvSpPr>
            <p:spPr>
              <a:xfrm>
                <a:off x="-1474837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FFA800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16" name="Прямоугольник: скругленные углы 84">
                <a:extLst>
                  <a:ext uri="{FF2B5EF4-FFF2-40B4-BE49-F238E27FC236}">
                    <a16:creationId xmlns:a16="http://schemas.microsoft.com/office/drawing/2014/main" id="{84F07328-B7E0-5447-A55B-C1A2D8DB7C2A}"/>
                  </a:ext>
                </a:extLst>
              </p:cNvPr>
              <p:cNvSpPr/>
              <p:nvPr/>
            </p:nvSpPr>
            <p:spPr>
              <a:xfrm>
                <a:off x="-2004963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10C44C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17" name="TextBox 116">
                <a:extLst>
                  <a:ext uri="{FF2B5EF4-FFF2-40B4-BE49-F238E27FC236}">
                    <a16:creationId xmlns:a16="http://schemas.microsoft.com/office/drawing/2014/main" id="{20D6D75E-101A-6A4F-9178-9EFE8CC6D9A5}"/>
                  </a:ext>
                </a:extLst>
              </p:cNvPr>
              <p:cNvSpPr txBox="1"/>
              <p:nvPr/>
            </p:nvSpPr>
            <p:spPr>
              <a:xfrm>
                <a:off x="-2003446" y="4973480"/>
                <a:ext cx="1638525" cy="17162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l"/>
                <a:r>
                  <a:rPr lang="ru-RU" sz="900"/>
                  <a:t>Рост / падение показателей</a:t>
                </a:r>
              </a:p>
            </p:txBody>
          </p:sp>
          <p:sp>
            <p:nvSpPr>
              <p:cNvPr id="118" name="Прямоугольник: скругленные углы 13">
                <a:extLst>
                  <a:ext uri="{FF2B5EF4-FFF2-40B4-BE49-F238E27FC236}">
                    <a16:creationId xmlns:a16="http://schemas.microsoft.com/office/drawing/2014/main" id="{2C35EE01-2C3A-4C4A-90FA-C23A0EB4423A}"/>
                  </a:ext>
                </a:extLst>
              </p:cNvPr>
              <p:cNvSpPr/>
              <p:nvPr/>
            </p:nvSpPr>
            <p:spPr>
              <a:xfrm>
                <a:off x="-944711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F53C14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19" name="Прямоугольник: скругленные углы 14">
                <a:extLst>
                  <a:ext uri="{FF2B5EF4-FFF2-40B4-BE49-F238E27FC236}">
                    <a16:creationId xmlns:a16="http://schemas.microsoft.com/office/drawing/2014/main" id="{F23846F3-3718-534D-AF86-698E5EC4412D}"/>
                  </a:ext>
                </a:extLst>
              </p:cNvPr>
              <p:cNvSpPr/>
              <p:nvPr/>
            </p:nvSpPr>
            <p:spPr>
              <a:xfrm>
                <a:off x="-679648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FCC4B8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20" name="Прямоугольник: скругленные углы 15">
                <a:extLst>
                  <a:ext uri="{FF2B5EF4-FFF2-40B4-BE49-F238E27FC236}">
                    <a16:creationId xmlns:a16="http://schemas.microsoft.com/office/drawing/2014/main" id="{3A97CAF1-689C-BF48-871E-BBB713209171}"/>
                  </a:ext>
                </a:extLst>
              </p:cNvPr>
              <p:cNvSpPr/>
              <p:nvPr/>
            </p:nvSpPr>
            <p:spPr>
              <a:xfrm>
                <a:off x="-1209774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FFE5B2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21" name="Прямоугольник: скругленные углы 20">
                <a:extLst>
                  <a:ext uri="{FF2B5EF4-FFF2-40B4-BE49-F238E27FC236}">
                    <a16:creationId xmlns:a16="http://schemas.microsoft.com/office/drawing/2014/main" id="{4B95C69C-1592-E444-B3B7-F89C4AB80847}"/>
                  </a:ext>
                </a:extLst>
              </p:cNvPr>
              <p:cNvSpPr/>
              <p:nvPr userDrawn="1"/>
            </p:nvSpPr>
            <p:spPr>
              <a:xfrm>
                <a:off x="-944711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F53C14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22" name="Прямоугольник: скругленные углы 21">
                <a:extLst>
                  <a:ext uri="{FF2B5EF4-FFF2-40B4-BE49-F238E27FC236}">
                    <a16:creationId xmlns:a16="http://schemas.microsoft.com/office/drawing/2014/main" id="{4194A635-0E0B-C34A-A687-6A089157AD69}"/>
                  </a:ext>
                </a:extLst>
              </p:cNvPr>
              <p:cNvSpPr/>
              <p:nvPr userDrawn="1"/>
            </p:nvSpPr>
            <p:spPr>
              <a:xfrm>
                <a:off x="-679648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FCC4B8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23" name="Прямоугольник: скругленные углы 22">
                <a:extLst>
                  <a:ext uri="{FF2B5EF4-FFF2-40B4-BE49-F238E27FC236}">
                    <a16:creationId xmlns:a16="http://schemas.microsoft.com/office/drawing/2014/main" id="{FAA25E15-7636-6B4F-981E-0AA4C3F0B291}"/>
                  </a:ext>
                </a:extLst>
              </p:cNvPr>
              <p:cNvSpPr/>
              <p:nvPr userDrawn="1"/>
            </p:nvSpPr>
            <p:spPr>
              <a:xfrm>
                <a:off x="-1209774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FFE5B2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24" name="Прямоугольник: скругленные углы 79">
                <a:extLst>
                  <a:ext uri="{FF2B5EF4-FFF2-40B4-BE49-F238E27FC236}">
                    <a16:creationId xmlns:a16="http://schemas.microsoft.com/office/drawing/2014/main" id="{204BEF15-BA73-EA44-B155-CCBAB0CCEAA0}"/>
                  </a:ext>
                </a:extLst>
              </p:cNvPr>
              <p:cNvSpPr/>
              <p:nvPr userDrawn="1"/>
            </p:nvSpPr>
            <p:spPr>
              <a:xfrm>
                <a:off x="-1735356" y="4136975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bg1"/>
              </a:solidFill>
              <a:ln w="12700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25" name="Прямоугольник: скругленные углы 63">
                <a:extLst>
                  <a:ext uri="{FF2B5EF4-FFF2-40B4-BE49-F238E27FC236}">
                    <a16:creationId xmlns:a16="http://schemas.microsoft.com/office/drawing/2014/main" id="{87F68CB0-297D-CC43-BA1A-5FBBF3A6CE17}"/>
                  </a:ext>
                </a:extLst>
              </p:cNvPr>
              <p:cNvSpPr/>
              <p:nvPr userDrawn="1"/>
            </p:nvSpPr>
            <p:spPr>
              <a:xfrm>
                <a:off x="-1476289" y="4646897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accent2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171682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_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A8EF553D-F84B-BFE0-8F93-264A1FB7A89C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549398" y="883609"/>
            <a:ext cx="2131200" cy="473348"/>
            <a:chOff x="8489504" y="910877"/>
            <a:chExt cx="2734509" cy="606592"/>
          </a:xfrm>
          <a:solidFill>
            <a:schemeClr val="bg1"/>
          </a:solidFill>
        </p:grpSpPr>
        <p:sp>
          <p:nvSpPr>
            <p:cNvPr id="4" name="Полилиния 3">
              <a:extLst>
                <a:ext uri="{FF2B5EF4-FFF2-40B4-BE49-F238E27FC236}">
                  <a16:creationId xmlns:a16="http://schemas.microsoft.com/office/drawing/2014/main" id="{77DEBC73-46CD-E988-59D6-8D2A021E3B62}"/>
                </a:ext>
              </a:extLst>
            </p:cNvPr>
            <p:cNvSpPr/>
            <p:nvPr/>
          </p:nvSpPr>
          <p:spPr>
            <a:xfrm>
              <a:off x="10064626" y="910877"/>
              <a:ext cx="1159387" cy="606592"/>
            </a:xfrm>
            <a:custGeom>
              <a:avLst/>
              <a:gdLst>
                <a:gd name="connsiteX0" fmla="*/ 0 w 1159387"/>
                <a:gd name="connsiteY0" fmla="*/ 178242 h 606592"/>
                <a:gd name="connsiteX1" fmla="*/ 0 w 1159387"/>
                <a:gd name="connsiteY1" fmla="*/ 237024 h 606592"/>
                <a:gd name="connsiteX2" fmla="*/ 9135 w 1159387"/>
                <a:gd name="connsiteY2" fmla="*/ 246098 h 606592"/>
                <a:gd name="connsiteX3" fmla="*/ 30214 w 1159387"/>
                <a:gd name="connsiteY3" fmla="*/ 250009 h 606592"/>
                <a:gd name="connsiteX4" fmla="*/ 32261 w 1159387"/>
                <a:gd name="connsiteY4" fmla="*/ 250607 h 606592"/>
                <a:gd name="connsiteX5" fmla="*/ 85030 w 1159387"/>
                <a:gd name="connsiteY5" fmla="*/ 319338 h 606592"/>
                <a:gd name="connsiteX6" fmla="*/ 85030 w 1159387"/>
                <a:gd name="connsiteY6" fmla="*/ 483817 h 606592"/>
                <a:gd name="connsiteX7" fmla="*/ 120863 w 1159387"/>
                <a:gd name="connsiteY7" fmla="*/ 570989 h 606592"/>
                <a:gd name="connsiteX8" fmla="*/ 205874 w 1159387"/>
                <a:gd name="connsiteY8" fmla="*/ 606364 h 606592"/>
                <a:gd name="connsiteX9" fmla="*/ 207284 w 1159387"/>
                <a:gd name="connsiteY9" fmla="*/ 606364 h 606592"/>
                <a:gd name="connsiteX10" fmla="*/ 235964 w 1159387"/>
                <a:gd name="connsiteY10" fmla="*/ 606364 h 606592"/>
                <a:gd name="connsiteX11" fmla="*/ 247356 w 1159387"/>
                <a:gd name="connsiteY11" fmla="*/ 593268 h 606592"/>
                <a:gd name="connsiteX12" fmla="*/ 247337 w 1159387"/>
                <a:gd name="connsiteY12" fmla="*/ 563750 h 606592"/>
                <a:gd name="connsiteX13" fmla="*/ 247337 w 1159387"/>
                <a:gd name="connsiteY13" fmla="*/ 541928 h 606592"/>
                <a:gd name="connsiteX14" fmla="*/ 236802 w 1159387"/>
                <a:gd name="connsiteY14" fmla="*/ 530565 h 606592"/>
                <a:gd name="connsiteX15" fmla="*/ 197454 w 1159387"/>
                <a:gd name="connsiteY15" fmla="*/ 530527 h 606592"/>
                <a:gd name="connsiteX16" fmla="*/ 159506 w 1159387"/>
                <a:gd name="connsiteY16" fmla="*/ 492285 h 606592"/>
                <a:gd name="connsiteX17" fmla="*/ 159506 w 1159387"/>
                <a:gd name="connsiteY17" fmla="*/ 403084 h 606592"/>
                <a:gd name="connsiteX18" fmla="*/ 159506 w 1159387"/>
                <a:gd name="connsiteY18" fmla="*/ 316772 h 606592"/>
                <a:gd name="connsiteX19" fmla="*/ 100365 w 1159387"/>
                <a:gd name="connsiteY19" fmla="*/ 207274 h 606592"/>
                <a:gd name="connsiteX20" fmla="*/ 99080 w 1159387"/>
                <a:gd name="connsiteY20" fmla="*/ 206423 h 606592"/>
                <a:gd name="connsiteX21" fmla="*/ 100356 w 1159387"/>
                <a:gd name="connsiteY21" fmla="*/ 205547 h 606592"/>
                <a:gd name="connsiteX22" fmla="*/ 159506 w 1159387"/>
                <a:gd name="connsiteY22" fmla="*/ 90665 h 606592"/>
                <a:gd name="connsiteX23" fmla="*/ 159506 w 1159387"/>
                <a:gd name="connsiteY23" fmla="*/ 10992 h 606592"/>
                <a:gd name="connsiteX24" fmla="*/ 148962 w 1159387"/>
                <a:gd name="connsiteY24" fmla="*/ 0 h 606592"/>
                <a:gd name="connsiteX25" fmla="*/ 95565 w 1159387"/>
                <a:gd name="connsiteY25" fmla="*/ 0 h 606592"/>
                <a:gd name="connsiteX26" fmla="*/ 85030 w 1159387"/>
                <a:gd name="connsiteY26" fmla="*/ 10992 h 606592"/>
                <a:gd name="connsiteX27" fmla="*/ 85030 w 1159387"/>
                <a:gd name="connsiteY27" fmla="*/ 90665 h 606592"/>
                <a:gd name="connsiteX28" fmla="*/ 32366 w 1159387"/>
                <a:gd name="connsiteY28" fmla="*/ 162761 h 606592"/>
                <a:gd name="connsiteX29" fmla="*/ 30214 w 1159387"/>
                <a:gd name="connsiteY29" fmla="*/ 163402 h 606592"/>
                <a:gd name="connsiteX30" fmla="*/ 9135 w 1159387"/>
                <a:gd name="connsiteY30" fmla="*/ 167302 h 606592"/>
                <a:gd name="connsiteX31" fmla="*/ 0 w 1159387"/>
                <a:gd name="connsiteY31" fmla="*/ 178242 h 606592"/>
                <a:gd name="connsiteX32" fmla="*/ 933768 w 1159387"/>
                <a:gd name="connsiteY32" fmla="*/ 313343 h 606592"/>
                <a:gd name="connsiteX33" fmla="*/ 933768 w 1159387"/>
                <a:gd name="connsiteY33" fmla="*/ 468558 h 606592"/>
                <a:gd name="connsiteX34" fmla="*/ 930749 w 1159387"/>
                <a:gd name="connsiteY34" fmla="*/ 475902 h 606592"/>
                <a:gd name="connsiteX35" fmla="*/ 923472 w 1159387"/>
                <a:gd name="connsiteY35" fmla="*/ 478940 h 606592"/>
                <a:gd name="connsiteX36" fmla="*/ 869627 w 1159387"/>
                <a:gd name="connsiteY36" fmla="*/ 478902 h 606592"/>
                <a:gd name="connsiteX37" fmla="*/ 859349 w 1159387"/>
                <a:gd name="connsiteY37" fmla="*/ 468530 h 606592"/>
                <a:gd name="connsiteX38" fmla="*/ 859349 w 1159387"/>
                <a:gd name="connsiteY38" fmla="*/ 10375 h 606592"/>
                <a:gd name="connsiteX39" fmla="*/ 869636 w 1159387"/>
                <a:gd name="connsiteY39" fmla="*/ 0 h 606592"/>
                <a:gd name="connsiteX40" fmla="*/ 923472 w 1159387"/>
                <a:gd name="connsiteY40" fmla="*/ 0 h 606592"/>
                <a:gd name="connsiteX41" fmla="*/ 933768 w 1159387"/>
                <a:gd name="connsiteY41" fmla="*/ 10375 h 606592"/>
                <a:gd name="connsiteX42" fmla="*/ 933768 w 1159387"/>
                <a:gd name="connsiteY42" fmla="*/ 193355 h 606592"/>
                <a:gd name="connsiteX43" fmla="*/ 1159388 w 1159387"/>
                <a:gd name="connsiteY43" fmla="*/ 312995 h 606592"/>
                <a:gd name="connsiteX44" fmla="*/ 1159388 w 1159387"/>
                <a:gd name="connsiteY44" fmla="*/ 468520 h 606592"/>
                <a:gd name="connsiteX45" fmla="*/ 1156378 w 1159387"/>
                <a:gd name="connsiteY45" fmla="*/ 475854 h 606592"/>
                <a:gd name="connsiteX46" fmla="*/ 1149101 w 1159387"/>
                <a:gd name="connsiteY46" fmla="*/ 478893 h 606592"/>
                <a:gd name="connsiteX47" fmla="*/ 1095199 w 1159387"/>
                <a:gd name="connsiteY47" fmla="*/ 478893 h 606592"/>
                <a:gd name="connsiteX48" fmla="*/ 1087922 w 1159387"/>
                <a:gd name="connsiteY48" fmla="*/ 475854 h 606592"/>
                <a:gd name="connsiteX49" fmla="*/ 1084912 w 1159387"/>
                <a:gd name="connsiteY49" fmla="*/ 468520 h 606592"/>
                <a:gd name="connsiteX50" fmla="*/ 1084912 w 1159387"/>
                <a:gd name="connsiteY50" fmla="*/ 312995 h 606592"/>
                <a:gd name="connsiteX51" fmla="*/ 966868 w 1159387"/>
                <a:gd name="connsiteY51" fmla="*/ 246504 h 606592"/>
                <a:gd name="connsiteX52" fmla="*/ 933768 w 1159387"/>
                <a:gd name="connsiteY52" fmla="*/ 313343 h 606592"/>
                <a:gd name="connsiteX53" fmla="*/ 596563 w 1159387"/>
                <a:gd name="connsiteY53" fmla="*/ 207040 h 606592"/>
                <a:gd name="connsiteX54" fmla="*/ 549471 w 1159387"/>
                <a:gd name="connsiteY54" fmla="*/ 323084 h 606592"/>
                <a:gd name="connsiteX55" fmla="*/ 596563 w 1159387"/>
                <a:gd name="connsiteY55" fmla="*/ 439145 h 606592"/>
                <a:gd name="connsiteX56" fmla="*/ 797522 w 1159387"/>
                <a:gd name="connsiteY56" fmla="*/ 460995 h 606592"/>
                <a:gd name="connsiteX57" fmla="*/ 799923 w 1159387"/>
                <a:gd name="connsiteY57" fmla="*/ 459357 h 606592"/>
                <a:gd name="connsiteX58" fmla="*/ 805247 w 1159387"/>
                <a:gd name="connsiteY58" fmla="*/ 455385 h 606592"/>
                <a:gd name="connsiteX59" fmla="*/ 806018 w 1159387"/>
                <a:gd name="connsiteY59" fmla="*/ 438745 h 606592"/>
                <a:gd name="connsiteX60" fmla="*/ 790226 w 1159387"/>
                <a:gd name="connsiteY60" fmla="*/ 417067 h 606592"/>
                <a:gd name="connsiteX61" fmla="*/ 776110 w 1159387"/>
                <a:gd name="connsiteY61" fmla="*/ 397747 h 606592"/>
                <a:gd name="connsiteX62" fmla="*/ 760975 w 1159387"/>
                <a:gd name="connsiteY62" fmla="*/ 394585 h 606592"/>
                <a:gd name="connsiteX63" fmla="*/ 757003 w 1159387"/>
                <a:gd name="connsiteY63" fmla="*/ 397067 h 606592"/>
                <a:gd name="connsiteX64" fmla="*/ 619737 w 1159387"/>
                <a:gd name="connsiteY64" fmla="*/ 323084 h 606592"/>
                <a:gd name="connsiteX65" fmla="*/ 756945 w 1159387"/>
                <a:gd name="connsiteY65" fmla="*/ 249203 h 606592"/>
                <a:gd name="connsiteX66" fmla="*/ 760975 w 1159387"/>
                <a:gd name="connsiteY66" fmla="*/ 251591 h 606592"/>
                <a:gd name="connsiteX67" fmla="*/ 776148 w 1159387"/>
                <a:gd name="connsiteY67" fmla="*/ 248416 h 606592"/>
                <a:gd name="connsiteX68" fmla="*/ 790207 w 1159387"/>
                <a:gd name="connsiteY68" fmla="*/ 229138 h 606592"/>
                <a:gd name="connsiteX69" fmla="*/ 804618 w 1159387"/>
                <a:gd name="connsiteY69" fmla="*/ 209395 h 606592"/>
                <a:gd name="connsiteX70" fmla="*/ 799903 w 1159387"/>
                <a:gd name="connsiteY70" fmla="*/ 186809 h 606592"/>
                <a:gd name="connsiteX71" fmla="*/ 797522 w 1159387"/>
                <a:gd name="connsiteY71" fmla="*/ 185195 h 606592"/>
                <a:gd name="connsiteX72" fmla="*/ 596563 w 1159387"/>
                <a:gd name="connsiteY72" fmla="*/ 207040 h 606592"/>
                <a:gd name="connsiteX73" fmla="*/ 293714 w 1159387"/>
                <a:gd name="connsiteY73" fmla="*/ 350313 h 606592"/>
                <a:gd name="connsiteX74" fmla="*/ 469385 w 1159387"/>
                <a:gd name="connsiteY74" fmla="*/ 350313 h 606592"/>
                <a:gd name="connsiteX75" fmla="*/ 507323 w 1159387"/>
                <a:gd name="connsiteY75" fmla="*/ 312290 h 606592"/>
                <a:gd name="connsiteX76" fmla="*/ 472890 w 1159387"/>
                <a:gd name="connsiteY76" fmla="*/ 208836 h 606592"/>
                <a:gd name="connsiteX77" fmla="*/ 368190 w 1159387"/>
                <a:gd name="connsiteY77" fmla="*/ 159530 h 606592"/>
                <a:gd name="connsiteX78" fmla="*/ 219228 w 1159387"/>
                <a:gd name="connsiteY78" fmla="*/ 323103 h 606592"/>
                <a:gd name="connsiteX79" fmla="*/ 375915 w 1159387"/>
                <a:gd name="connsiteY79" fmla="*/ 486674 h 606592"/>
                <a:gd name="connsiteX80" fmla="*/ 502398 w 1159387"/>
                <a:gd name="connsiteY80" fmla="*/ 450623 h 606592"/>
                <a:gd name="connsiteX81" fmla="*/ 505913 w 1159387"/>
                <a:gd name="connsiteY81" fmla="*/ 435907 h 606592"/>
                <a:gd name="connsiteX82" fmla="*/ 504818 w 1159387"/>
                <a:gd name="connsiteY82" fmla="*/ 434088 h 606592"/>
                <a:gd name="connsiteX83" fmla="*/ 478519 w 1159387"/>
                <a:gd name="connsiteY83" fmla="*/ 391689 h 606592"/>
                <a:gd name="connsiteX84" fmla="*/ 464460 w 1159387"/>
                <a:gd name="connsiteY84" fmla="*/ 388476 h 606592"/>
                <a:gd name="connsiteX85" fmla="*/ 377335 w 1159387"/>
                <a:gd name="connsiteY85" fmla="*/ 414990 h 606592"/>
                <a:gd name="connsiteX86" fmla="*/ 293714 w 1159387"/>
                <a:gd name="connsiteY86" fmla="*/ 350313 h 606592"/>
                <a:gd name="connsiteX87" fmla="*/ 430732 w 1159387"/>
                <a:gd name="connsiteY87" fmla="*/ 287912 h 606592"/>
                <a:gd name="connsiteX88" fmla="*/ 368190 w 1159387"/>
                <a:gd name="connsiteY88" fmla="*/ 232071 h 606592"/>
                <a:gd name="connsiteX89" fmla="*/ 296524 w 1159387"/>
                <a:gd name="connsiteY89" fmla="*/ 287912 h 606592"/>
                <a:gd name="connsiteX90" fmla="*/ 430732 w 1159387"/>
                <a:gd name="connsiteY90" fmla="*/ 287912 h 606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</a:cxnLst>
              <a:rect l="l" t="t" r="r" b="b"/>
              <a:pathLst>
                <a:path w="1159387" h="606592">
                  <a:moveTo>
                    <a:pt x="0" y="178242"/>
                  </a:moveTo>
                  <a:lnTo>
                    <a:pt x="0" y="237024"/>
                  </a:lnTo>
                  <a:cubicBezTo>
                    <a:pt x="695" y="241577"/>
                    <a:pt x="4220" y="245266"/>
                    <a:pt x="9135" y="246098"/>
                  </a:cubicBezTo>
                  <a:cubicBezTo>
                    <a:pt x="16869" y="247387"/>
                    <a:pt x="27404" y="249197"/>
                    <a:pt x="30214" y="250009"/>
                  </a:cubicBezTo>
                  <a:cubicBezTo>
                    <a:pt x="30833" y="250193"/>
                    <a:pt x="31518" y="250390"/>
                    <a:pt x="32261" y="250607"/>
                  </a:cubicBezTo>
                  <a:cubicBezTo>
                    <a:pt x="46749" y="254784"/>
                    <a:pt x="83697" y="265433"/>
                    <a:pt x="85030" y="319338"/>
                  </a:cubicBezTo>
                  <a:lnTo>
                    <a:pt x="85030" y="483817"/>
                  </a:lnTo>
                  <a:cubicBezTo>
                    <a:pt x="85030" y="516573"/>
                    <a:pt x="97670" y="547958"/>
                    <a:pt x="120863" y="570989"/>
                  </a:cubicBezTo>
                  <a:cubicBezTo>
                    <a:pt x="143342" y="593696"/>
                    <a:pt x="174261" y="606402"/>
                    <a:pt x="205874" y="606364"/>
                  </a:cubicBezTo>
                  <a:lnTo>
                    <a:pt x="207284" y="606364"/>
                  </a:lnTo>
                  <a:cubicBezTo>
                    <a:pt x="207284" y="606364"/>
                    <a:pt x="207284" y="606879"/>
                    <a:pt x="235964" y="606364"/>
                  </a:cubicBezTo>
                  <a:cubicBezTo>
                    <a:pt x="243232" y="606231"/>
                    <a:pt x="247461" y="601383"/>
                    <a:pt x="247356" y="593268"/>
                  </a:cubicBezTo>
                  <a:cubicBezTo>
                    <a:pt x="247222" y="582028"/>
                    <a:pt x="247527" y="573246"/>
                    <a:pt x="247337" y="563750"/>
                  </a:cubicBezTo>
                  <a:cubicBezTo>
                    <a:pt x="247184" y="555816"/>
                    <a:pt x="247337" y="548520"/>
                    <a:pt x="247337" y="541928"/>
                  </a:cubicBezTo>
                  <a:cubicBezTo>
                    <a:pt x="247337" y="535804"/>
                    <a:pt x="242422" y="530794"/>
                    <a:pt x="236802" y="530565"/>
                  </a:cubicBezTo>
                  <a:cubicBezTo>
                    <a:pt x="226258" y="530527"/>
                    <a:pt x="211504" y="530527"/>
                    <a:pt x="197454" y="530527"/>
                  </a:cubicBezTo>
                  <a:cubicBezTo>
                    <a:pt x="177071" y="530527"/>
                    <a:pt x="159506" y="513401"/>
                    <a:pt x="159506" y="492285"/>
                  </a:cubicBezTo>
                  <a:lnTo>
                    <a:pt x="159506" y="403084"/>
                  </a:lnTo>
                  <a:cubicBezTo>
                    <a:pt x="160202" y="402874"/>
                    <a:pt x="159506" y="317750"/>
                    <a:pt x="159506" y="316772"/>
                  </a:cubicBezTo>
                  <a:cubicBezTo>
                    <a:pt x="157544" y="243958"/>
                    <a:pt x="109233" y="212964"/>
                    <a:pt x="100365" y="207274"/>
                  </a:cubicBezTo>
                  <a:cubicBezTo>
                    <a:pt x="99708" y="206855"/>
                    <a:pt x="99270" y="206569"/>
                    <a:pt x="99080" y="206423"/>
                  </a:cubicBezTo>
                  <a:cubicBezTo>
                    <a:pt x="99270" y="206264"/>
                    <a:pt x="99708" y="205979"/>
                    <a:pt x="100356" y="205547"/>
                  </a:cubicBezTo>
                  <a:cubicBezTo>
                    <a:pt x="109395" y="199604"/>
                    <a:pt x="159506" y="166622"/>
                    <a:pt x="159506" y="90665"/>
                  </a:cubicBezTo>
                  <a:lnTo>
                    <a:pt x="159506" y="10992"/>
                  </a:lnTo>
                  <a:cubicBezTo>
                    <a:pt x="159506" y="4922"/>
                    <a:pt x="155287" y="0"/>
                    <a:pt x="148962" y="0"/>
                  </a:cubicBezTo>
                  <a:lnTo>
                    <a:pt x="95565" y="0"/>
                  </a:lnTo>
                  <a:cubicBezTo>
                    <a:pt x="89945" y="0"/>
                    <a:pt x="85030" y="4922"/>
                    <a:pt x="85030" y="10992"/>
                  </a:cubicBezTo>
                  <a:lnTo>
                    <a:pt x="85030" y="90665"/>
                  </a:lnTo>
                  <a:cubicBezTo>
                    <a:pt x="85030" y="147350"/>
                    <a:pt x="47054" y="158469"/>
                    <a:pt x="32366" y="162761"/>
                  </a:cubicBezTo>
                  <a:cubicBezTo>
                    <a:pt x="31576" y="162997"/>
                    <a:pt x="30861" y="163206"/>
                    <a:pt x="30214" y="163402"/>
                  </a:cubicBezTo>
                  <a:cubicBezTo>
                    <a:pt x="27404" y="164209"/>
                    <a:pt x="16869" y="166026"/>
                    <a:pt x="9135" y="167302"/>
                  </a:cubicBezTo>
                  <a:cubicBezTo>
                    <a:pt x="3515" y="168248"/>
                    <a:pt x="0" y="172858"/>
                    <a:pt x="0" y="178242"/>
                  </a:cubicBezTo>
                  <a:close/>
                  <a:moveTo>
                    <a:pt x="933768" y="313343"/>
                  </a:moveTo>
                  <a:lnTo>
                    <a:pt x="933768" y="468558"/>
                  </a:lnTo>
                  <a:cubicBezTo>
                    <a:pt x="933768" y="471320"/>
                    <a:pt x="932682" y="473949"/>
                    <a:pt x="930749" y="475902"/>
                  </a:cubicBezTo>
                  <a:cubicBezTo>
                    <a:pt x="928825" y="477845"/>
                    <a:pt x="926206" y="478940"/>
                    <a:pt x="923472" y="478940"/>
                  </a:cubicBezTo>
                  <a:cubicBezTo>
                    <a:pt x="909270" y="478921"/>
                    <a:pt x="883819" y="478912"/>
                    <a:pt x="869627" y="478902"/>
                  </a:cubicBezTo>
                  <a:cubicBezTo>
                    <a:pt x="863950" y="478893"/>
                    <a:pt x="859349" y="474254"/>
                    <a:pt x="859349" y="468530"/>
                  </a:cubicBezTo>
                  <a:cubicBezTo>
                    <a:pt x="859349" y="405427"/>
                    <a:pt x="859349" y="73513"/>
                    <a:pt x="859349" y="10375"/>
                  </a:cubicBezTo>
                  <a:cubicBezTo>
                    <a:pt x="859349" y="4648"/>
                    <a:pt x="863959" y="0"/>
                    <a:pt x="869636" y="0"/>
                  </a:cubicBezTo>
                  <a:cubicBezTo>
                    <a:pt x="883838" y="0"/>
                    <a:pt x="909279" y="0"/>
                    <a:pt x="923472" y="0"/>
                  </a:cubicBezTo>
                  <a:cubicBezTo>
                    <a:pt x="929158" y="0"/>
                    <a:pt x="933768" y="4648"/>
                    <a:pt x="933768" y="10375"/>
                  </a:cubicBezTo>
                  <a:cubicBezTo>
                    <a:pt x="933768" y="50513"/>
                    <a:pt x="933768" y="193355"/>
                    <a:pt x="933768" y="193355"/>
                  </a:cubicBezTo>
                  <a:cubicBezTo>
                    <a:pt x="1013169" y="118433"/>
                    <a:pt x="1159388" y="172318"/>
                    <a:pt x="1159388" y="312995"/>
                  </a:cubicBezTo>
                  <a:lnTo>
                    <a:pt x="1159388" y="468520"/>
                  </a:lnTo>
                  <a:cubicBezTo>
                    <a:pt x="1159388" y="471273"/>
                    <a:pt x="1158302" y="473911"/>
                    <a:pt x="1156378" y="475854"/>
                  </a:cubicBezTo>
                  <a:cubicBezTo>
                    <a:pt x="1154445" y="477797"/>
                    <a:pt x="1151835" y="478893"/>
                    <a:pt x="1149101" y="478893"/>
                  </a:cubicBezTo>
                  <a:cubicBezTo>
                    <a:pt x="1134899" y="478893"/>
                    <a:pt x="1109401" y="478893"/>
                    <a:pt x="1095199" y="478893"/>
                  </a:cubicBezTo>
                  <a:cubicBezTo>
                    <a:pt x="1092465" y="478893"/>
                    <a:pt x="1089855" y="477797"/>
                    <a:pt x="1087922" y="475854"/>
                  </a:cubicBezTo>
                  <a:cubicBezTo>
                    <a:pt x="1085998" y="473911"/>
                    <a:pt x="1084912" y="471273"/>
                    <a:pt x="1084912" y="468520"/>
                  </a:cubicBezTo>
                  <a:cubicBezTo>
                    <a:pt x="1084912" y="432211"/>
                    <a:pt x="1084912" y="312995"/>
                    <a:pt x="1084912" y="312995"/>
                  </a:cubicBezTo>
                  <a:cubicBezTo>
                    <a:pt x="1084912" y="239513"/>
                    <a:pt x="1011121" y="217047"/>
                    <a:pt x="966868" y="246504"/>
                  </a:cubicBezTo>
                  <a:cubicBezTo>
                    <a:pt x="947885" y="259141"/>
                    <a:pt x="933768" y="281804"/>
                    <a:pt x="933768" y="313343"/>
                  </a:cubicBezTo>
                  <a:close/>
                  <a:moveTo>
                    <a:pt x="596563" y="207040"/>
                  </a:moveTo>
                  <a:cubicBezTo>
                    <a:pt x="564235" y="238922"/>
                    <a:pt x="549471" y="280953"/>
                    <a:pt x="549471" y="323084"/>
                  </a:cubicBezTo>
                  <a:cubicBezTo>
                    <a:pt x="549471" y="365223"/>
                    <a:pt x="564235" y="407246"/>
                    <a:pt x="596563" y="439145"/>
                  </a:cubicBezTo>
                  <a:cubicBezTo>
                    <a:pt x="650665" y="494085"/>
                    <a:pt x="734285" y="501400"/>
                    <a:pt x="797522" y="460995"/>
                  </a:cubicBezTo>
                  <a:cubicBezTo>
                    <a:pt x="798208" y="460481"/>
                    <a:pt x="799037" y="459938"/>
                    <a:pt x="799923" y="459357"/>
                  </a:cubicBezTo>
                  <a:cubicBezTo>
                    <a:pt x="801761" y="458147"/>
                    <a:pt x="803828" y="456795"/>
                    <a:pt x="805247" y="455385"/>
                  </a:cubicBezTo>
                  <a:cubicBezTo>
                    <a:pt x="808762" y="451909"/>
                    <a:pt x="810762" y="445470"/>
                    <a:pt x="806018" y="438745"/>
                  </a:cubicBezTo>
                  <a:cubicBezTo>
                    <a:pt x="801761" y="432697"/>
                    <a:pt x="796170" y="425153"/>
                    <a:pt x="790226" y="417067"/>
                  </a:cubicBezTo>
                  <a:cubicBezTo>
                    <a:pt x="785121" y="410132"/>
                    <a:pt x="780339" y="403665"/>
                    <a:pt x="776110" y="397747"/>
                  </a:cubicBezTo>
                  <a:cubicBezTo>
                    <a:pt x="772671" y="392947"/>
                    <a:pt x="765890" y="391664"/>
                    <a:pt x="760975" y="394585"/>
                  </a:cubicBezTo>
                  <a:cubicBezTo>
                    <a:pt x="759565" y="395461"/>
                    <a:pt x="758393" y="396172"/>
                    <a:pt x="757003" y="397067"/>
                  </a:cubicBezTo>
                  <a:cubicBezTo>
                    <a:pt x="686032" y="442936"/>
                    <a:pt x="619737" y="382374"/>
                    <a:pt x="619737" y="323084"/>
                  </a:cubicBezTo>
                  <a:cubicBezTo>
                    <a:pt x="619737" y="263795"/>
                    <a:pt x="687384" y="203573"/>
                    <a:pt x="756945" y="249203"/>
                  </a:cubicBezTo>
                  <a:cubicBezTo>
                    <a:pt x="758308" y="250105"/>
                    <a:pt x="759565" y="250708"/>
                    <a:pt x="760975" y="251591"/>
                  </a:cubicBezTo>
                  <a:cubicBezTo>
                    <a:pt x="765890" y="254512"/>
                    <a:pt x="772805" y="253115"/>
                    <a:pt x="776148" y="248416"/>
                  </a:cubicBezTo>
                  <a:cubicBezTo>
                    <a:pt x="780377" y="242497"/>
                    <a:pt x="785102" y="236065"/>
                    <a:pt x="790207" y="229138"/>
                  </a:cubicBezTo>
                  <a:cubicBezTo>
                    <a:pt x="795560" y="221854"/>
                    <a:pt x="800580" y="215072"/>
                    <a:pt x="804618" y="209395"/>
                  </a:cubicBezTo>
                  <a:cubicBezTo>
                    <a:pt x="811362" y="199928"/>
                    <a:pt x="809571" y="193191"/>
                    <a:pt x="799903" y="186809"/>
                  </a:cubicBezTo>
                  <a:cubicBezTo>
                    <a:pt x="799027" y="186231"/>
                    <a:pt x="798199" y="185691"/>
                    <a:pt x="797522" y="185195"/>
                  </a:cubicBezTo>
                  <a:cubicBezTo>
                    <a:pt x="734285" y="144778"/>
                    <a:pt x="650665" y="152087"/>
                    <a:pt x="596563" y="207040"/>
                  </a:cubicBezTo>
                  <a:close/>
                  <a:moveTo>
                    <a:pt x="293714" y="350313"/>
                  </a:moveTo>
                  <a:lnTo>
                    <a:pt x="469385" y="350313"/>
                  </a:lnTo>
                  <a:cubicBezTo>
                    <a:pt x="490463" y="350313"/>
                    <a:pt x="507323" y="333283"/>
                    <a:pt x="507323" y="312290"/>
                  </a:cubicBezTo>
                  <a:cubicBezTo>
                    <a:pt x="507323" y="265561"/>
                    <a:pt x="499588" y="240644"/>
                    <a:pt x="472890" y="208836"/>
                  </a:cubicBezTo>
                  <a:cubicBezTo>
                    <a:pt x="445486" y="176865"/>
                    <a:pt x="401919" y="159530"/>
                    <a:pt x="368190" y="159530"/>
                  </a:cubicBezTo>
                  <a:cubicBezTo>
                    <a:pt x="283875" y="159530"/>
                    <a:pt x="219228" y="231722"/>
                    <a:pt x="219228" y="323103"/>
                  </a:cubicBezTo>
                  <a:cubicBezTo>
                    <a:pt x="219228" y="435697"/>
                    <a:pt x="306354" y="486674"/>
                    <a:pt x="375915" y="486674"/>
                  </a:cubicBezTo>
                  <a:cubicBezTo>
                    <a:pt x="425807" y="486674"/>
                    <a:pt x="464460" y="474616"/>
                    <a:pt x="502398" y="450623"/>
                  </a:cubicBezTo>
                  <a:cubicBezTo>
                    <a:pt x="506618" y="447470"/>
                    <a:pt x="508723" y="441003"/>
                    <a:pt x="505913" y="435907"/>
                  </a:cubicBezTo>
                  <a:lnTo>
                    <a:pt x="504818" y="434088"/>
                  </a:lnTo>
                  <a:cubicBezTo>
                    <a:pt x="497150" y="421362"/>
                    <a:pt x="486558" y="403789"/>
                    <a:pt x="478519" y="391689"/>
                  </a:cubicBezTo>
                  <a:cubicBezTo>
                    <a:pt x="475709" y="386901"/>
                    <a:pt x="469385" y="385492"/>
                    <a:pt x="464460" y="388476"/>
                  </a:cubicBezTo>
                  <a:cubicBezTo>
                    <a:pt x="440571" y="402722"/>
                    <a:pt x="415273" y="415266"/>
                    <a:pt x="377335" y="414990"/>
                  </a:cubicBezTo>
                  <a:cubicBezTo>
                    <a:pt x="342197" y="414742"/>
                    <a:pt x="304954" y="392280"/>
                    <a:pt x="293714" y="350313"/>
                  </a:cubicBezTo>
                  <a:close/>
                  <a:moveTo>
                    <a:pt x="430732" y="287912"/>
                  </a:moveTo>
                  <a:cubicBezTo>
                    <a:pt x="424407" y="240694"/>
                    <a:pt x="392079" y="232071"/>
                    <a:pt x="368190" y="232071"/>
                  </a:cubicBezTo>
                  <a:cubicBezTo>
                    <a:pt x="335872" y="232071"/>
                    <a:pt x="308478" y="256182"/>
                    <a:pt x="296524" y="287912"/>
                  </a:cubicBezTo>
                  <a:lnTo>
                    <a:pt x="430732" y="287912"/>
                  </a:lnTo>
                  <a:close/>
                </a:path>
              </a:pathLst>
            </a:custGeom>
            <a:solidFill>
              <a:schemeClr val="accent2"/>
            </a:solidFill>
            <a:ln w="76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6" name="Полилиния 5">
              <a:extLst>
                <a:ext uri="{FF2B5EF4-FFF2-40B4-BE49-F238E27FC236}">
                  <a16:creationId xmlns:a16="http://schemas.microsoft.com/office/drawing/2014/main" id="{5F2CB4D3-4EA4-E3E4-B282-B3F6E8A14CB6}"/>
                </a:ext>
              </a:extLst>
            </p:cNvPr>
            <p:cNvSpPr/>
            <p:nvPr/>
          </p:nvSpPr>
          <p:spPr>
            <a:xfrm>
              <a:off x="8489504" y="1070894"/>
              <a:ext cx="1492273" cy="326563"/>
            </a:xfrm>
            <a:custGeom>
              <a:avLst/>
              <a:gdLst>
                <a:gd name="connsiteX0" fmla="*/ 180273 w 1492273"/>
                <a:gd name="connsiteY0" fmla="*/ 900 h 326563"/>
                <a:gd name="connsiteX1" fmla="*/ 83526 w 1492273"/>
                <a:gd name="connsiteY1" fmla="*/ 20775 h 326563"/>
                <a:gd name="connsiteX2" fmla="*/ 15954 w 1492273"/>
                <a:gd name="connsiteY2" fmla="*/ 92853 h 326563"/>
                <a:gd name="connsiteX3" fmla="*/ 2323 w 1492273"/>
                <a:gd name="connsiteY3" fmla="*/ 190737 h 326563"/>
                <a:gd name="connsiteX4" fmla="*/ 47618 w 1492273"/>
                <a:gd name="connsiteY4" fmla="*/ 278557 h 326563"/>
                <a:gd name="connsiteX5" fmla="*/ 135243 w 1492273"/>
                <a:gd name="connsiteY5" fmla="*/ 324153 h 326563"/>
                <a:gd name="connsiteX6" fmla="*/ 233098 w 1492273"/>
                <a:gd name="connsiteY6" fmla="*/ 310818 h 326563"/>
                <a:gd name="connsiteX7" fmla="*/ 305341 w 1492273"/>
                <a:gd name="connsiteY7" fmla="*/ 243429 h 326563"/>
                <a:gd name="connsiteX8" fmla="*/ 325507 w 1492273"/>
                <a:gd name="connsiteY8" fmla="*/ 146675 h 326563"/>
                <a:gd name="connsiteX9" fmla="*/ 278778 w 1492273"/>
                <a:gd name="connsiteY9" fmla="*/ 47965 h 326563"/>
                <a:gd name="connsiteX10" fmla="*/ 180273 w 1492273"/>
                <a:gd name="connsiteY10" fmla="*/ 900 h 326563"/>
                <a:gd name="connsiteX11" fmla="*/ 174984 w 1492273"/>
                <a:gd name="connsiteY11" fmla="*/ 249697 h 326563"/>
                <a:gd name="connsiteX12" fmla="*/ 122555 w 1492273"/>
                <a:gd name="connsiteY12" fmla="*/ 240277 h 326563"/>
                <a:gd name="connsiteX13" fmla="*/ 85427 w 1492273"/>
                <a:gd name="connsiteY13" fmla="*/ 202047 h 326563"/>
                <a:gd name="connsiteX14" fmla="*/ 77507 w 1492273"/>
                <a:gd name="connsiteY14" fmla="*/ 149329 h 326563"/>
                <a:gd name="connsiteX15" fmla="*/ 101766 w 1492273"/>
                <a:gd name="connsiteY15" fmla="*/ 101883 h 326563"/>
                <a:gd name="connsiteX16" fmla="*/ 149113 w 1492273"/>
                <a:gd name="connsiteY16" fmla="*/ 77461 h 326563"/>
                <a:gd name="connsiteX17" fmla="*/ 201825 w 1492273"/>
                <a:gd name="connsiteY17" fmla="*/ 85220 h 326563"/>
                <a:gd name="connsiteX18" fmla="*/ 240132 w 1492273"/>
                <a:gd name="connsiteY18" fmla="*/ 122247 h 326563"/>
                <a:gd name="connsiteX19" fmla="*/ 249714 w 1492273"/>
                <a:gd name="connsiteY19" fmla="*/ 174684 h 326563"/>
                <a:gd name="connsiteX20" fmla="*/ 225058 w 1492273"/>
                <a:gd name="connsiteY20" fmla="*/ 224868 h 326563"/>
                <a:gd name="connsiteX21" fmla="*/ 174984 w 1492273"/>
                <a:gd name="connsiteY21" fmla="*/ 249697 h 326563"/>
                <a:gd name="connsiteX22" fmla="*/ 412780 w 1492273"/>
                <a:gd name="connsiteY22" fmla="*/ 7358 h 326563"/>
                <a:gd name="connsiteX23" fmla="*/ 396435 w 1492273"/>
                <a:gd name="connsiteY23" fmla="*/ 11091 h 326563"/>
                <a:gd name="connsiteX24" fmla="*/ 383276 w 1492273"/>
                <a:gd name="connsiteY24" fmla="*/ 21498 h 326563"/>
                <a:gd name="connsiteX25" fmla="*/ 375859 w 1492273"/>
                <a:gd name="connsiteY25" fmla="*/ 36548 h 326563"/>
                <a:gd name="connsiteX26" fmla="*/ 375620 w 1492273"/>
                <a:gd name="connsiteY26" fmla="*/ 53325 h 326563"/>
                <a:gd name="connsiteX27" fmla="*/ 414209 w 1492273"/>
                <a:gd name="connsiteY27" fmla="*/ 83537 h 326563"/>
                <a:gd name="connsiteX28" fmla="*/ 520143 w 1492273"/>
                <a:gd name="connsiteY28" fmla="*/ 83537 h 326563"/>
                <a:gd name="connsiteX29" fmla="*/ 355289 w 1492273"/>
                <a:gd name="connsiteY29" fmla="*/ 301846 h 326563"/>
                <a:gd name="connsiteX30" fmla="*/ 353136 w 1492273"/>
                <a:gd name="connsiteY30" fmla="*/ 307389 h 326563"/>
                <a:gd name="connsiteX31" fmla="*/ 354212 w 1492273"/>
                <a:gd name="connsiteY31" fmla="*/ 313237 h 326563"/>
                <a:gd name="connsiteX32" fmla="*/ 358204 w 1492273"/>
                <a:gd name="connsiteY32" fmla="*/ 317647 h 326563"/>
                <a:gd name="connsiteX33" fmla="*/ 363921 w 1492273"/>
                <a:gd name="connsiteY33" fmla="*/ 319295 h 326563"/>
                <a:gd name="connsiteX34" fmla="*/ 622504 w 1492273"/>
                <a:gd name="connsiteY34" fmla="*/ 319295 h 326563"/>
                <a:gd name="connsiteX35" fmla="*/ 661099 w 1492273"/>
                <a:gd name="connsiteY35" fmla="*/ 289082 h 326563"/>
                <a:gd name="connsiteX36" fmla="*/ 660861 w 1492273"/>
                <a:gd name="connsiteY36" fmla="*/ 272299 h 326563"/>
                <a:gd name="connsiteX37" fmla="*/ 653451 w 1492273"/>
                <a:gd name="connsiteY37" fmla="*/ 257250 h 326563"/>
                <a:gd name="connsiteX38" fmla="*/ 640297 w 1492273"/>
                <a:gd name="connsiteY38" fmla="*/ 246849 h 326563"/>
                <a:gd name="connsiteX39" fmla="*/ 623952 w 1492273"/>
                <a:gd name="connsiteY39" fmla="*/ 243105 h 326563"/>
                <a:gd name="connsiteX40" fmla="*/ 494883 w 1492273"/>
                <a:gd name="connsiteY40" fmla="*/ 243105 h 326563"/>
                <a:gd name="connsiteX41" fmla="*/ 659613 w 1492273"/>
                <a:gd name="connsiteY41" fmla="*/ 24972 h 326563"/>
                <a:gd name="connsiteX42" fmla="*/ 661785 w 1492273"/>
                <a:gd name="connsiteY42" fmla="*/ 19371 h 326563"/>
                <a:gd name="connsiteX43" fmla="*/ 660690 w 1492273"/>
                <a:gd name="connsiteY43" fmla="*/ 13473 h 326563"/>
                <a:gd name="connsiteX44" fmla="*/ 656661 w 1492273"/>
                <a:gd name="connsiteY44" fmla="*/ 9021 h 326563"/>
                <a:gd name="connsiteX45" fmla="*/ 650888 w 1492273"/>
                <a:gd name="connsiteY45" fmla="*/ 7358 h 326563"/>
                <a:gd name="connsiteX46" fmla="*/ 412780 w 1492273"/>
                <a:gd name="connsiteY46" fmla="*/ 7358 h 326563"/>
                <a:gd name="connsiteX47" fmla="*/ 1446105 w 1492273"/>
                <a:gd name="connsiteY47" fmla="*/ 8240 h 326563"/>
                <a:gd name="connsiteX48" fmla="*/ 1424484 w 1492273"/>
                <a:gd name="connsiteY48" fmla="*/ 22127 h 326563"/>
                <a:gd name="connsiteX49" fmla="*/ 1416378 w 1492273"/>
                <a:gd name="connsiteY49" fmla="*/ 46473 h 326563"/>
                <a:gd name="connsiteX50" fmla="*/ 1416378 w 1492273"/>
                <a:gd name="connsiteY50" fmla="*/ 173313 h 326563"/>
                <a:gd name="connsiteX51" fmla="*/ 1210980 w 1492273"/>
                <a:gd name="connsiteY51" fmla="*/ 9758 h 326563"/>
                <a:gd name="connsiteX52" fmla="*/ 1205389 w 1492273"/>
                <a:gd name="connsiteY52" fmla="*/ 7453 h 326563"/>
                <a:gd name="connsiteX53" fmla="*/ 1199426 w 1492273"/>
                <a:gd name="connsiteY53" fmla="*/ 8482 h 326563"/>
                <a:gd name="connsiteX54" fmla="*/ 1194921 w 1492273"/>
                <a:gd name="connsiteY54" fmla="*/ 12520 h 326563"/>
                <a:gd name="connsiteX55" fmla="*/ 1193263 w 1492273"/>
                <a:gd name="connsiteY55" fmla="*/ 18343 h 326563"/>
                <a:gd name="connsiteX56" fmla="*/ 1193263 w 1492273"/>
                <a:gd name="connsiteY56" fmla="*/ 280243 h 326563"/>
                <a:gd name="connsiteX57" fmla="*/ 1201388 w 1492273"/>
                <a:gd name="connsiteY57" fmla="*/ 304589 h 326563"/>
                <a:gd name="connsiteX58" fmla="*/ 1222962 w 1492273"/>
                <a:gd name="connsiteY58" fmla="*/ 318486 h 326563"/>
                <a:gd name="connsiteX59" fmla="*/ 1239803 w 1492273"/>
                <a:gd name="connsiteY59" fmla="*/ 318362 h 326563"/>
                <a:gd name="connsiteX60" fmla="*/ 1254966 w 1492273"/>
                <a:gd name="connsiteY60" fmla="*/ 310961 h 326563"/>
                <a:gd name="connsiteX61" fmla="*/ 1265444 w 1492273"/>
                <a:gd name="connsiteY61" fmla="*/ 297721 h 326563"/>
                <a:gd name="connsiteX62" fmla="*/ 1269159 w 1492273"/>
                <a:gd name="connsiteY62" fmla="*/ 281272 h 326563"/>
                <a:gd name="connsiteX63" fmla="*/ 1269159 w 1492273"/>
                <a:gd name="connsiteY63" fmla="*/ 153323 h 326563"/>
                <a:gd name="connsiteX64" fmla="*/ 1474538 w 1492273"/>
                <a:gd name="connsiteY64" fmla="*/ 316885 h 326563"/>
                <a:gd name="connsiteX65" fmla="*/ 1480148 w 1492273"/>
                <a:gd name="connsiteY65" fmla="*/ 319190 h 326563"/>
                <a:gd name="connsiteX66" fmla="*/ 1486120 w 1492273"/>
                <a:gd name="connsiteY66" fmla="*/ 318162 h 326563"/>
                <a:gd name="connsiteX67" fmla="*/ 1490625 w 1492273"/>
                <a:gd name="connsiteY67" fmla="*/ 314123 h 326563"/>
                <a:gd name="connsiteX68" fmla="*/ 1492273 w 1492273"/>
                <a:gd name="connsiteY68" fmla="*/ 308303 h 326563"/>
                <a:gd name="connsiteX69" fmla="*/ 1492273 w 1492273"/>
                <a:gd name="connsiteY69" fmla="*/ 45444 h 326563"/>
                <a:gd name="connsiteX70" fmla="*/ 1488559 w 1492273"/>
                <a:gd name="connsiteY70" fmla="*/ 28985 h 326563"/>
                <a:gd name="connsiteX71" fmla="*/ 1478081 w 1492273"/>
                <a:gd name="connsiteY71" fmla="*/ 15759 h 326563"/>
                <a:gd name="connsiteX72" fmla="*/ 1462908 w 1492273"/>
                <a:gd name="connsiteY72" fmla="*/ 8354 h 326563"/>
                <a:gd name="connsiteX73" fmla="*/ 1446105 w 1492273"/>
                <a:gd name="connsiteY73" fmla="*/ 8240 h 326563"/>
                <a:gd name="connsiteX74" fmla="*/ 911265 w 1492273"/>
                <a:gd name="connsiteY74" fmla="*/ 76254 h 326563"/>
                <a:gd name="connsiteX75" fmla="*/ 1063066 w 1492273"/>
                <a:gd name="connsiteY75" fmla="*/ 163286 h 326563"/>
                <a:gd name="connsiteX76" fmla="*/ 911265 w 1492273"/>
                <a:gd name="connsiteY76" fmla="*/ 250325 h 326563"/>
                <a:gd name="connsiteX77" fmla="*/ 759483 w 1492273"/>
                <a:gd name="connsiteY77" fmla="*/ 163286 h 326563"/>
                <a:gd name="connsiteX78" fmla="*/ 911265 w 1492273"/>
                <a:gd name="connsiteY78" fmla="*/ 76254 h 326563"/>
                <a:gd name="connsiteX79" fmla="*/ 911265 w 1492273"/>
                <a:gd name="connsiteY79" fmla="*/ 67 h 326563"/>
                <a:gd name="connsiteX80" fmla="*/ 683578 w 1492273"/>
                <a:gd name="connsiteY80" fmla="*/ 163286 h 326563"/>
                <a:gd name="connsiteX81" fmla="*/ 911265 w 1492273"/>
                <a:gd name="connsiteY81" fmla="*/ 326506 h 326563"/>
                <a:gd name="connsiteX82" fmla="*/ 1138961 w 1492273"/>
                <a:gd name="connsiteY82" fmla="*/ 163286 h 326563"/>
                <a:gd name="connsiteX83" fmla="*/ 911265 w 1492273"/>
                <a:gd name="connsiteY83" fmla="*/ 67 h 3265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</a:cxnLst>
              <a:rect l="l" t="t" r="r" b="b"/>
              <a:pathLst>
                <a:path w="1492273" h="326563">
                  <a:moveTo>
                    <a:pt x="180273" y="900"/>
                  </a:moveTo>
                  <a:cubicBezTo>
                    <a:pt x="146739" y="-2638"/>
                    <a:pt x="112948" y="4310"/>
                    <a:pt x="83526" y="20775"/>
                  </a:cubicBezTo>
                  <a:cubicBezTo>
                    <a:pt x="54104" y="37240"/>
                    <a:pt x="30499" y="62424"/>
                    <a:pt x="15954" y="92853"/>
                  </a:cubicBezTo>
                  <a:cubicBezTo>
                    <a:pt x="1417" y="123295"/>
                    <a:pt x="-3344" y="157489"/>
                    <a:pt x="2323" y="190737"/>
                  </a:cubicBezTo>
                  <a:cubicBezTo>
                    <a:pt x="7990" y="223998"/>
                    <a:pt x="23812" y="254669"/>
                    <a:pt x="47618" y="278557"/>
                  </a:cubicBezTo>
                  <a:cubicBezTo>
                    <a:pt x="71412" y="302455"/>
                    <a:pt x="102030" y="318381"/>
                    <a:pt x="135243" y="324153"/>
                  </a:cubicBezTo>
                  <a:cubicBezTo>
                    <a:pt x="168455" y="329925"/>
                    <a:pt x="202644" y="325277"/>
                    <a:pt x="233098" y="310818"/>
                  </a:cubicBezTo>
                  <a:cubicBezTo>
                    <a:pt x="263559" y="296359"/>
                    <a:pt x="288801" y="272814"/>
                    <a:pt x="305341" y="243429"/>
                  </a:cubicBezTo>
                  <a:cubicBezTo>
                    <a:pt x="321894" y="214035"/>
                    <a:pt x="328933" y="180240"/>
                    <a:pt x="325507" y="146675"/>
                  </a:cubicBezTo>
                  <a:cubicBezTo>
                    <a:pt x="321736" y="109375"/>
                    <a:pt x="305234" y="74514"/>
                    <a:pt x="278778" y="47965"/>
                  </a:cubicBezTo>
                  <a:cubicBezTo>
                    <a:pt x="252327" y="21410"/>
                    <a:pt x="217534" y="4786"/>
                    <a:pt x="180273" y="900"/>
                  </a:cubicBezTo>
                  <a:close/>
                  <a:moveTo>
                    <a:pt x="174984" y="249697"/>
                  </a:moveTo>
                  <a:cubicBezTo>
                    <a:pt x="156946" y="252116"/>
                    <a:pt x="138617" y="248820"/>
                    <a:pt x="122555" y="240277"/>
                  </a:cubicBezTo>
                  <a:cubicBezTo>
                    <a:pt x="106488" y="231725"/>
                    <a:pt x="93505" y="218366"/>
                    <a:pt x="85427" y="202047"/>
                  </a:cubicBezTo>
                  <a:cubicBezTo>
                    <a:pt x="77349" y="185733"/>
                    <a:pt x="74579" y="167300"/>
                    <a:pt x="77507" y="149329"/>
                  </a:cubicBezTo>
                  <a:cubicBezTo>
                    <a:pt x="80440" y="131372"/>
                    <a:pt x="88922" y="114773"/>
                    <a:pt x="101766" y="101883"/>
                  </a:cubicBezTo>
                  <a:cubicBezTo>
                    <a:pt x="114610" y="88986"/>
                    <a:pt x="131176" y="80452"/>
                    <a:pt x="149113" y="77461"/>
                  </a:cubicBezTo>
                  <a:cubicBezTo>
                    <a:pt x="167057" y="74470"/>
                    <a:pt x="185493" y="77181"/>
                    <a:pt x="201825" y="85220"/>
                  </a:cubicBezTo>
                  <a:cubicBezTo>
                    <a:pt x="218145" y="93247"/>
                    <a:pt x="231543" y="106194"/>
                    <a:pt x="240132" y="122247"/>
                  </a:cubicBezTo>
                  <a:cubicBezTo>
                    <a:pt x="248725" y="138293"/>
                    <a:pt x="252068" y="156625"/>
                    <a:pt x="249714" y="174684"/>
                  </a:cubicBezTo>
                  <a:cubicBezTo>
                    <a:pt x="247233" y="193670"/>
                    <a:pt x="238569" y="211305"/>
                    <a:pt x="225058" y="224868"/>
                  </a:cubicBezTo>
                  <a:cubicBezTo>
                    <a:pt x="211546" y="238425"/>
                    <a:pt x="193948" y="247154"/>
                    <a:pt x="174984" y="249697"/>
                  </a:cubicBezTo>
                  <a:close/>
                  <a:moveTo>
                    <a:pt x="412780" y="7358"/>
                  </a:moveTo>
                  <a:cubicBezTo>
                    <a:pt x="407126" y="7370"/>
                    <a:pt x="401534" y="8646"/>
                    <a:pt x="396435" y="11091"/>
                  </a:cubicBezTo>
                  <a:cubicBezTo>
                    <a:pt x="391328" y="13536"/>
                    <a:pt x="386833" y="17092"/>
                    <a:pt x="383276" y="21498"/>
                  </a:cubicBezTo>
                  <a:cubicBezTo>
                    <a:pt x="379712" y="25899"/>
                    <a:pt x="377174" y="31042"/>
                    <a:pt x="375859" y="36548"/>
                  </a:cubicBezTo>
                  <a:cubicBezTo>
                    <a:pt x="374537" y="42053"/>
                    <a:pt x="374448" y="47787"/>
                    <a:pt x="375620" y="53325"/>
                  </a:cubicBezTo>
                  <a:cubicBezTo>
                    <a:pt x="379202" y="71282"/>
                    <a:pt x="395956" y="83537"/>
                    <a:pt x="414209" y="83537"/>
                  </a:cubicBezTo>
                  <a:lnTo>
                    <a:pt x="520143" y="83537"/>
                  </a:lnTo>
                  <a:lnTo>
                    <a:pt x="355289" y="301846"/>
                  </a:lnTo>
                  <a:cubicBezTo>
                    <a:pt x="354067" y="303455"/>
                    <a:pt x="353324" y="305379"/>
                    <a:pt x="353136" y="307389"/>
                  </a:cubicBezTo>
                  <a:cubicBezTo>
                    <a:pt x="352940" y="309399"/>
                    <a:pt x="353319" y="311428"/>
                    <a:pt x="354212" y="313237"/>
                  </a:cubicBezTo>
                  <a:cubicBezTo>
                    <a:pt x="355113" y="315047"/>
                    <a:pt x="356491" y="316581"/>
                    <a:pt x="358204" y="317647"/>
                  </a:cubicBezTo>
                  <a:cubicBezTo>
                    <a:pt x="359923" y="318714"/>
                    <a:pt x="361900" y="319286"/>
                    <a:pt x="363921" y="319295"/>
                  </a:cubicBezTo>
                  <a:lnTo>
                    <a:pt x="622504" y="319295"/>
                  </a:lnTo>
                  <a:cubicBezTo>
                    <a:pt x="640744" y="319295"/>
                    <a:pt x="657518" y="307037"/>
                    <a:pt x="661099" y="289082"/>
                  </a:cubicBezTo>
                  <a:cubicBezTo>
                    <a:pt x="662271" y="283539"/>
                    <a:pt x="662185" y="277805"/>
                    <a:pt x="660861" y="272299"/>
                  </a:cubicBezTo>
                  <a:cubicBezTo>
                    <a:pt x="659537" y="266794"/>
                    <a:pt x="657004" y="261650"/>
                    <a:pt x="653451" y="257250"/>
                  </a:cubicBezTo>
                  <a:cubicBezTo>
                    <a:pt x="649898" y="252849"/>
                    <a:pt x="645402" y="249297"/>
                    <a:pt x="640297" y="246849"/>
                  </a:cubicBezTo>
                  <a:cubicBezTo>
                    <a:pt x="635191" y="244391"/>
                    <a:pt x="629610" y="243115"/>
                    <a:pt x="623952" y="243105"/>
                  </a:cubicBezTo>
                  <a:lnTo>
                    <a:pt x="494883" y="243105"/>
                  </a:lnTo>
                  <a:lnTo>
                    <a:pt x="659613" y="24972"/>
                  </a:lnTo>
                  <a:cubicBezTo>
                    <a:pt x="660842" y="23340"/>
                    <a:pt x="661595" y="21403"/>
                    <a:pt x="661785" y="19371"/>
                  </a:cubicBezTo>
                  <a:cubicBezTo>
                    <a:pt x="661976" y="17340"/>
                    <a:pt x="661604" y="15295"/>
                    <a:pt x="660690" y="13473"/>
                  </a:cubicBezTo>
                  <a:cubicBezTo>
                    <a:pt x="659785" y="11637"/>
                    <a:pt x="658385" y="10101"/>
                    <a:pt x="656661" y="9021"/>
                  </a:cubicBezTo>
                  <a:cubicBezTo>
                    <a:pt x="654937" y="7942"/>
                    <a:pt x="652927" y="7363"/>
                    <a:pt x="650888" y="7358"/>
                  </a:cubicBezTo>
                  <a:lnTo>
                    <a:pt x="412780" y="7358"/>
                  </a:lnTo>
                  <a:close/>
                  <a:moveTo>
                    <a:pt x="1446105" y="8240"/>
                  </a:moveTo>
                  <a:cubicBezTo>
                    <a:pt x="1437514" y="10272"/>
                    <a:pt x="1429894" y="15174"/>
                    <a:pt x="1424484" y="22127"/>
                  </a:cubicBezTo>
                  <a:cubicBezTo>
                    <a:pt x="1419112" y="29080"/>
                    <a:pt x="1416254" y="37666"/>
                    <a:pt x="1416378" y="46473"/>
                  </a:cubicBezTo>
                  <a:lnTo>
                    <a:pt x="1416378" y="173313"/>
                  </a:lnTo>
                  <a:lnTo>
                    <a:pt x="1210980" y="9758"/>
                  </a:lnTo>
                  <a:cubicBezTo>
                    <a:pt x="1209361" y="8475"/>
                    <a:pt x="1207427" y="7675"/>
                    <a:pt x="1205389" y="7453"/>
                  </a:cubicBezTo>
                  <a:cubicBezTo>
                    <a:pt x="1203341" y="7230"/>
                    <a:pt x="1201274" y="7580"/>
                    <a:pt x="1199426" y="8482"/>
                  </a:cubicBezTo>
                  <a:cubicBezTo>
                    <a:pt x="1197569" y="9377"/>
                    <a:pt x="1196006" y="10773"/>
                    <a:pt x="1194921" y="12520"/>
                  </a:cubicBezTo>
                  <a:cubicBezTo>
                    <a:pt x="1193835" y="14273"/>
                    <a:pt x="1193254" y="16285"/>
                    <a:pt x="1193263" y="18343"/>
                  </a:cubicBezTo>
                  <a:lnTo>
                    <a:pt x="1193263" y="280243"/>
                  </a:lnTo>
                  <a:cubicBezTo>
                    <a:pt x="1193120" y="289054"/>
                    <a:pt x="1195987" y="297645"/>
                    <a:pt x="1201388" y="304589"/>
                  </a:cubicBezTo>
                  <a:cubicBezTo>
                    <a:pt x="1206789" y="311542"/>
                    <a:pt x="1214409" y="316447"/>
                    <a:pt x="1222962" y="318486"/>
                  </a:cubicBezTo>
                  <a:cubicBezTo>
                    <a:pt x="1228525" y="319714"/>
                    <a:pt x="1234288" y="319667"/>
                    <a:pt x="1239803" y="318362"/>
                  </a:cubicBezTo>
                  <a:cubicBezTo>
                    <a:pt x="1245346" y="317066"/>
                    <a:pt x="1250518" y="314533"/>
                    <a:pt x="1254966" y="310961"/>
                  </a:cubicBezTo>
                  <a:cubicBezTo>
                    <a:pt x="1259415" y="307389"/>
                    <a:pt x="1263006" y="302874"/>
                    <a:pt x="1265444" y="297721"/>
                  </a:cubicBezTo>
                  <a:cubicBezTo>
                    <a:pt x="1267882" y="292587"/>
                    <a:pt x="1269159" y="286958"/>
                    <a:pt x="1269159" y="281272"/>
                  </a:cubicBezTo>
                  <a:lnTo>
                    <a:pt x="1269159" y="153323"/>
                  </a:lnTo>
                  <a:lnTo>
                    <a:pt x="1474538" y="316885"/>
                  </a:lnTo>
                  <a:cubicBezTo>
                    <a:pt x="1476195" y="318171"/>
                    <a:pt x="1478138" y="318962"/>
                    <a:pt x="1480148" y="319190"/>
                  </a:cubicBezTo>
                  <a:cubicBezTo>
                    <a:pt x="1482224" y="319419"/>
                    <a:pt x="1484291" y="319057"/>
                    <a:pt x="1486120" y="318162"/>
                  </a:cubicBezTo>
                  <a:cubicBezTo>
                    <a:pt x="1487949" y="317266"/>
                    <a:pt x="1489530" y="315866"/>
                    <a:pt x="1490625" y="314123"/>
                  </a:cubicBezTo>
                  <a:cubicBezTo>
                    <a:pt x="1491721" y="312380"/>
                    <a:pt x="1492273" y="310361"/>
                    <a:pt x="1492273" y="308303"/>
                  </a:cubicBezTo>
                  <a:lnTo>
                    <a:pt x="1492273" y="45444"/>
                  </a:lnTo>
                  <a:cubicBezTo>
                    <a:pt x="1492273" y="39748"/>
                    <a:pt x="1490997" y="34123"/>
                    <a:pt x="1488559" y="28985"/>
                  </a:cubicBezTo>
                  <a:cubicBezTo>
                    <a:pt x="1486120" y="23848"/>
                    <a:pt x="1482529" y="19327"/>
                    <a:pt x="1478081" y="15759"/>
                  </a:cubicBezTo>
                  <a:cubicBezTo>
                    <a:pt x="1473633" y="12190"/>
                    <a:pt x="1468461" y="9656"/>
                    <a:pt x="1462908" y="8354"/>
                  </a:cubicBezTo>
                  <a:cubicBezTo>
                    <a:pt x="1457364" y="7059"/>
                    <a:pt x="1451649" y="7015"/>
                    <a:pt x="1446105" y="8240"/>
                  </a:cubicBezTo>
                  <a:close/>
                  <a:moveTo>
                    <a:pt x="911265" y="76254"/>
                  </a:moveTo>
                  <a:cubicBezTo>
                    <a:pt x="998152" y="76254"/>
                    <a:pt x="1063066" y="122196"/>
                    <a:pt x="1063066" y="163286"/>
                  </a:cubicBezTo>
                  <a:cubicBezTo>
                    <a:pt x="1063066" y="204383"/>
                    <a:pt x="998152" y="250325"/>
                    <a:pt x="911265" y="250325"/>
                  </a:cubicBezTo>
                  <a:cubicBezTo>
                    <a:pt x="824397" y="250325"/>
                    <a:pt x="759483" y="204383"/>
                    <a:pt x="759483" y="163286"/>
                  </a:cubicBezTo>
                  <a:cubicBezTo>
                    <a:pt x="759483" y="122196"/>
                    <a:pt x="824397" y="76254"/>
                    <a:pt x="911265" y="76254"/>
                  </a:cubicBezTo>
                  <a:close/>
                  <a:moveTo>
                    <a:pt x="911265" y="67"/>
                  </a:moveTo>
                  <a:cubicBezTo>
                    <a:pt x="785515" y="67"/>
                    <a:pt x="683578" y="73142"/>
                    <a:pt x="683578" y="163286"/>
                  </a:cubicBezTo>
                  <a:cubicBezTo>
                    <a:pt x="683578" y="253421"/>
                    <a:pt x="785515" y="326506"/>
                    <a:pt x="911265" y="326506"/>
                  </a:cubicBezTo>
                  <a:cubicBezTo>
                    <a:pt x="1037024" y="326506"/>
                    <a:pt x="1138961" y="253421"/>
                    <a:pt x="1138961" y="163286"/>
                  </a:cubicBezTo>
                  <a:cubicBezTo>
                    <a:pt x="1138961" y="73142"/>
                    <a:pt x="1037024" y="67"/>
                    <a:pt x="911265" y="67"/>
                  </a:cubicBezTo>
                  <a:close/>
                </a:path>
              </a:pathLst>
            </a:custGeom>
            <a:solidFill>
              <a:schemeClr val="tx2"/>
            </a:solidFill>
            <a:ln w="76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</p:grpSp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2E22186C-4B12-E0C1-79B2-480F2CD086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441150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33" imgH="233" progId="TCLayout.ActiveDocument.1">
                  <p:embed/>
                </p:oleObj>
              </mc:Choice>
              <mc:Fallback>
                <p:oleObj name="Слайд think-cell" r:id="rId3" imgW="233" imgH="233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id="{2E22186C-4B12-E0C1-79B2-480F2CD086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EF11FA05-DC06-B340-2031-0DB23FEF24A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49400" y="5194112"/>
            <a:ext cx="3867020" cy="590868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Имя и фамилия спикера, контакты </a:t>
            </a:r>
            <a:br>
              <a:rPr lang="ru-RU"/>
            </a:br>
            <a:r>
              <a:rPr lang="ru-RU"/>
              <a:t>или другая информация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6458CA0F-AA7A-3470-321F-E571C81EB44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55808" y="1931435"/>
            <a:ext cx="6340418" cy="2123348"/>
          </a:xfrm>
        </p:spPr>
        <p:txBody>
          <a:bodyPr vert="horz" anchor="b">
            <a:noAutofit/>
          </a:bodyPr>
          <a:lstStyle>
            <a:lvl1pPr algn="l">
              <a:lnSpc>
                <a:spcPct val="87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ru-RU"/>
              <a:t>Напиши призыв </a:t>
            </a:r>
            <a:br>
              <a:rPr lang="ru-RU"/>
            </a:br>
            <a:r>
              <a:rPr lang="ru-RU"/>
              <a:t>к действию</a:t>
            </a:r>
            <a:r>
              <a:rPr lang="en-US"/>
              <a:t> </a:t>
            </a:r>
            <a:r>
              <a:rPr lang="ru-RU"/>
              <a:t>в 2–3 строки</a:t>
            </a:r>
          </a:p>
        </p:txBody>
      </p:sp>
    </p:spTree>
    <p:extLst>
      <p:ext uri="{BB962C8B-B14F-4D97-AF65-F5344CB8AC3E}">
        <p14:creationId xmlns:p14="http://schemas.microsoft.com/office/powerpoint/2010/main" val="21090590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3" orient="horz" pos="2682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_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Группа 19">
            <a:extLst>
              <a:ext uri="{FF2B5EF4-FFF2-40B4-BE49-F238E27FC236}">
                <a16:creationId xmlns:a16="http://schemas.microsoft.com/office/drawing/2014/main" id="{84B61062-8E90-9247-91F2-031D1050D2A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549398" y="883609"/>
            <a:ext cx="2131200" cy="473348"/>
            <a:chOff x="8489504" y="910877"/>
            <a:chExt cx="2734509" cy="606592"/>
          </a:xfrm>
          <a:solidFill>
            <a:schemeClr val="bg1"/>
          </a:solidFill>
        </p:grpSpPr>
        <p:sp>
          <p:nvSpPr>
            <p:cNvPr id="21" name="Полилиния 20">
              <a:extLst>
                <a:ext uri="{FF2B5EF4-FFF2-40B4-BE49-F238E27FC236}">
                  <a16:creationId xmlns:a16="http://schemas.microsoft.com/office/drawing/2014/main" id="{DE90434C-391E-2C92-EAF0-C15DC9E51826}"/>
                </a:ext>
              </a:extLst>
            </p:cNvPr>
            <p:cNvSpPr/>
            <p:nvPr/>
          </p:nvSpPr>
          <p:spPr>
            <a:xfrm>
              <a:off x="10064626" y="910877"/>
              <a:ext cx="1159387" cy="606592"/>
            </a:xfrm>
            <a:custGeom>
              <a:avLst/>
              <a:gdLst>
                <a:gd name="connsiteX0" fmla="*/ 0 w 1159387"/>
                <a:gd name="connsiteY0" fmla="*/ 178242 h 606592"/>
                <a:gd name="connsiteX1" fmla="*/ 0 w 1159387"/>
                <a:gd name="connsiteY1" fmla="*/ 237024 h 606592"/>
                <a:gd name="connsiteX2" fmla="*/ 9135 w 1159387"/>
                <a:gd name="connsiteY2" fmla="*/ 246098 h 606592"/>
                <a:gd name="connsiteX3" fmla="*/ 30214 w 1159387"/>
                <a:gd name="connsiteY3" fmla="*/ 250009 h 606592"/>
                <a:gd name="connsiteX4" fmla="*/ 32261 w 1159387"/>
                <a:gd name="connsiteY4" fmla="*/ 250607 h 606592"/>
                <a:gd name="connsiteX5" fmla="*/ 85030 w 1159387"/>
                <a:gd name="connsiteY5" fmla="*/ 319338 h 606592"/>
                <a:gd name="connsiteX6" fmla="*/ 85030 w 1159387"/>
                <a:gd name="connsiteY6" fmla="*/ 483817 h 606592"/>
                <a:gd name="connsiteX7" fmla="*/ 120863 w 1159387"/>
                <a:gd name="connsiteY7" fmla="*/ 570989 h 606592"/>
                <a:gd name="connsiteX8" fmla="*/ 205874 w 1159387"/>
                <a:gd name="connsiteY8" fmla="*/ 606364 h 606592"/>
                <a:gd name="connsiteX9" fmla="*/ 207284 w 1159387"/>
                <a:gd name="connsiteY9" fmla="*/ 606364 h 606592"/>
                <a:gd name="connsiteX10" fmla="*/ 235964 w 1159387"/>
                <a:gd name="connsiteY10" fmla="*/ 606364 h 606592"/>
                <a:gd name="connsiteX11" fmla="*/ 247356 w 1159387"/>
                <a:gd name="connsiteY11" fmla="*/ 593268 h 606592"/>
                <a:gd name="connsiteX12" fmla="*/ 247337 w 1159387"/>
                <a:gd name="connsiteY12" fmla="*/ 563750 h 606592"/>
                <a:gd name="connsiteX13" fmla="*/ 247337 w 1159387"/>
                <a:gd name="connsiteY13" fmla="*/ 541928 h 606592"/>
                <a:gd name="connsiteX14" fmla="*/ 236802 w 1159387"/>
                <a:gd name="connsiteY14" fmla="*/ 530565 h 606592"/>
                <a:gd name="connsiteX15" fmla="*/ 197454 w 1159387"/>
                <a:gd name="connsiteY15" fmla="*/ 530527 h 606592"/>
                <a:gd name="connsiteX16" fmla="*/ 159506 w 1159387"/>
                <a:gd name="connsiteY16" fmla="*/ 492285 h 606592"/>
                <a:gd name="connsiteX17" fmla="*/ 159506 w 1159387"/>
                <a:gd name="connsiteY17" fmla="*/ 403084 h 606592"/>
                <a:gd name="connsiteX18" fmla="*/ 159506 w 1159387"/>
                <a:gd name="connsiteY18" fmla="*/ 316772 h 606592"/>
                <a:gd name="connsiteX19" fmla="*/ 100365 w 1159387"/>
                <a:gd name="connsiteY19" fmla="*/ 207274 h 606592"/>
                <a:gd name="connsiteX20" fmla="*/ 99080 w 1159387"/>
                <a:gd name="connsiteY20" fmla="*/ 206423 h 606592"/>
                <a:gd name="connsiteX21" fmla="*/ 100356 w 1159387"/>
                <a:gd name="connsiteY21" fmla="*/ 205547 h 606592"/>
                <a:gd name="connsiteX22" fmla="*/ 159506 w 1159387"/>
                <a:gd name="connsiteY22" fmla="*/ 90665 h 606592"/>
                <a:gd name="connsiteX23" fmla="*/ 159506 w 1159387"/>
                <a:gd name="connsiteY23" fmla="*/ 10992 h 606592"/>
                <a:gd name="connsiteX24" fmla="*/ 148962 w 1159387"/>
                <a:gd name="connsiteY24" fmla="*/ 0 h 606592"/>
                <a:gd name="connsiteX25" fmla="*/ 95565 w 1159387"/>
                <a:gd name="connsiteY25" fmla="*/ 0 h 606592"/>
                <a:gd name="connsiteX26" fmla="*/ 85030 w 1159387"/>
                <a:gd name="connsiteY26" fmla="*/ 10992 h 606592"/>
                <a:gd name="connsiteX27" fmla="*/ 85030 w 1159387"/>
                <a:gd name="connsiteY27" fmla="*/ 90665 h 606592"/>
                <a:gd name="connsiteX28" fmla="*/ 32366 w 1159387"/>
                <a:gd name="connsiteY28" fmla="*/ 162761 h 606592"/>
                <a:gd name="connsiteX29" fmla="*/ 30214 w 1159387"/>
                <a:gd name="connsiteY29" fmla="*/ 163402 h 606592"/>
                <a:gd name="connsiteX30" fmla="*/ 9135 w 1159387"/>
                <a:gd name="connsiteY30" fmla="*/ 167302 h 606592"/>
                <a:gd name="connsiteX31" fmla="*/ 0 w 1159387"/>
                <a:gd name="connsiteY31" fmla="*/ 178242 h 606592"/>
                <a:gd name="connsiteX32" fmla="*/ 933768 w 1159387"/>
                <a:gd name="connsiteY32" fmla="*/ 313343 h 606592"/>
                <a:gd name="connsiteX33" fmla="*/ 933768 w 1159387"/>
                <a:gd name="connsiteY33" fmla="*/ 468558 h 606592"/>
                <a:gd name="connsiteX34" fmla="*/ 930749 w 1159387"/>
                <a:gd name="connsiteY34" fmla="*/ 475902 h 606592"/>
                <a:gd name="connsiteX35" fmla="*/ 923472 w 1159387"/>
                <a:gd name="connsiteY35" fmla="*/ 478940 h 606592"/>
                <a:gd name="connsiteX36" fmla="*/ 869627 w 1159387"/>
                <a:gd name="connsiteY36" fmla="*/ 478902 h 606592"/>
                <a:gd name="connsiteX37" fmla="*/ 859349 w 1159387"/>
                <a:gd name="connsiteY37" fmla="*/ 468530 h 606592"/>
                <a:gd name="connsiteX38" fmla="*/ 859349 w 1159387"/>
                <a:gd name="connsiteY38" fmla="*/ 10375 h 606592"/>
                <a:gd name="connsiteX39" fmla="*/ 869636 w 1159387"/>
                <a:gd name="connsiteY39" fmla="*/ 0 h 606592"/>
                <a:gd name="connsiteX40" fmla="*/ 923472 w 1159387"/>
                <a:gd name="connsiteY40" fmla="*/ 0 h 606592"/>
                <a:gd name="connsiteX41" fmla="*/ 933768 w 1159387"/>
                <a:gd name="connsiteY41" fmla="*/ 10375 h 606592"/>
                <a:gd name="connsiteX42" fmla="*/ 933768 w 1159387"/>
                <a:gd name="connsiteY42" fmla="*/ 193355 h 606592"/>
                <a:gd name="connsiteX43" fmla="*/ 1159388 w 1159387"/>
                <a:gd name="connsiteY43" fmla="*/ 312995 h 606592"/>
                <a:gd name="connsiteX44" fmla="*/ 1159388 w 1159387"/>
                <a:gd name="connsiteY44" fmla="*/ 468520 h 606592"/>
                <a:gd name="connsiteX45" fmla="*/ 1156378 w 1159387"/>
                <a:gd name="connsiteY45" fmla="*/ 475854 h 606592"/>
                <a:gd name="connsiteX46" fmla="*/ 1149101 w 1159387"/>
                <a:gd name="connsiteY46" fmla="*/ 478893 h 606592"/>
                <a:gd name="connsiteX47" fmla="*/ 1095199 w 1159387"/>
                <a:gd name="connsiteY47" fmla="*/ 478893 h 606592"/>
                <a:gd name="connsiteX48" fmla="*/ 1087922 w 1159387"/>
                <a:gd name="connsiteY48" fmla="*/ 475854 h 606592"/>
                <a:gd name="connsiteX49" fmla="*/ 1084912 w 1159387"/>
                <a:gd name="connsiteY49" fmla="*/ 468520 h 606592"/>
                <a:gd name="connsiteX50" fmla="*/ 1084912 w 1159387"/>
                <a:gd name="connsiteY50" fmla="*/ 312995 h 606592"/>
                <a:gd name="connsiteX51" fmla="*/ 966868 w 1159387"/>
                <a:gd name="connsiteY51" fmla="*/ 246504 h 606592"/>
                <a:gd name="connsiteX52" fmla="*/ 933768 w 1159387"/>
                <a:gd name="connsiteY52" fmla="*/ 313343 h 606592"/>
                <a:gd name="connsiteX53" fmla="*/ 596563 w 1159387"/>
                <a:gd name="connsiteY53" fmla="*/ 207040 h 606592"/>
                <a:gd name="connsiteX54" fmla="*/ 549471 w 1159387"/>
                <a:gd name="connsiteY54" fmla="*/ 323084 h 606592"/>
                <a:gd name="connsiteX55" fmla="*/ 596563 w 1159387"/>
                <a:gd name="connsiteY55" fmla="*/ 439145 h 606592"/>
                <a:gd name="connsiteX56" fmla="*/ 797522 w 1159387"/>
                <a:gd name="connsiteY56" fmla="*/ 460995 h 606592"/>
                <a:gd name="connsiteX57" fmla="*/ 799923 w 1159387"/>
                <a:gd name="connsiteY57" fmla="*/ 459357 h 606592"/>
                <a:gd name="connsiteX58" fmla="*/ 805247 w 1159387"/>
                <a:gd name="connsiteY58" fmla="*/ 455385 h 606592"/>
                <a:gd name="connsiteX59" fmla="*/ 806018 w 1159387"/>
                <a:gd name="connsiteY59" fmla="*/ 438745 h 606592"/>
                <a:gd name="connsiteX60" fmla="*/ 790226 w 1159387"/>
                <a:gd name="connsiteY60" fmla="*/ 417067 h 606592"/>
                <a:gd name="connsiteX61" fmla="*/ 776110 w 1159387"/>
                <a:gd name="connsiteY61" fmla="*/ 397747 h 606592"/>
                <a:gd name="connsiteX62" fmla="*/ 760975 w 1159387"/>
                <a:gd name="connsiteY62" fmla="*/ 394585 h 606592"/>
                <a:gd name="connsiteX63" fmla="*/ 757003 w 1159387"/>
                <a:gd name="connsiteY63" fmla="*/ 397067 h 606592"/>
                <a:gd name="connsiteX64" fmla="*/ 619737 w 1159387"/>
                <a:gd name="connsiteY64" fmla="*/ 323084 h 606592"/>
                <a:gd name="connsiteX65" fmla="*/ 756945 w 1159387"/>
                <a:gd name="connsiteY65" fmla="*/ 249203 h 606592"/>
                <a:gd name="connsiteX66" fmla="*/ 760975 w 1159387"/>
                <a:gd name="connsiteY66" fmla="*/ 251591 h 606592"/>
                <a:gd name="connsiteX67" fmla="*/ 776148 w 1159387"/>
                <a:gd name="connsiteY67" fmla="*/ 248416 h 606592"/>
                <a:gd name="connsiteX68" fmla="*/ 790207 w 1159387"/>
                <a:gd name="connsiteY68" fmla="*/ 229138 h 606592"/>
                <a:gd name="connsiteX69" fmla="*/ 804618 w 1159387"/>
                <a:gd name="connsiteY69" fmla="*/ 209395 h 606592"/>
                <a:gd name="connsiteX70" fmla="*/ 799903 w 1159387"/>
                <a:gd name="connsiteY70" fmla="*/ 186809 h 606592"/>
                <a:gd name="connsiteX71" fmla="*/ 797522 w 1159387"/>
                <a:gd name="connsiteY71" fmla="*/ 185195 h 606592"/>
                <a:gd name="connsiteX72" fmla="*/ 596563 w 1159387"/>
                <a:gd name="connsiteY72" fmla="*/ 207040 h 606592"/>
                <a:gd name="connsiteX73" fmla="*/ 293714 w 1159387"/>
                <a:gd name="connsiteY73" fmla="*/ 350313 h 606592"/>
                <a:gd name="connsiteX74" fmla="*/ 469385 w 1159387"/>
                <a:gd name="connsiteY74" fmla="*/ 350313 h 606592"/>
                <a:gd name="connsiteX75" fmla="*/ 507323 w 1159387"/>
                <a:gd name="connsiteY75" fmla="*/ 312290 h 606592"/>
                <a:gd name="connsiteX76" fmla="*/ 472890 w 1159387"/>
                <a:gd name="connsiteY76" fmla="*/ 208836 h 606592"/>
                <a:gd name="connsiteX77" fmla="*/ 368190 w 1159387"/>
                <a:gd name="connsiteY77" fmla="*/ 159530 h 606592"/>
                <a:gd name="connsiteX78" fmla="*/ 219228 w 1159387"/>
                <a:gd name="connsiteY78" fmla="*/ 323103 h 606592"/>
                <a:gd name="connsiteX79" fmla="*/ 375915 w 1159387"/>
                <a:gd name="connsiteY79" fmla="*/ 486674 h 606592"/>
                <a:gd name="connsiteX80" fmla="*/ 502398 w 1159387"/>
                <a:gd name="connsiteY80" fmla="*/ 450623 h 606592"/>
                <a:gd name="connsiteX81" fmla="*/ 505913 w 1159387"/>
                <a:gd name="connsiteY81" fmla="*/ 435907 h 606592"/>
                <a:gd name="connsiteX82" fmla="*/ 504818 w 1159387"/>
                <a:gd name="connsiteY82" fmla="*/ 434088 h 606592"/>
                <a:gd name="connsiteX83" fmla="*/ 478519 w 1159387"/>
                <a:gd name="connsiteY83" fmla="*/ 391689 h 606592"/>
                <a:gd name="connsiteX84" fmla="*/ 464460 w 1159387"/>
                <a:gd name="connsiteY84" fmla="*/ 388476 h 606592"/>
                <a:gd name="connsiteX85" fmla="*/ 377335 w 1159387"/>
                <a:gd name="connsiteY85" fmla="*/ 414990 h 606592"/>
                <a:gd name="connsiteX86" fmla="*/ 293714 w 1159387"/>
                <a:gd name="connsiteY86" fmla="*/ 350313 h 606592"/>
                <a:gd name="connsiteX87" fmla="*/ 430732 w 1159387"/>
                <a:gd name="connsiteY87" fmla="*/ 287912 h 606592"/>
                <a:gd name="connsiteX88" fmla="*/ 368190 w 1159387"/>
                <a:gd name="connsiteY88" fmla="*/ 232071 h 606592"/>
                <a:gd name="connsiteX89" fmla="*/ 296524 w 1159387"/>
                <a:gd name="connsiteY89" fmla="*/ 287912 h 606592"/>
                <a:gd name="connsiteX90" fmla="*/ 430732 w 1159387"/>
                <a:gd name="connsiteY90" fmla="*/ 287912 h 606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</a:cxnLst>
              <a:rect l="l" t="t" r="r" b="b"/>
              <a:pathLst>
                <a:path w="1159387" h="606592">
                  <a:moveTo>
                    <a:pt x="0" y="178242"/>
                  </a:moveTo>
                  <a:lnTo>
                    <a:pt x="0" y="237024"/>
                  </a:lnTo>
                  <a:cubicBezTo>
                    <a:pt x="695" y="241577"/>
                    <a:pt x="4220" y="245266"/>
                    <a:pt x="9135" y="246098"/>
                  </a:cubicBezTo>
                  <a:cubicBezTo>
                    <a:pt x="16869" y="247387"/>
                    <a:pt x="27404" y="249197"/>
                    <a:pt x="30214" y="250009"/>
                  </a:cubicBezTo>
                  <a:cubicBezTo>
                    <a:pt x="30833" y="250193"/>
                    <a:pt x="31518" y="250390"/>
                    <a:pt x="32261" y="250607"/>
                  </a:cubicBezTo>
                  <a:cubicBezTo>
                    <a:pt x="46749" y="254784"/>
                    <a:pt x="83697" y="265433"/>
                    <a:pt x="85030" y="319338"/>
                  </a:cubicBezTo>
                  <a:lnTo>
                    <a:pt x="85030" y="483817"/>
                  </a:lnTo>
                  <a:cubicBezTo>
                    <a:pt x="85030" y="516573"/>
                    <a:pt x="97670" y="547958"/>
                    <a:pt x="120863" y="570989"/>
                  </a:cubicBezTo>
                  <a:cubicBezTo>
                    <a:pt x="143342" y="593696"/>
                    <a:pt x="174261" y="606402"/>
                    <a:pt x="205874" y="606364"/>
                  </a:cubicBezTo>
                  <a:lnTo>
                    <a:pt x="207284" y="606364"/>
                  </a:lnTo>
                  <a:cubicBezTo>
                    <a:pt x="207284" y="606364"/>
                    <a:pt x="207284" y="606879"/>
                    <a:pt x="235964" y="606364"/>
                  </a:cubicBezTo>
                  <a:cubicBezTo>
                    <a:pt x="243232" y="606231"/>
                    <a:pt x="247461" y="601383"/>
                    <a:pt x="247356" y="593268"/>
                  </a:cubicBezTo>
                  <a:cubicBezTo>
                    <a:pt x="247222" y="582028"/>
                    <a:pt x="247527" y="573246"/>
                    <a:pt x="247337" y="563750"/>
                  </a:cubicBezTo>
                  <a:cubicBezTo>
                    <a:pt x="247184" y="555816"/>
                    <a:pt x="247337" y="548520"/>
                    <a:pt x="247337" y="541928"/>
                  </a:cubicBezTo>
                  <a:cubicBezTo>
                    <a:pt x="247337" y="535804"/>
                    <a:pt x="242422" y="530794"/>
                    <a:pt x="236802" y="530565"/>
                  </a:cubicBezTo>
                  <a:cubicBezTo>
                    <a:pt x="226258" y="530527"/>
                    <a:pt x="211504" y="530527"/>
                    <a:pt x="197454" y="530527"/>
                  </a:cubicBezTo>
                  <a:cubicBezTo>
                    <a:pt x="177071" y="530527"/>
                    <a:pt x="159506" y="513401"/>
                    <a:pt x="159506" y="492285"/>
                  </a:cubicBezTo>
                  <a:lnTo>
                    <a:pt x="159506" y="403084"/>
                  </a:lnTo>
                  <a:cubicBezTo>
                    <a:pt x="160202" y="402874"/>
                    <a:pt x="159506" y="317750"/>
                    <a:pt x="159506" y="316772"/>
                  </a:cubicBezTo>
                  <a:cubicBezTo>
                    <a:pt x="157544" y="243958"/>
                    <a:pt x="109233" y="212964"/>
                    <a:pt x="100365" y="207274"/>
                  </a:cubicBezTo>
                  <a:cubicBezTo>
                    <a:pt x="99708" y="206855"/>
                    <a:pt x="99270" y="206569"/>
                    <a:pt x="99080" y="206423"/>
                  </a:cubicBezTo>
                  <a:cubicBezTo>
                    <a:pt x="99270" y="206264"/>
                    <a:pt x="99708" y="205979"/>
                    <a:pt x="100356" y="205547"/>
                  </a:cubicBezTo>
                  <a:cubicBezTo>
                    <a:pt x="109395" y="199604"/>
                    <a:pt x="159506" y="166622"/>
                    <a:pt x="159506" y="90665"/>
                  </a:cubicBezTo>
                  <a:lnTo>
                    <a:pt x="159506" y="10992"/>
                  </a:lnTo>
                  <a:cubicBezTo>
                    <a:pt x="159506" y="4922"/>
                    <a:pt x="155287" y="0"/>
                    <a:pt x="148962" y="0"/>
                  </a:cubicBezTo>
                  <a:lnTo>
                    <a:pt x="95565" y="0"/>
                  </a:lnTo>
                  <a:cubicBezTo>
                    <a:pt x="89945" y="0"/>
                    <a:pt x="85030" y="4922"/>
                    <a:pt x="85030" y="10992"/>
                  </a:cubicBezTo>
                  <a:lnTo>
                    <a:pt x="85030" y="90665"/>
                  </a:lnTo>
                  <a:cubicBezTo>
                    <a:pt x="85030" y="147350"/>
                    <a:pt x="47054" y="158469"/>
                    <a:pt x="32366" y="162761"/>
                  </a:cubicBezTo>
                  <a:cubicBezTo>
                    <a:pt x="31576" y="162997"/>
                    <a:pt x="30861" y="163206"/>
                    <a:pt x="30214" y="163402"/>
                  </a:cubicBezTo>
                  <a:cubicBezTo>
                    <a:pt x="27404" y="164209"/>
                    <a:pt x="16869" y="166026"/>
                    <a:pt x="9135" y="167302"/>
                  </a:cubicBezTo>
                  <a:cubicBezTo>
                    <a:pt x="3515" y="168248"/>
                    <a:pt x="0" y="172858"/>
                    <a:pt x="0" y="178242"/>
                  </a:cubicBezTo>
                  <a:close/>
                  <a:moveTo>
                    <a:pt x="933768" y="313343"/>
                  </a:moveTo>
                  <a:lnTo>
                    <a:pt x="933768" y="468558"/>
                  </a:lnTo>
                  <a:cubicBezTo>
                    <a:pt x="933768" y="471320"/>
                    <a:pt x="932682" y="473949"/>
                    <a:pt x="930749" y="475902"/>
                  </a:cubicBezTo>
                  <a:cubicBezTo>
                    <a:pt x="928825" y="477845"/>
                    <a:pt x="926206" y="478940"/>
                    <a:pt x="923472" y="478940"/>
                  </a:cubicBezTo>
                  <a:cubicBezTo>
                    <a:pt x="909270" y="478921"/>
                    <a:pt x="883819" y="478912"/>
                    <a:pt x="869627" y="478902"/>
                  </a:cubicBezTo>
                  <a:cubicBezTo>
                    <a:pt x="863950" y="478893"/>
                    <a:pt x="859349" y="474254"/>
                    <a:pt x="859349" y="468530"/>
                  </a:cubicBezTo>
                  <a:cubicBezTo>
                    <a:pt x="859349" y="405427"/>
                    <a:pt x="859349" y="73513"/>
                    <a:pt x="859349" y="10375"/>
                  </a:cubicBezTo>
                  <a:cubicBezTo>
                    <a:pt x="859349" y="4648"/>
                    <a:pt x="863959" y="0"/>
                    <a:pt x="869636" y="0"/>
                  </a:cubicBezTo>
                  <a:cubicBezTo>
                    <a:pt x="883838" y="0"/>
                    <a:pt x="909279" y="0"/>
                    <a:pt x="923472" y="0"/>
                  </a:cubicBezTo>
                  <a:cubicBezTo>
                    <a:pt x="929158" y="0"/>
                    <a:pt x="933768" y="4648"/>
                    <a:pt x="933768" y="10375"/>
                  </a:cubicBezTo>
                  <a:cubicBezTo>
                    <a:pt x="933768" y="50513"/>
                    <a:pt x="933768" y="193355"/>
                    <a:pt x="933768" y="193355"/>
                  </a:cubicBezTo>
                  <a:cubicBezTo>
                    <a:pt x="1013169" y="118433"/>
                    <a:pt x="1159388" y="172318"/>
                    <a:pt x="1159388" y="312995"/>
                  </a:cubicBezTo>
                  <a:lnTo>
                    <a:pt x="1159388" y="468520"/>
                  </a:lnTo>
                  <a:cubicBezTo>
                    <a:pt x="1159388" y="471273"/>
                    <a:pt x="1158302" y="473911"/>
                    <a:pt x="1156378" y="475854"/>
                  </a:cubicBezTo>
                  <a:cubicBezTo>
                    <a:pt x="1154445" y="477797"/>
                    <a:pt x="1151835" y="478893"/>
                    <a:pt x="1149101" y="478893"/>
                  </a:cubicBezTo>
                  <a:cubicBezTo>
                    <a:pt x="1134899" y="478893"/>
                    <a:pt x="1109401" y="478893"/>
                    <a:pt x="1095199" y="478893"/>
                  </a:cubicBezTo>
                  <a:cubicBezTo>
                    <a:pt x="1092465" y="478893"/>
                    <a:pt x="1089855" y="477797"/>
                    <a:pt x="1087922" y="475854"/>
                  </a:cubicBezTo>
                  <a:cubicBezTo>
                    <a:pt x="1085998" y="473911"/>
                    <a:pt x="1084912" y="471273"/>
                    <a:pt x="1084912" y="468520"/>
                  </a:cubicBezTo>
                  <a:cubicBezTo>
                    <a:pt x="1084912" y="432211"/>
                    <a:pt x="1084912" y="312995"/>
                    <a:pt x="1084912" y="312995"/>
                  </a:cubicBezTo>
                  <a:cubicBezTo>
                    <a:pt x="1084912" y="239513"/>
                    <a:pt x="1011121" y="217047"/>
                    <a:pt x="966868" y="246504"/>
                  </a:cubicBezTo>
                  <a:cubicBezTo>
                    <a:pt x="947885" y="259141"/>
                    <a:pt x="933768" y="281804"/>
                    <a:pt x="933768" y="313343"/>
                  </a:cubicBezTo>
                  <a:close/>
                  <a:moveTo>
                    <a:pt x="596563" y="207040"/>
                  </a:moveTo>
                  <a:cubicBezTo>
                    <a:pt x="564235" y="238922"/>
                    <a:pt x="549471" y="280953"/>
                    <a:pt x="549471" y="323084"/>
                  </a:cubicBezTo>
                  <a:cubicBezTo>
                    <a:pt x="549471" y="365223"/>
                    <a:pt x="564235" y="407246"/>
                    <a:pt x="596563" y="439145"/>
                  </a:cubicBezTo>
                  <a:cubicBezTo>
                    <a:pt x="650665" y="494085"/>
                    <a:pt x="734285" y="501400"/>
                    <a:pt x="797522" y="460995"/>
                  </a:cubicBezTo>
                  <a:cubicBezTo>
                    <a:pt x="798208" y="460481"/>
                    <a:pt x="799037" y="459938"/>
                    <a:pt x="799923" y="459357"/>
                  </a:cubicBezTo>
                  <a:cubicBezTo>
                    <a:pt x="801761" y="458147"/>
                    <a:pt x="803828" y="456795"/>
                    <a:pt x="805247" y="455385"/>
                  </a:cubicBezTo>
                  <a:cubicBezTo>
                    <a:pt x="808762" y="451909"/>
                    <a:pt x="810762" y="445470"/>
                    <a:pt x="806018" y="438745"/>
                  </a:cubicBezTo>
                  <a:cubicBezTo>
                    <a:pt x="801761" y="432697"/>
                    <a:pt x="796170" y="425153"/>
                    <a:pt x="790226" y="417067"/>
                  </a:cubicBezTo>
                  <a:cubicBezTo>
                    <a:pt x="785121" y="410132"/>
                    <a:pt x="780339" y="403665"/>
                    <a:pt x="776110" y="397747"/>
                  </a:cubicBezTo>
                  <a:cubicBezTo>
                    <a:pt x="772671" y="392947"/>
                    <a:pt x="765890" y="391664"/>
                    <a:pt x="760975" y="394585"/>
                  </a:cubicBezTo>
                  <a:cubicBezTo>
                    <a:pt x="759565" y="395461"/>
                    <a:pt x="758393" y="396172"/>
                    <a:pt x="757003" y="397067"/>
                  </a:cubicBezTo>
                  <a:cubicBezTo>
                    <a:pt x="686032" y="442936"/>
                    <a:pt x="619737" y="382374"/>
                    <a:pt x="619737" y="323084"/>
                  </a:cubicBezTo>
                  <a:cubicBezTo>
                    <a:pt x="619737" y="263795"/>
                    <a:pt x="687384" y="203573"/>
                    <a:pt x="756945" y="249203"/>
                  </a:cubicBezTo>
                  <a:cubicBezTo>
                    <a:pt x="758308" y="250105"/>
                    <a:pt x="759565" y="250708"/>
                    <a:pt x="760975" y="251591"/>
                  </a:cubicBezTo>
                  <a:cubicBezTo>
                    <a:pt x="765890" y="254512"/>
                    <a:pt x="772805" y="253115"/>
                    <a:pt x="776148" y="248416"/>
                  </a:cubicBezTo>
                  <a:cubicBezTo>
                    <a:pt x="780377" y="242497"/>
                    <a:pt x="785102" y="236065"/>
                    <a:pt x="790207" y="229138"/>
                  </a:cubicBezTo>
                  <a:cubicBezTo>
                    <a:pt x="795560" y="221854"/>
                    <a:pt x="800580" y="215072"/>
                    <a:pt x="804618" y="209395"/>
                  </a:cubicBezTo>
                  <a:cubicBezTo>
                    <a:pt x="811362" y="199928"/>
                    <a:pt x="809571" y="193191"/>
                    <a:pt x="799903" y="186809"/>
                  </a:cubicBezTo>
                  <a:cubicBezTo>
                    <a:pt x="799027" y="186231"/>
                    <a:pt x="798199" y="185691"/>
                    <a:pt x="797522" y="185195"/>
                  </a:cubicBezTo>
                  <a:cubicBezTo>
                    <a:pt x="734285" y="144778"/>
                    <a:pt x="650665" y="152087"/>
                    <a:pt x="596563" y="207040"/>
                  </a:cubicBezTo>
                  <a:close/>
                  <a:moveTo>
                    <a:pt x="293714" y="350313"/>
                  </a:moveTo>
                  <a:lnTo>
                    <a:pt x="469385" y="350313"/>
                  </a:lnTo>
                  <a:cubicBezTo>
                    <a:pt x="490463" y="350313"/>
                    <a:pt x="507323" y="333283"/>
                    <a:pt x="507323" y="312290"/>
                  </a:cubicBezTo>
                  <a:cubicBezTo>
                    <a:pt x="507323" y="265561"/>
                    <a:pt x="499588" y="240644"/>
                    <a:pt x="472890" y="208836"/>
                  </a:cubicBezTo>
                  <a:cubicBezTo>
                    <a:pt x="445486" y="176865"/>
                    <a:pt x="401919" y="159530"/>
                    <a:pt x="368190" y="159530"/>
                  </a:cubicBezTo>
                  <a:cubicBezTo>
                    <a:pt x="283875" y="159530"/>
                    <a:pt x="219228" y="231722"/>
                    <a:pt x="219228" y="323103"/>
                  </a:cubicBezTo>
                  <a:cubicBezTo>
                    <a:pt x="219228" y="435697"/>
                    <a:pt x="306354" y="486674"/>
                    <a:pt x="375915" y="486674"/>
                  </a:cubicBezTo>
                  <a:cubicBezTo>
                    <a:pt x="425807" y="486674"/>
                    <a:pt x="464460" y="474616"/>
                    <a:pt x="502398" y="450623"/>
                  </a:cubicBezTo>
                  <a:cubicBezTo>
                    <a:pt x="506618" y="447470"/>
                    <a:pt x="508723" y="441003"/>
                    <a:pt x="505913" y="435907"/>
                  </a:cubicBezTo>
                  <a:lnTo>
                    <a:pt x="504818" y="434088"/>
                  </a:lnTo>
                  <a:cubicBezTo>
                    <a:pt x="497150" y="421362"/>
                    <a:pt x="486558" y="403789"/>
                    <a:pt x="478519" y="391689"/>
                  </a:cubicBezTo>
                  <a:cubicBezTo>
                    <a:pt x="475709" y="386901"/>
                    <a:pt x="469385" y="385492"/>
                    <a:pt x="464460" y="388476"/>
                  </a:cubicBezTo>
                  <a:cubicBezTo>
                    <a:pt x="440571" y="402722"/>
                    <a:pt x="415273" y="415266"/>
                    <a:pt x="377335" y="414990"/>
                  </a:cubicBezTo>
                  <a:cubicBezTo>
                    <a:pt x="342197" y="414742"/>
                    <a:pt x="304954" y="392280"/>
                    <a:pt x="293714" y="350313"/>
                  </a:cubicBezTo>
                  <a:close/>
                  <a:moveTo>
                    <a:pt x="430732" y="287912"/>
                  </a:moveTo>
                  <a:cubicBezTo>
                    <a:pt x="424407" y="240694"/>
                    <a:pt x="392079" y="232071"/>
                    <a:pt x="368190" y="232071"/>
                  </a:cubicBezTo>
                  <a:cubicBezTo>
                    <a:pt x="335872" y="232071"/>
                    <a:pt x="308478" y="256182"/>
                    <a:pt x="296524" y="287912"/>
                  </a:cubicBezTo>
                  <a:lnTo>
                    <a:pt x="430732" y="287912"/>
                  </a:lnTo>
                  <a:close/>
                </a:path>
              </a:pathLst>
            </a:custGeom>
            <a:solidFill>
              <a:schemeClr val="accent2"/>
            </a:solidFill>
            <a:ln w="76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22" name="Полилиния 21">
              <a:extLst>
                <a:ext uri="{FF2B5EF4-FFF2-40B4-BE49-F238E27FC236}">
                  <a16:creationId xmlns:a16="http://schemas.microsoft.com/office/drawing/2014/main" id="{611E2E2C-9B8E-0105-B312-39E7E2BBDF5A}"/>
                </a:ext>
              </a:extLst>
            </p:cNvPr>
            <p:cNvSpPr/>
            <p:nvPr/>
          </p:nvSpPr>
          <p:spPr>
            <a:xfrm>
              <a:off x="8489504" y="1070894"/>
              <a:ext cx="1492273" cy="326563"/>
            </a:xfrm>
            <a:custGeom>
              <a:avLst/>
              <a:gdLst>
                <a:gd name="connsiteX0" fmla="*/ 180273 w 1492273"/>
                <a:gd name="connsiteY0" fmla="*/ 900 h 326563"/>
                <a:gd name="connsiteX1" fmla="*/ 83526 w 1492273"/>
                <a:gd name="connsiteY1" fmla="*/ 20775 h 326563"/>
                <a:gd name="connsiteX2" fmla="*/ 15954 w 1492273"/>
                <a:gd name="connsiteY2" fmla="*/ 92853 h 326563"/>
                <a:gd name="connsiteX3" fmla="*/ 2323 w 1492273"/>
                <a:gd name="connsiteY3" fmla="*/ 190737 h 326563"/>
                <a:gd name="connsiteX4" fmla="*/ 47618 w 1492273"/>
                <a:gd name="connsiteY4" fmla="*/ 278557 h 326563"/>
                <a:gd name="connsiteX5" fmla="*/ 135243 w 1492273"/>
                <a:gd name="connsiteY5" fmla="*/ 324153 h 326563"/>
                <a:gd name="connsiteX6" fmla="*/ 233098 w 1492273"/>
                <a:gd name="connsiteY6" fmla="*/ 310818 h 326563"/>
                <a:gd name="connsiteX7" fmla="*/ 305341 w 1492273"/>
                <a:gd name="connsiteY7" fmla="*/ 243429 h 326563"/>
                <a:gd name="connsiteX8" fmla="*/ 325507 w 1492273"/>
                <a:gd name="connsiteY8" fmla="*/ 146675 h 326563"/>
                <a:gd name="connsiteX9" fmla="*/ 278778 w 1492273"/>
                <a:gd name="connsiteY9" fmla="*/ 47965 h 326563"/>
                <a:gd name="connsiteX10" fmla="*/ 180273 w 1492273"/>
                <a:gd name="connsiteY10" fmla="*/ 900 h 326563"/>
                <a:gd name="connsiteX11" fmla="*/ 174984 w 1492273"/>
                <a:gd name="connsiteY11" fmla="*/ 249697 h 326563"/>
                <a:gd name="connsiteX12" fmla="*/ 122555 w 1492273"/>
                <a:gd name="connsiteY12" fmla="*/ 240277 h 326563"/>
                <a:gd name="connsiteX13" fmla="*/ 85427 w 1492273"/>
                <a:gd name="connsiteY13" fmla="*/ 202047 h 326563"/>
                <a:gd name="connsiteX14" fmla="*/ 77507 w 1492273"/>
                <a:gd name="connsiteY14" fmla="*/ 149329 h 326563"/>
                <a:gd name="connsiteX15" fmla="*/ 101766 w 1492273"/>
                <a:gd name="connsiteY15" fmla="*/ 101883 h 326563"/>
                <a:gd name="connsiteX16" fmla="*/ 149113 w 1492273"/>
                <a:gd name="connsiteY16" fmla="*/ 77461 h 326563"/>
                <a:gd name="connsiteX17" fmla="*/ 201825 w 1492273"/>
                <a:gd name="connsiteY17" fmla="*/ 85220 h 326563"/>
                <a:gd name="connsiteX18" fmla="*/ 240132 w 1492273"/>
                <a:gd name="connsiteY18" fmla="*/ 122247 h 326563"/>
                <a:gd name="connsiteX19" fmla="*/ 249714 w 1492273"/>
                <a:gd name="connsiteY19" fmla="*/ 174684 h 326563"/>
                <a:gd name="connsiteX20" fmla="*/ 225058 w 1492273"/>
                <a:gd name="connsiteY20" fmla="*/ 224868 h 326563"/>
                <a:gd name="connsiteX21" fmla="*/ 174984 w 1492273"/>
                <a:gd name="connsiteY21" fmla="*/ 249697 h 326563"/>
                <a:gd name="connsiteX22" fmla="*/ 412780 w 1492273"/>
                <a:gd name="connsiteY22" fmla="*/ 7358 h 326563"/>
                <a:gd name="connsiteX23" fmla="*/ 396435 w 1492273"/>
                <a:gd name="connsiteY23" fmla="*/ 11091 h 326563"/>
                <a:gd name="connsiteX24" fmla="*/ 383276 w 1492273"/>
                <a:gd name="connsiteY24" fmla="*/ 21498 h 326563"/>
                <a:gd name="connsiteX25" fmla="*/ 375859 w 1492273"/>
                <a:gd name="connsiteY25" fmla="*/ 36548 h 326563"/>
                <a:gd name="connsiteX26" fmla="*/ 375620 w 1492273"/>
                <a:gd name="connsiteY26" fmla="*/ 53325 h 326563"/>
                <a:gd name="connsiteX27" fmla="*/ 414209 w 1492273"/>
                <a:gd name="connsiteY27" fmla="*/ 83537 h 326563"/>
                <a:gd name="connsiteX28" fmla="*/ 520143 w 1492273"/>
                <a:gd name="connsiteY28" fmla="*/ 83537 h 326563"/>
                <a:gd name="connsiteX29" fmla="*/ 355289 w 1492273"/>
                <a:gd name="connsiteY29" fmla="*/ 301846 h 326563"/>
                <a:gd name="connsiteX30" fmla="*/ 353136 w 1492273"/>
                <a:gd name="connsiteY30" fmla="*/ 307389 h 326563"/>
                <a:gd name="connsiteX31" fmla="*/ 354212 w 1492273"/>
                <a:gd name="connsiteY31" fmla="*/ 313237 h 326563"/>
                <a:gd name="connsiteX32" fmla="*/ 358204 w 1492273"/>
                <a:gd name="connsiteY32" fmla="*/ 317647 h 326563"/>
                <a:gd name="connsiteX33" fmla="*/ 363921 w 1492273"/>
                <a:gd name="connsiteY33" fmla="*/ 319295 h 326563"/>
                <a:gd name="connsiteX34" fmla="*/ 622504 w 1492273"/>
                <a:gd name="connsiteY34" fmla="*/ 319295 h 326563"/>
                <a:gd name="connsiteX35" fmla="*/ 661099 w 1492273"/>
                <a:gd name="connsiteY35" fmla="*/ 289082 h 326563"/>
                <a:gd name="connsiteX36" fmla="*/ 660861 w 1492273"/>
                <a:gd name="connsiteY36" fmla="*/ 272299 h 326563"/>
                <a:gd name="connsiteX37" fmla="*/ 653451 w 1492273"/>
                <a:gd name="connsiteY37" fmla="*/ 257250 h 326563"/>
                <a:gd name="connsiteX38" fmla="*/ 640297 w 1492273"/>
                <a:gd name="connsiteY38" fmla="*/ 246849 h 326563"/>
                <a:gd name="connsiteX39" fmla="*/ 623952 w 1492273"/>
                <a:gd name="connsiteY39" fmla="*/ 243105 h 326563"/>
                <a:gd name="connsiteX40" fmla="*/ 494883 w 1492273"/>
                <a:gd name="connsiteY40" fmla="*/ 243105 h 326563"/>
                <a:gd name="connsiteX41" fmla="*/ 659613 w 1492273"/>
                <a:gd name="connsiteY41" fmla="*/ 24972 h 326563"/>
                <a:gd name="connsiteX42" fmla="*/ 661785 w 1492273"/>
                <a:gd name="connsiteY42" fmla="*/ 19371 h 326563"/>
                <a:gd name="connsiteX43" fmla="*/ 660690 w 1492273"/>
                <a:gd name="connsiteY43" fmla="*/ 13473 h 326563"/>
                <a:gd name="connsiteX44" fmla="*/ 656661 w 1492273"/>
                <a:gd name="connsiteY44" fmla="*/ 9021 h 326563"/>
                <a:gd name="connsiteX45" fmla="*/ 650888 w 1492273"/>
                <a:gd name="connsiteY45" fmla="*/ 7358 h 326563"/>
                <a:gd name="connsiteX46" fmla="*/ 412780 w 1492273"/>
                <a:gd name="connsiteY46" fmla="*/ 7358 h 326563"/>
                <a:gd name="connsiteX47" fmla="*/ 1446105 w 1492273"/>
                <a:gd name="connsiteY47" fmla="*/ 8240 h 326563"/>
                <a:gd name="connsiteX48" fmla="*/ 1424484 w 1492273"/>
                <a:gd name="connsiteY48" fmla="*/ 22127 h 326563"/>
                <a:gd name="connsiteX49" fmla="*/ 1416378 w 1492273"/>
                <a:gd name="connsiteY49" fmla="*/ 46473 h 326563"/>
                <a:gd name="connsiteX50" fmla="*/ 1416378 w 1492273"/>
                <a:gd name="connsiteY50" fmla="*/ 173313 h 326563"/>
                <a:gd name="connsiteX51" fmla="*/ 1210980 w 1492273"/>
                <a:gd name="connsiteY51" fmla="*/ 9758 h 326563"/>
                <a:gd name="connsiteX52" fmla="*/ 1205389 w 1492273"/>
                <a:gd name="connsiteY52" fmla="*/ 7453 h 326563"/>
                <a:gd name="connsiteX53" fmla="*/ 1199426 w 1492273"/>
                <a:gd name="connsiteY53" fmla="*/ 8482 h 326563"/>
                <a:gd name="connsiteX54" fmla="*/ 1194921 w 1492273"/>
                <a:gd name="connsiteY54" fmla="*/ 12520 h 326563"/>
                <a:gd name="connsiteX55" fmla="*/ 1193263 w 1492273"/>
                <a:gd name="connsiteY55" fmla="*/ 18343 h 326563"/>
                <a:gd name="connsiteX56" fmla="*/ 1193263 w 1492273"/>
                <a:gd name="connsiteY56" fmla="*/ 280243 h 326563"/>
                <a:gd name="connsiteX57" fmla="*/ 1201388 w 1492273"/>
                <a:gd name="connsiteY57" fmla="*/ 304589 h 326563"/>
                <a:gd name="connsiteX58" fmla="*/ 1222962 w 1492273"/>
                <a:gd name="connsiteY58" fmla="*/ 318486 h 326563"/>
                <a:gd name="connsiteX59" fmla="*/ 1239803 w 1492273"/>
                <a:gd name="connsiteY59" fmla="*/ 318362 h 326563"/>
                <a:gd name="connsiteX60" fmla="*/ 1254966 w 1492273"/>
                <a:gd name="connsiteY60" fmla="*/ 310961 h 326563"/>
                <a:gd name="connsiteX61" fmla="*/ 1265444 w 1492273"/>
                <a:gd name="connsiteY61" fmla="*/ 297721 h 326563"/>
                <a:gd name="connsiteX62" fmla="*/ 1269159 w 1492273"/>
                <a:gd name="connsiteY62" fmla="*/ 281272 h 326563"/>
                <a:gd name="connsiteX63" fmla="*/ 1269159 w 1492273"/>
                <a:gd name="connsiteY63" fmla="*/ 153323 h 326563"/>
                <a:gd name="connsiteX64" fmla="*/ 1474538 w 1492273"/>
                <a:gd name="connsiteY64" fmla="*/ 316885 h 326563"/>
                <a:gd name="connsiteX65" fmla="*/ 1480148 w 1492273"/>
                <a:gd name="connsiteY65" fmla="*/ 319190 h 326563"/>
                <a:gd name="connsiteX66" fmla="*/ 1486120 w 1492273"/>
                <a:gd name="connsiteY66" fmla="*/ 318162 h 326563"/>
                <a:gd name="connsiteX67" fmla="*/ 1490625 w 1492273"/>
                <a:gd name="connsiteY67" fmla="*/ 314123 h 326563"/>
                <a:gd name="connsiteX68" fmla="*/ 1492273 w 1492273"/>
                <a:gd name="connsiteY68" fmla="*/ 308303 h 326563"/>
                <a:gd name="connsiteX69" fmla="*/ 1492273 w 1492273"/>
                <a:gd name="connsiteY69" fmla="*/ 45444 h 326563"/>
                <a:gd name="connsiteX70" fmla="*/ 1488559 w 1492273"/>
                <a:gd name="connsiteY70" fmla="*/ 28985 h 326563"/>
                <a:gd name="connsiteX71" fmla="*/ 1478081 w 1492273"/>
                <a:gd name="connsiteY71" fmla="*/ 15759 h 326563"/>
                <a:gd name="connsiteX72" fmla="*/ 1462908 w 1492273"/>
                <a:gd name="connsiteY72" fmla="*/ 8354 h 326563"/>
                <a:gd name="connsiteX73" fmla="*/ 1446105 w 1492273"/>
                <a:gd name="connsiteY73" fmla="*/ 8240 h 326563"/>
                <a:gd name="connsiteX74" fmla="*/ 911265 w 1492273"/>
                <a:gd name="connsiteY74" fmla="*/ 76254 h 326563"/>
                <a:gd name="connsiteX75" fmla="*/ 1063066 w 1492273"/>
                <a:gd name="connsiteY75" fmla="*/ 163286 h 326563"/>
                <a:gd name="connsiteX76" fmla="*/ 911265 w 1492273"/>
                <a:gd name="connsiteY76" fmla="*/ 250325 h 326563"/>
                <a:gd name="connsiteX77" fmla="*/ 759483 w 1492273"/>
                <a:gd name="connsiteY77" fmla="*/ 163286 h 326563"/>
                <a:gd name="connsiteX78" fmla="*/ 911265 w 1492273"/>
                <a:gd name="connsiteY78" fmla="*/ 76254 h 326563"/>
                <a:gd name="connsiteX79" fmla="*/ 911265 w 1492273"/>
                <a:gd name="connsiteY79" fmla="*/ 67 h 326563"/>
                <a:gd name="connsiteX80" fmla="*/ 683578 w 1492273"/>
                <a:gd name="connsiteY80" fmla="*/ 163286 h 326563"/>
                <a:gd name="connsiteX81" fmla="*/ 911265 w 1492273"/>
                <a:gd name="connsiteY81" fmla="*/ 326506 h 326563"/>
                <a:gd name="connsiteX82" fmla="*/ 1138961 w 1492273"/>
                <a:gd name="connsiteY82" fmla="*/ 163286 h 326563"/>
                <a:gd name="connsiteX83" fmla="*/ 911265 w 1492273"/>
                <a:gd name="connsiteY83" fmla="*/ 67 h 3265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</a:cxnLst>
              <a:rect l="l" t="t" r="r" b="b"/>
              <a:pathLst>
                <a:path w="1492273" h="326563">
                  <a:moveTo>
                    <a:pt x="180273" y="900"/>
                  </a:moveTo>
                  <a:cubicBezTo>
                    <a:pt x="146739" y="-2638"/>
                    <a:pt x="112948" y="4310"/>
                    <a:pt x="83526" y="20775"/>
                  </a:cubicBezTo>
                  <a:cubicBezTo>
                    <a:pt x="54104" y="37240"/>
                    <a:pt x="30499" y="62424"/>
                    <a:pt x="15954" y="92853"/>
                  </a:cubicBezTo>
                  <a:cubicBezTo>
                    <a:pt x="1417" y="123295"/>
                    <a:pt x="-3344" y="157489"/>
                    <a:pt x="2323" y="190737"/>
                  </a:cubicBezTo>
                  <a:cubicBezTo>
                    <a:pt x="7990" y="223998"/>
                    <a:pt x="23812" y="254669"/>
                    <a:pt x="47618" y="278557"/>
                  </a:cubicBezTo>
                  <a:cubicBezTo>
                    <a:pt x="71412" y="302455"/>
                    <a:pt x="102030" y="318381"/>
                    <a:pt x="135243" y="324153"/>
                  </a:cubicBezTo>
                  <a:cubicBezTo>
                    <a:pt x="168455" y="329925"/>
                    <a:pt x="202644" y="325277"/>
                    <a:pt x="233098" y="310818"/>
                  </a:cubicBezTo>
                  <a:cubicBezTo>
                    <a:pt x="263559" y="296359"/>
                    <a:pt x="288801" y="272814"/>
                    <a:pt x="305341" y="243429"/>
                  </a:cubicBezTo>
                  <a:cubicBezTo>
                    <a:pt x="321894" y="214035"/>
                    <a:pt x="328933" y="180240"/>
                    <a:pt x="325507" y="146675"/>
                  </a:cubicBezTo>
                  <a:cubicBezTo>
                    <a:pt x="321736" y="109375"/>
                    <a:pt x="305234" y="74514"/>
                    <a:pt x="278778" y="47965"/>
                  </a:cubicBezTo>
                  <a:cubicBezTo>
                    <a:pt x="252327" y="21410"/>
                    <a:pt x="217534" y="4786"/>
                    <a:pt x="180273" y="900"/>
                  </a:cubicBezTo>
                  <a:close/>
                  <a:moveTo>
                    <a:pt x="174984" y="249697"/>
                  </a:moveTo>
                  <a:cubicBezTo>
                    <a:pt x="156946" y="252116"/>
                    <a:pt x="138617" y="248820"/>
                    <a:pt x="122555" y="240277"/>
                  </a:cubicBezTo>
                  <a:cubicBezTo>
                    <a:pt x="106488" y="231725"/>
                    <a:pt x="93505" y="218366"/>
                    <a:pt x="85427" y="202047"/>
                  </a:cubicBezTo>
                  <a:cubicBezTo>
                    <a:pt x="77349" y="185733"/>
                    <a:pt x="74579" y="167300"/>
                    <a:pt x="77507" y="149329"/>
                  </a:cubicBezTo>
                  <a:cubicBezTo>
                    <a:pt x="80440" y="131372"/>
                    <a:pt x="88922" y="114773"/>
                    <a:pt x="101766" y="101883"/>
                  </a:cubicBezTo>
                  <a:cubicBezTo>
                    <a:pt x="114610" y="88986"/>
                    <a:pt x="131176" y="80452"/>
                    <a:pt x="149113" y="77461"/>
                  </a:cubicBezTo>
                  <a:cubicBezTo>
                    <a:pt x="167057" y="74470"/>
                    <a:pt x="185493" y="77181"/>
                    <a:pt x="201825" y="85220"/>
                  </a:cubicBezTo>
                  <a:cubicBezTo>
                    <a:pt x="218145" y="93247"/>
                    <a:pt x="231543" y="106194"/>
                    <a:pt x="240132" y="122247"/>
                  </a:cubicBezTo>
                  <a:cubicBezTo>
                    <a:pt x="248725" y="138293"/>
                    <a:pt x="252068" y="156625"/>
                    <a:pt x="249714" y="174684"/>
                  </a:cubicBezTo>
                  <a:cubicBezTo>
                    <a:pt x="247233" y="193670"/>
                    <a:pt x="238569" y="211305"/>
                    <a:pt x="225058" y="224868"/>
                  </a:cubicBezTo>
                  <a:cubicBezTo>
                    <a:pt x="211546" y="238425"/>
                    <a:pt x="193948" y="247154"/>
                    <a:pt x="174984" y="249697"/>
                  </a:cubicBezTo>
                  <a:close/>
                  <a:moveTo>
                    <a:pt x="412780" y="7358"/>
                  </a:moveTo>
                  <a:cubicBezTo>
                    <a:pt x="407126" y="7370"/>
                    <a:pt x="401534" y="8646"/>
                    <a:pt x="396435" y="11091"/>
                  </a:cubicBezTo>
                  <a:cubicBezTo>
                    <a:pt x="391328" y="13536"/>
                    <a:pt x="386833" y="17092"/>
                    <a:pt x="383276" y="21498"/>
                  </a:cubicBezTo>
                  <a:cubicBezTo>
                    <a:pt x="379712" y="25899"/>
                    <a:pt x="377174" y="31042"/>
                    <a:pt x="375859" y="36548"/>
                  </a:cubicBezTo>
                  <a:cubicBezTo>
                    <a:pt x="374537" y="42053"/>
                    <a:pt x="374448" y="47787"/>
                    <a:pt x="375620" y="53325"/>
                  </a:cubicBezTo>
                  <a:cubicBezTo>
                    <a:pt x="379202" y="71282"/>
                    <a:pt x="395956" y="83537"/>
                    <a:pt x="414209" y="83537"/>
                  </a:cubicBezTo>
                  <a:lnTo>
                    <a:pt x="520143" y="83537"/>
                  </a:lnTo>
                  <a:lnTo>
                    <a:pt x="355289" y="301846"/>
                  </a:lnTo>
                  <a:cubicBezTo>
                    <a:pt x="354067" y="303455"/>
                    <a:pt x="353324" y="305379"/>
                    <a:pt x="353136" y="307389"/>
                  </a:cubicBezTo>
                  <a:cubicBezTo>
                    <a:pt x="352940" y="309399"/>
                    <a:pt x="353319" y="311428"/>
                    <a:pt x="354212" y="313237"/>
                  </a:cubicBezTo>
                  <a:cubicBezTo>
                    <a:pt x="355113" y="315047"/>
                    <a:pt x="356491" y="316581"/>
                    <a:pt x="358204" y="317647"/>
                  </a:cubicBezTo>
                  <a:cubicBezTo>
                    <a:pt x="359923" y="318714"/>
                    <a:pt x="361900" y="319286"/>
                    <a:pt x="363921" y="319295"/>
                  </a:cubicBezTo>
                  <a:lnTo>
                    <a:pt x="622504" y="319295"/>
                  </a:lnTo>
                  <a:cubicBezTo>
                    <a:pt x="640744" y="319295"/>
                    <a:pt x="657518" y="307037"/>
                    <a:pt x="661099" y="289082"/>
                  </a:cubicBezTo>
                  <a:cubicBezTo>
                    <a:pt x="662271" y="283539"/>
                    <a:pt x="662185" y="277805"/>
                    <a:pt x="660861" y="272299"/>
                  </a:cubicBezTo>
                  <a:cubicBezTo>
                    <a:pt x="659537" y="266794"/>
                    <a:pt x="657004" y="261650"/>
                    <a:pt x="653451" y="257250"/>
                  </a:cubicBezTo>
                  <a:cubicBezTo>
                    <a:pt x="649898" y="252849"/>
                    <a:pt x="645402" y="249297"/>
                    <a:pt x="640297" y="246849"/>
                  </a:cubicBezTo>
                  <a:cubicBezTo>
                    <a:pt x="635191" y="244391"/>
                    <a:pt x="629610" y="243115"/>
                    <a:pt x="623952" y="243105"/>
                  </a:cubicBezTo>
                  <a:lnTo>
                    <a:pt x="494883" y="243105"/>
                  </a:lnTo>
                  <a:lnTo>
                    <a:pt x="659613" y="24972"/>
                  </a:lnTo>
                  <a:cubicBezTo>
                    <a:pt x="660842" y="23340"/>
                    <a:pt x="661595" y="21403"/>
                    <a:pt x="661785" y="19371"/>
                  </a:cubicBezTo>
                  <a:cubicBezTo>
                    <a:pt x="661976" y="17340"/>
                    <a:pt x="661604" y="15295"/>
                    <a:pt x="660690" y="13473"/>
                  </a:cubicBezTo>
                  <a:cubicBezTo>
                    <a:pt x="659785" y="11637"/>
                    <a:pt x="658385" y="10101"/>
                    <a:pt x="656661" y="9021"/>
                  </a:cubicBezTo>
                  <a:cubicBezTo>
                    <a:pt x="654937" y="7942"/>
                    <a:pt x="652927" y="7363"/>
                    <a:pt x="650888" y="7358"/>
                  </a:cubicBezTo>
                  <a:lnTo>
                    <a:pt x="412780" y="7358"/>
                  </a:lnTo>
                  <a:close/>
                  <a:moveTo>
                    <a:pt x="1446105" y="8240"/>
                  </a:moveTo>
                  <a:cubicBezTo>
                    <a:pt x="1437514" y="10272"/>
                    <a:pt x="1429894" y="15174"/>
                    <a:pt x="1424484" y="22127"/>
                  </a:cubicBezTo>
                  <a:cubicBezTo>
                    <a:pt x="1419112" y="29080"/>
                    <a:pt x="1416254" y="37666"/>
                    <a:pt x="1416378" y="46473"/>
                  </a:cubicBezTo>
                  <a:lnTo>
                    <a:pt x="1416378" y="173313"/>
                  </a:lnTo>
                  <a:lnTo>
                    <a:pt x="1210980" y="9758"/>
                  </a:lnTo>
                  <a:cubicBezTo>
                    <a:pt x="1209361" y="8475"/>
                    <a:pt x="1207427" y="7675"/>
                    <a:pt x="1205389" y="7453"/>
                  </a:cubicBezTo>
                  <a:cubicBezTo>
                    <a:pt x="1203341" y="7230"/>
                    <a:pt x="1201274" y="7580"/>
                    <a:pt x="1199426" y="8482"/>
                  </a:cubicBezTo>
                  <a:cubicBezTo>
                    <a:pt x="1197569" y="9377"/>
                    <a:pt x="1196006" y="10773"/>
                    <a:pt x="1194921" y="12520"/>
                  </a:cubicBezTo>
                  <a:cubicBezTo>
                    <a:pt x="1193835" y="14273"/>
                    <a:pt x="1193254" y="16285"/>
                    <a:pt x="1193263" y="18343"/>
                  </a:cubicBezTo>
                  <a:lnTo>
                    <a:pt x="1193263" y="280243"/>
                  </a:lnTo>
                  <a:cubicBezTo>
                    <a:pt x="1193120" y="289054"/>
                    <a:pt x="1195987" y="297645"/>
                    <a:pt x="1201388" y="304589"/>
                  </a:cubicBezTo>
                  <a:cubicBezTo>
                    <a:pt x="1206789" y="311542"/>
                    <a:pt x="1214409" y="316447"/>
                    <a:pt x="1222962" y="318486"/>
                  </a:cubicBezTo>
                  <a:cubicBezTo>
                    <a:pt x="1228525" y="319714"/>
                    <a:pt x="1234288" y="319667"/>
                    <a:pt x="1239803" y="318362"/>
                  </a:cubicBezTo>
                  <a:cubicBezTo>
                    <a:pt x="1245346" y="317066"/>
                    <a:pt x="1250518" y="314533"/>
                    <a:pt x="1254966" y="310961"/>
                  </a:cubicBezTo>
                  <a:cubicBezTo>
                    <a:pt x="1259415" y="307389"/>
                    <a:pt x="1263006" y="302874"/>
                    <a:pt x="1265444" y="297721"/>
                  </a:cubicBezTo>
                  <a:cubicBezTo>
                    <a:pt x="1267882" y="292587"/>
                    <a:pt x="1269159" y="286958"/>
                    <a:pt x="1269159" y="281272"/>
                  </a:cubicBezTo>
                  <a:lnTo>
                    <a:pt x="1269159" y="153323"/>
                  </a:lnTo>
                  <a:lnTo>
                    <a:pt x="1474538" y="316885"/>
                  </a:lnTo>
                  <a:cubicBezTo>
                    <a:pt x="1476195" y="318171"/>
                    <a:pt x="1478138" y="318962"/>
                    <a:pt x="1480148" y="319190"/>
                  </a:cubicBezTo>
                  <a:cubicBezTo>
                    <a:pt x="1482224" y="319419"/>
                    <a:pt x="1484291" y="319057"/>
                    <a:pt x="1486120" y="318162"/>
                  </a:cubicBezTo>
                  <a:cubicBezTo>
                    <a:pt x="1487949" y="317266"/>
                    <a:pt x="1489530" y="315866"/>
                    <a:pt x="1490625" y="314123"/>
                  </a:cubicBezTo>
                  <a:cubicBezTo>
                    <a:pt x="1491721" y="312380"/>
                    <a:pt x="1492273" y="310361"/>
                    <a:pt x="1492273" y="308303"/>
                  </a:cubicBezTo>
                  <a:lnTo>
                    <a:pt x="1492273" y="45444"/>
                  </a:lnTo>
                  <a:cubicBezTo>
                    <a:pt x="1492273" y="39748"/>
                    <a:pt x="1490997" y="34123"/>
                    <a:pt x="1488559" y="28985"/>
                  </a:cubicBezTo>
                  <a:cubicBezTo>
                    <a:pt x="1486120" y="23848"/>
                    <a:pt x="1482529" y="19327"/>
                    <a:pt x="1478081" y="15759"/>
                  </a:cubicBezTo>
                  <a:cubicBezTo>
                    <a:pt x="1473633" y="12190"/>
                    <a:pt x="1468461" y="9656"/>
                    <a:pt x="1462908" y="8354"/>
                  </a:cubicBezTo>
                  <a:cubicBezTo>
                    <a:pt x="1457364" y="7059"/>
                    <a:pt x="1451649" y="7015"/>
                    <a:pt x="1446105" y="8240"/>
                  </a:cubicBezTo>
                  <a:close/>
                  <a:moveTo>
                    <a:pt x="911265" y="76254"/>
                  </a:moveTo>
                  <a:cubicBezTo>
                    <a:pt x="998152" y="76254"/>
                    <a:pt x="1063066" y="122196"/>
                    <a:pt x="1063066" y="163286"/>
                  </a:cubicBezTo>
                  <a:cubicBezTo>
                    <a:pt x="1063066" y="204383"/>
                    <a:pt x="998152" y="250325"/>
                    <a:pt x="911265" y="250325"/>
                  </a:cubicBezTo>
                  <a:cubicBezTo>
                    <a:pt x="824397" y="250325"/>
                    <a:pt x="759483" y="204383"/>
                    <a:pt x="759483" y="163286"/>
                  </a:cubicBezTo>
                  <a:cubicBezTo>
                    <a:pt x="759483" y="122196"/>
                    <a:pt x="824397" y="76254"/>
                    <a:pt x="911265" y="76254"/>
                  </a:cubicBezTo>
                  <a:close/>
                  <a:moveTo>
                    <a:pt x="911265" y="67"/>
                  </a:moveTo>
                  <a:cubicBezTo>
                    <a:pt x="785515" y="67"/>
                    <a:pt x="683578" y="73142"/>
                    <a:pt x="683578" y="163286"/>
                  </a:cubicBezTo>
                  <a:cubicBezTo>
                    <a:pt x="683578" y="253421"/>
                    <a:pt x="785515" y="326506"/>
                    <a:pt x="911265" y="326506"/>
                  </a:cubicBezTo>
                  <a:cubicBezTo>
                    <a:pt x="1037024" y="326506"/>
                    <a:pt x="1138961" y="253421"/>
                    <a:pt x="1138961" y="163286"/>
                  </a:cubicBezTo>
                  <a:cubicBezTo>
                    <a:pt x="1138961" y="73142"/>
                    <a:pt x="1037024" y="67"/>
                    <a:pt x="911265" y="67"/>
                  </a:cubicBezTo>
                  <a:close/>
                </a:path>
              </a:pathLst>
            </a:custGeom>
            <a:grpFill/>
            <a:ln w="76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2E22186C-4B12-E0C1-79B2-480F2CD086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52414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3" imgW="233" imgH="233" progId="TCLayout.ActiveDocument.1">
                  <p:embed/>
                </p:oleObj>
              </mc:Choice>
              <mc:Fallback>
                <p:oleObj name="Слайд think-cell" r:id="rId13" imgW="233" imgH="233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id="{2E22186C-4B12-E0C1-79B2-480F2CD086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6E1F914-6E31-3D8A-0729-94C84B17961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6718" y="2152745"/>
            <a:ext cx="8206245" cy="2277549"/>
          </a:xfrm>
        </p:spPr>
        <p:txBody>
          <a:bodyPr vert="horz" anchor="b">
            <a:noAutofit/>
          </a:bodyPr>
          <a:lstStyle>
            <a:lvl1pPr algn="l">
              <a:lnSpc>
                <a:spcPct val="90000"/>
              </a:lnSpc>
              <a:defRPr sz="4800" spc="-50" baseline="0">
                <a:solidFill>
                  <a:schemeClr val="bg1"/>
                </a:solidFill>
              </a:defRPr>
            </a:lvl1pPr>
          </a:lstStyle>
          <a:p>
            <a:r>
              <a:rPr lang="ru-RU"/>
              <a:t>Напиши смысловой заголовок презентации </a:t>
            </a:r>
            <a:br>
              <a:rPr lang="ru-RU"/>
            </a:br>
            <a:r>
              <a:rPr lang="ru-RU"/>
              <a:t>в 2–3 строки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EF11FA05-DC06-B340-2031-0DB23FEF24A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49400" y="4705255"/>
            <a:ext cx="8174332" cy="817562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Напиши подзаголовок презентации, имя спикера </a:t>
            </a:r>
            <a:br>
              <a:rPr lang="ru-RU"/>
            </a:br>
            <a:r>
              <a:rPr lang="ru-RU"/>
              <a:t>и другую дополнительную информацию</a:t>
            </a:r>
          </a:p>
        </p:txBody>
      </p:sp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5AD7914A-6F7A-0AB4-0320-8B0610322AB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52414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3" imgW="233" imgH="233" progId="TCLayout.ActiveDocument.1">
                  <p:embed/>
                </p:oleObj>
              </mc:Choice>
              <mc:Fallback>
                <p:oleObj name="Слайд think-cell" r:id="rId13" imgW="233" imgH="233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5AD7914A-6F7A-0AB4-0320-8B0610322A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Объект 8" hidden="1">
            <a:extLst>
              <a:ext uri="{FF2B5EF4-FFF2-40B4-BE49-F238E27FC236}">
                <a16:creationId xmlns:a16="http://schemas.microsoft.com/office/drawing/2014/main" id="{15B33EE8-2A0C-A289-E633-0C1A78BC22FA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752414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3" imgW="233" imgH="233" progId="TCLayout.ActiveDocument.1">
                  <p:embed/>
                </p:oleObj>
              </mc:Choice>
              <mc:Fallback>
                <p:oleObj name="Слайд think-cell" r:id="rId13" imgW="233" imgH="233" progId="TCLayout.ActiveDocument.1">
                  <p:embed/>
                  <p:pic>
                    <p:nvPicPr>
                      <p:cNvPr id="9" name="Объект 8" hidden="1">
                        <a:extLst>
                          <a:ext uri="{FF2B5EF4-FFF2-40B4-BE49-F238E27FC236}">
                            <a16:creationId xmlns:a16="http://schemas.microsoft.com/office/drawing/2014/main" id="{15B33EE8-2A0C-A289-E633-0C1A78BC22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2" name="Объект 11" hidden="1">
            <a:extLst>
              <a:ext uri="{FF2B5EF4-FFF2-40B4-BE49-F238E27FC236}">
                <a16:creationId xmlns:a16="http://schemas.microsoft.com/office/drawing/2014/main" id="{EDB5745A-EB00-381B-6668-493769E30B62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752414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3" imgW="233" imgH="233" progId="TCLayout.ActiveDocument.1">
                  <p:embed/>
                </p:oleObj>
              </mc:Choice>
              <mc:Fallback>
                <p:oleObj name="Слайд think-cell" r:id="rId13" imgW="233" imgH="233" progId="TCLayout.ActiveDocument.1">
                  <p:embed/>
                  <p:pic>
                    <p:nvPicPr>
                      <p:cNvPr id="12" name="Объект 11" hidden="1">
                        <a:extLst>
                          <a:ext uri="{FF2B5EF4-FFF2-40B4-BE49-F238E27FC236}">
                            <a16:creationId xmlns:a16="http://schemas.microsoft.com/office/drawing/2014/main" id="{EDB5745A-EB00-381B-6668-493769E30B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5" name="Объект 14" hidden="1">
            <a:extLst>
              <a:ext uri="{FF2B5EF4-FFF2-40B4-BE49-F238E27FC236}">
                <a16:creationId xmlns:a16="http://schemas.microsoft.com/office/drawing/2014/main" id="{1A29F7CF-5EA7-385D-A6B8-3F74846ECFA0}"/>
              </a:ext>
            </a:extLst>
          </p:cNvPr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752414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3" imgW="233" imgH="233" progId="TCLayout.ActiveDocument.1">
                  <p:embed/>
                </p:oleObj>
              </mc:Choice>
              <mc:Fallback>
                <p:oleObj name="Слайд think-cell" r:id="rId13" imgW="233" imgH="233" progId="TCLayout.ActiveDocument.1">
                  <p:embed/>
                  <p:pic>
                    <p:nvPicPr>
                      <p:cNvPr id="15" name="Объект 14" hidden="1">
                        <a:extLst>
                          <a:ext uri="{FF2B5EF4-FFF2-40B4-BE49-F238E27FC236}">
                            <a16:creationId xmlns:a16="http://schemas.microsoft.com/office/drawing/2014/main" id="{1A29F7CF-5EA7-385D-A6B8-3F74846ECF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id="{69EB17E6-0D76-E72E-817B-D0C2F75924C4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752414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3" imgW="233" imgH="233" progId="TCLayout.ActiveDocument.1">
                  <p:embed/>
                </p:oleObj>
              </mc:Choice>
              <mc:Fallback>
                <p:oleObj name="Слайд think-cell" r:id="rId13" imgW="233" imgH="233" progId="TCLayout.ActiveDocument.1">
                  <p:embed/>
                  <p:pic>
                    <p:nvPicPr>
                      <p:cNvPr id="18" name="Объект 17" hidden="1">
                        <a:extLst>
                          <a:ext uri="{FF2B5EF4-FFF2-40B4-BE49-F238E27FC236}">
                            <a16:creationId xmlns:a16="http://schemas.microsoft.com/office/drawing/2014/main" id="{69EB17E6-0D76-E72E-817B-D0C2F75924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Объект 9" hidden="1">
            <a:extLst>
              <a:ext uri="{FF2B5EF4-FFF2-40B4-BE49-F238E27FC236}">
                <a16:creationId xmlns:a16="http://schemas.microsoft.com/office/drawing/2014/main" id="{A111C868-F548-CDE4-4C8F-957F32A69173}"/>
              </a:ext>
            </a:extLst>
          </p:cNvPr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752414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3" imgW="233" imgH="233" progId="TCLayout.ActiveDocument.1">
                  <p:embed/>
                </p:oleObj>
              </mc:Choice>
              <mc:Fallback>
                <p:oleObj name="Слайд think-cell" r:id="rId13" imgW="233" imgH="233" progId="TCLayout.ActiveDocument.1">
                  <p:embed/>
                  <p:pic>
                    <p:nvPicPr>
                      <p:cNvPr id="10" name="Объект 9" hidden="1">
                        <a:extLst>
                          <a:ext uri="{FF2B5EF4-FFF2-40B4-BE49-F238E27FC236}">
                            <a16:creationId xmlns:a16="http://schemas.microsoft.com/office/drawing/2014/main" id="{A111C868-F548-CDE4-4C8F-957F32A691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35915CAD-91BC-0EC7-7D14-6FCC6EF3F283}"/>
              </a:ext>
            </a:extLst>
          </p:cNvPr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752414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3" imgW="233" imgH="233" progId="TCLayout.ActiveDocument.1">
                  <p:embed/>
                </p:oleObj>
              </mc:Choice>
              <mc:Fallback>
                <p:oleObj name="Слайд think-cell" r:id="rId13" imgW="233" imgH="233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35915CAD-91BC-0EC7-7D14-6FCC6EF3F2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" name="Объект 10" hidden="1">
            <a:extLst>
              <a:ext uri="{FF2B5EF4-FFF2-40B4-BE49-F238E27FC236}">
                <a16:creationId xmlns:a16="http://schemas.microsoft.com/office/drawing/2014/main" id="{6B49F19B-8C48-33CB-BF6F-83498DB8EA19}"/>
              </a:ext>
            </a:extLst>
          </p:cNvPr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752414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3" imgW="233" imgH="233" progId="TCLayout.ActiveDocument.1">
                  <p:embed/>
                </p:oleObj>
              </mc:Choice>
              <mc:Fallback>
                <p:oleObj name="Слайд think-cell" r:id="rId13" imgW="233" imgH="233" progId="TCLayout.ActiveDocument.1">
                  <p:embed/>
                  <p:pic>
                    <p:nvPicPr>
                      <p:cNvPr id="11" name="Объект 10" hidden="1">
                        <a:extLst>
                          <a:ext uri="{FF2B5EF4-FFF2-40B4-BE49-F238E27FC236}">
                            <a16:creationId xmlns:a16="http://schemas.microsoft.com/office/drawing/2014/main" id="{6B49F19B-8C48-33CB-BF6F-83498DB8EA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" name="Объект 12" hidden="1">
            <a:extLst>
              <a:ext uri="{FF2B5EF4-FFF2-40B4-BE49-F238E27FC236}">
                <a16:creationId xmlns:a16="http://schemas.microsoft.com/office/drawing/2014/main" id="{D06FCB91-1283-7736-EEFE-502F0AEF6241}"/>
              </a:ext>
            </a:extLst>
          </p:cNvPr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752414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3" imgW="233" imgH="233" progId="TCLayout.ActiveDocument.1">
                  <p:embed/>
                </p:oleObj>
              </mc:Choice>
              <mc:Fallback>
                <p:oleObj name="Слайд think-cell" r:id="rId13" imgW="233" imgH="233" progId="TCLayout.ActiveDocument.1">
                  <p:embed/>
                  <p:pic>
                    <p:nvPicPr>
                      <p:cNvPr id="13" name="Объект 12" hidden="1">
                        <a:extLst>
                          <a:ext uri="{FF2B5EF4-FFF2-40B4-BE49-F238E27FC236}">
                            <a16:creationId xmlns:a16="http://schemas.microsoft.com/office/drawing/2014/main" id="{D06FCB91-1283-7736-EEFE-502F0AEF62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4" name="Объект 13" hidden="1">
            <a:extLst>
              <a:ext uri="{FF2B5EF4-FFF2-40B4-BE49-F238E27FC236}">
                <a16:creationId xmlns:a16="http://schemas.microsoft.com/office/drawing/2014/main" id="{970EB312-66D1-9625-3377-075970721A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752414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3" imgW="233" imgH="233" progId="TCLayout.ActiveDocument.1">
                  <p:embed/>
                </p:oleObj>
              </mc:Choice>
              <mc:Fallback>
                <p:oleObj name="Слайд think-cell" r:id="rId13" imgW="233" imgH="233" progId="TCLayout.ActiveDocument.1">
                  <p:embed/>
                  <p:pic>
                    <p:nvPicPr>
                      <p:cNvPr id="14" name="Объект 13" hidden="1">
                        <a:extLst>
                          <a:ext uri="{FF2B5EF4-FFF2-40B4-BE49-F238E27FC236}">
                            <a16:creationId xmlns:a16="http://schemas.microsoft.com/office/drawing/2014/main" id="{970EB312-66D1-9625-3377-075970721A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235189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_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2E22186C-4B12-E0C1-79B2-480F2CD086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80477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33" imgH="233" progId="TCLayout.ActiveDocument.1">
                  <p:embed/>
                </p:oleObj>
              </mc:Choice>
              <mc:Fallback>
                <p:oleObj name="Слайд think-cell" r:id="rId3" imgW="233" imgH="233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id="{2E22186C-4B12-E0C1-79B2-480F2CD086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Текст 5">
            <a:extLst>
              <a:ext uri="{FF2B5EF4-FFF2-40B4-BE49-F238E27FC236}">
                <a16:creationId xmlns:a16="http://schemas.microsoft.com/office/drawing/2014/main" id="{E12A9EE7-556C-024A-A440-39817B7D8B8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48215" y="2442368"/>
            <a:ext cx="1350017" cy="1293915"/>
          </a:xfrm>
        </p:spPr>
        <p:txBody>
          <a:bodyPr anchor="t"/>
          <a:lstStyle>
            <a:lvl1pPr algn="l">
              <a:defRPr sz="8000" b="0" spc="-20" baseline="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00</a:t>
            </a:r>
            <a:endParaRPr lang="ru-RU" dirty="0"/>
          </a:p>
        </p:txBody>
      </p:sp>
      <p:sp>
        <p:nvSpPr>
          <p:cNvPr id="10" name="Текст 8">
            <a:extLst>
              <a:ext uri="{FF2B5EF4-FFF2-40B4-BE49-F238E27FC236}">
                <a16:creationId xmlns:a16="http://schemas.microsoft.com/office/drawing/2014/main" id="{463E0D73-85A7-6B48-96CE-B4E3A12EBAB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58321" y="2580370"/>
            <a:ext cx="6784279" cy="2341562"/>
          </a:xfrm>
        </p:spPr>
        <p:txBody>
          <a:bodyPr/>
          <a:lstStyle>
            <a:lvl1pPr>
              <a:spcAft>
                <a:spcPts val="0"/>
              </a:spcAft>
              <a:defRPr sz="4000" b="0" spc="-5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Напиши смысловой заголовок раздела </a:t>
            </a:r>
            <a:br>
              <a:rPr lang="ru-RU" dirty="0"/>
            </a:br>
            <a:r>
              <a:rPr lang="ru-RU" dirty="0"/>
              <a:t>в 2–3 строки</a:t>
            </a:r>
          </a:p>
        </p:txBody>
      </p:sp>
      <p:sp>
        <p:nvSpPr>
          <p:cNvPr id="3" name="Рисунок 1">
            <a:extLst>
              <a:ext uri="{FF2B5EF4-FFF2-40B4-BE49-F238E27FC236}">
                <a16:creationId xmlns:a16="http://schemas.microsoft.com/office/drawing/2014/main" id="{4E651A1C-E2EA-D6A0-B368-C2CB66F5EAF4}"/>
              </a:ext>
            </a:extLst>
          </p:cNvPr>
          <p:cNvSpPr>
            <a:spLocks noChangeAspect="1"/>
          </p:cNvSpPr>
          <p:nvPr userDrawn="1"/>
        </p:nvSpPr>
        <p:spPr>
          <a:xfrm>
            <a:off x="2463428" y="1866339"/>
            <a:ext cx="1440844" cy="3492800"/>
          </a:xfrm>
          <a:custGeom>
            <a:avLst/>
            <a:gdLst>
              <a:gd name="connsiteX0" fmla="*/ 0 w 1440844"/>
              <a:gd name="connsiteY0" fmla="*/ 1367312 h 3492800"/>
              <a:gd name="connsiteX1" fmla="*/ 0 w 1440844"/>
              <a:gd name="connsiteY1" fmla="*/ 1354351 h 3492800"/>
              <a:gd name="connsiteX2" fmla="*/ 0 w 1440844"/>
              <a:gd name="connsiteY2" fmla="*/ 1030344 h 3492800"/>
              <a:gd name="connsiteX3" fmla="*/ 52157 w 1440844"/>
              <a:gd name="connsiteY3" fmla="*/ 965542 h 3492800"/>
              <a:gd name="connsiteX4" fmla="*/ 176031 w 1440844"/>
              <a:gd name="connsiteY4" fmla="*/ 946102 h 3492800"/>
              <a:gd name="connsiteX5" fmla="*/ 495494 w 1440844"/>
              <a:gd name="connsiteY5" fmla="*/ 524892 h 3492800"/>
              <a:gd name="connsiteX6" fmla="*/ 495494 w 1440844"/>
              <a:gd name="connsiteY6" fmla="*/ 64801 h 3492800"/>
              <a:gd name="connsiteX7" fmla="*/ 554171 w 1440844"/>
              <a:gd name="connsiteY7" fmla="*/ 0 h 3492800"/>
              <a:gd name="connsiteX8" fmla="*/ 867115 w 1440844"/>
              <a:gd name="connsiteY8" fmla="*/ 0 h 3492800"/>
              <a:gd name="connsiteX9" fmla="*/ 925792 w 1440844"/>
              <a:gd name="connsiteY9" fmla="*/ 64801 h 3492800"/>
              <a:gd name="connsiteX10" fmla="*/ 925792 w 1440844"/>
              <a:gd name="connsiteY10" fmla="*/ 524892 h 3492800"/>
              <a:gd name="connsiteX11" fmla="*/ 573730 w 1440844"/>
              <a:gd name="connsiteY11" fmla="*/ 1192347 h 3492800"/>
              <a:gd name="connsiteX12" fmla="*/ 925792 w 1440844"/>
              <a:gd name="connsiteY12" fmla="*/ 1827402 h 3492800"/>
              <a:gd name="connsiteX13" fmla="*/ 925792 w 1440844"/>
              <a:gd name="connsiteY13" fmla="*/ 2838305 h 3492800"/>
              <a:gd name="connsiteX14" fmla="*/ 1147460 w 1440844"/>
              <a:gd name="connsiteY14" fmla="*/ 3058630 h 3492800"/>
              <a:gd name="connsiteX15" fmla="*/ 1375648 w 1440844"/>
              <a:gd name="connsiteY15" fmla="*/ 3058630 h 3492800"/>
              <a:gd name="connsiteX16" fmla="*/ 1434325 w 1440844"/>
              <a:gd name="connsiteY16" fmla="*/ 3123432 h 3492800"/>
              <a:gd name="connsiteX17" fmla="*/ 1440845 w 1440844"/>
              <a:gd name="connsiteY17" fmla="*/ 3427999 h 3492800"/>
              <a:gd name="connsiteX18" fmla="*/ 1375648 w 1440844"/>
              <a:gd name="connsiteY18" fmla="*/ 3492800 h 3492800"/>
              <a:gd name="connsiteX19" fmla="*/ 1193097 w 1440844"/>
              <a:gd name="connsiteY19" fmla="*/ 3492800 h 3492800"/>
              <a:gd name="connsiteX20" fmla="*/ 697603 w 1440844"/>
              <a:gd name="connsiteY20" fmla="*/ 3291916 h 3492800"/>
              <a:gd name="connsiteX21" fmla="*/ 488974 w 1440844"/>
              <a:gd name="connsiteY21" fmla="*/ 2792944 h 3492800"/>
              <a:gd name="connsiteX22" fmla="*/ 488974 w 1440844"/>
              <a:gd name="connsiteY22" fmla="*/ 1846843 h 3492800"/>
              <a:gd name="connsiteX23" fmla="*/ 169511 w 1440844"/>
              <a:gd name="connsiteY23" fmla="*/ 1451553 h 3492800"/>
              <a:gd name="connsiteX24" fmla="*/ 45638 w 1440844"/>
              <a:gd name="connsiteY24" fmla="*/ 1432113 h 3492800"/>
              <a:gd name="connsiteX25" fmla="*/ 0 w 1440844"/>
              <a:gd name="connsiteY25" fmla="*/ 1367312 h 3492800"/>
              <a:gd name="connsiteX26" fmla="*/ 0 w 1440844"/>
              <a:gd name="connsiteY26" fmla="*/ 1367312 h 3492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1440844" h="3492800">
                <a:moveTo>
                  <a:pt x="0" y="1367312"/>
                </a:moveTo>
                <a:cubicBezTo>
                  <a:pt x="0" y="1360831"/>
                  <a:pt x="0" y="1360831"/>
                  <a:pt x="0" y="1354351"/>
                </a:cubicBezTo>
                <a:lnTo>
                  <a:pt x="0" y="1030344"/>
                </a:lnTo>
                <a:cubicBezTo>
                  <a:pt x="0" y="997943"/>
                  <a:pt x="19559" y="972022"/>
                  <a:pt x="52157" y="965542"/>
                </a:cubicBezTo>
                <a:cubicBezTo>
                  <a:pt x="97795" y="959062"/>
                  <a:pt x="156472" y="946102"/>
                  <a:pt x="176031" y="946102"/>
                </a:cubicBezTo>
                <a:cubicBezTo>
                  <a:pt x="247747" y="926661"/>
                  <a:pt x="495494" y="868340"/>
                  <a:pt x="495494" y="524892"/>
                </a:cubicBezTo>
                <a:lnTo>
                  <a:pt x="495494" y="64801"/>
                </a:lnTo>
                <a:cubicBezTo>
                  <a:pt x="495494" y="32401"/>
                  <a:pt x="521573" y="0"/>
                  <a:pt x="554171" y="0"/>
                </a:cubicBezTo>
                <a:lnTo>
                  <a:pt x="867115" y="0"/>
                </a:lnTo>
                <a:cubicBezTo>
                  <a:pt x="906233" y="0"/>
                  <a:pt x="925792" y="25921"/>
                  <a:pt x="925792" y="64801"/>
                </a:cubicBezTo>
                <a:lnTo>
                  <a:pt x="925792" y="524892"/>
                </a:lnTo>
                <a:cubicBezTo>
                  <a:pt x="925792" y="991463"/>
                  <a:pt x="593289" y="1179387"/>
                  <a:pt x="573730" y="1192347"/>
                </a:cubicBezTo>
                <a:cubicBezTo>
                  <a:pt x="593289" y="1205308"/>
                  <a:pt x="912752" y="1380272"/>
                  <a:pt x="925792" y="1827402"/>
                </a:cubicBezTo>
                <a:cubicBezTo>
                  <a:pt x="925792" y="1840362"/>
                  <a:pt x="925792" y="2617980"/>
                  <a:pt x="925792" y="2838305"/>
                </a:cubicBezTo>
                <a:cubicBezTo>
                  <a:pt x="925792" y="2961428"/>
                  <a:pt x="1030106" y="3058630"/>
                  <a:pt x="1147460" y="3058630"/>
                </a:cubicBezTo>
                <a:cubicBezTo>
                  <a:pt x="1232215" y="3058630"/>
                  <a:pt x="1316971" y="3058630"/>
                  <a:pt x="1375648" y="3058630"/>
                </a:cubicBezTo>
                <a:cubicBezTo>
                  <a:pt x="1408246" y="3058630"/>
                  <a:pt x="1434325" y="3091031"/>
                  <a:pt x="1434325" y="3123432"/>
                </a:cubicBezTo>
                <a:cubicBezTo>
                  <a:pt x="1434325" y="3207674"/>
                  <a:pt x="1440845" y="3311356"/>
                  <a:pt x="1440845" y="3427999"/>
                </a:cubicBezTo>
                <a:cubicBezTo>
                  <a:pt x="1440845" y="3466880"/>
                  <a:pt x="1408246" y="3492800"/>
                  <a:pt x="1375648" y="3492800"/>
                </a:cubicBezTo>
                <a:lnTo>
                  <a:pt x="1193097" y="3492800"/>
                </a:lnTo>
                <a:cubicBezTo>
                  <a:pt x="1010547" y="3492800"/>
                  <a:pt x="827997" y="3421519"/>
                  <a:pt x="697603" y="3291916"/>
                </a:cubicBezTo>
                <a:cubicBezTo>
                  <a:pt x="560691" y="3162313"/>
                  <a:pt x="488974" y="2980869"/>
                  <a:pt x="488974" y="2792944"/>
                </a:cubicBezTo>
                <a:cubicBezTo>
                  <a:pt x="488974" y="2792944"/>
                  <a:pt x="488974" y="1853323"/>
                  <a:pt x="488974" y="1846843"/>
                </a:cubicBezTo>
                <a:cubicBezTo>
                  <a:pt x="482455" y="1522835"/>
                  <a:pt x="241227" y="1470994"/>
                  <a:pt x="169511" y="1451553"/>
                </a:cubicBezTo>
                <a:cubicBezTo>
                  <a:pt x="149952" y="1445073"/>
                  <a:pt x="91275" y="1438593"/>
                  <a:pt x="45638" y="1432113"/>
                </a:cubicBezTo>
                <a:cubicBezTo>
                  <a:pt x="13039" y="1432113"/>
                  <a:pt x="0" y="1399712"/>
                  <a:pt x="0" y="1367312"/>
                </a:cubicBezTo>
                <a:lnTo>
                  <a:pt x="0" y="1367312"/>
                </a:lnTo>
                <a:close/>
              </a:path>
            </a:pathLst>
          </a:custGeom>
          <a:solidFill>
            <a:srgbClr val="3ADF68"/>
          </a:solidFill>
          <a:ln w="65088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8013007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slideLayout" Target="../slideLayouts/slideLayout32.xml"/><Relationship Id="rId18" Type="http://schemas.openxmlformats.org/officeDocument/2006/relationships/slideLayout" Target="../slideLayouts/slideLayout37.xml"/><Relationship Id="rId3" Type="http://schemas.openxmlformats.org/officeDocument/2006/relationships/slideLayout" Target="../slideLayouts/slideLayout22.xml"/><Relationship Id="rId21" Type="http://schemas.openxmlformats.org/officeDocument/2006/relationships/tags" Target="../tags/tag39.xml"/><Relationship Id="rId7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1.xml"/><Relationship Id="rId17" Type="http://schemas.openxmlformats.org/officeDocument/2006/relationships/slideLayout" Target="../slideLayouts/slideLayout36.xml"/><Relationship Id="rId2" Type="http://schemas.openxmlformats.org/officeDocument/2006/relationships/slideLayout" Target="../slideLayouts/slideLayout21.xml"/><Relationship Id="rId16" Type="http://schemas.openxmlformats.org/officeDocument/2006/relationships/slideLayout" Target="../slideLayouts/slideLayout35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5" Type="http://schemas.openxmlformats.org/officeDocument/2006/relationships/slideLayout" Target="../slideLayouts/slideLayout34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29.xml"/><Relationship Id="rId19" Type="http://schemas.openxmlformats.org/officeDocument/2006/relationships/slideLayout" Target="../slideLayouts/slideLayout38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slideLayout" Target="../slideLayouts/slideLayout33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Объект 15" hidden="1">
            <a:extLst>
              <a:ext uri="{FF2B5EF4-FFF2-40B4-BE49-F238E27FC236}">
                <a16:creationId xmlns:a16="http://schemas.microsoft.com/office/drawing/2014/main" id="{0313FEF4-EFA5-F998-F890-8EDC7FD4935F}"/>
              </a:ext>
            </a:extLst>
          </p:cNvPr>
          <p:cNvGraphicFramePr>
            <a:graphicFrameLocks noChangeAspect="1"/>
          </p:cNvGraphicFramePr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8403327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22" imgW="233" imgH="233" progId="TCLayout.ActiveDocument.1">
                  <p:embed/>
                </p:oleObj>
              </mc:Choice>
              <mc:Fallback>
                <p:oleObj name="Слайд think-cell" r:id="rId22" imgW="233" imgH="233" progId="TCLayout.ActiveDocument.1">
                  <p:embed/>
                  <p:pic>
                    <p:nvPicPr>
                      <p:cNvPr id="16" name="Объект 15" hidden="1">
                        <a:extLst>
                          <a:ext uri="{FF2B5EF4-FFF2-40B4-BE49-F238E27FC236}">
                            <a16:creationId xmlns:a16="http://schemas.microsoft.com/office/drawing/2014/main" id="{0313FEF4-EFA5-F998-F890-8EDC7FD493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E946391-FC95-6108-BE64-E793A095D2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9764" y="411163"/>
            <a:ext cx="10910888" cy="684465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73015302-E613-3B7A-0750-0AE24E6F54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9764" y="1519200"/>
            <a:ext cx="10910886" cy="4741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ёртый уровень</a:t>
            </a:r>
          </a:p>
          <a:p>
            <a:pPr lvl="4"/>
            <a:r>
              <a:rPr lang="ru-RU" dirty="0"/>
              <a:t>Пятый уровень</a:t>
            </a:r>
          </a:p>
          <a:p>
            <a:pPr lvl="5"/>
            <a:r>
              <a:rPr lang="ru-RU" dirty="0"/>
              <a:t>Шестой уровень</a:t>
            </a:r>
          </a:p>
          <a:p>
            <a:pPr lvl="6"/>
            <a:r>
              <a:rPr lang="ru-RU" dirty="0"/>
              <a:t>Седьмой уровень</a:t>
            </a:r>
          </a:p>
          <a:p>
            <a:pPr lvl="7"/>
            <a:r>
              <a:rPr lang="ru-RU" dirty="0"/>
              <a:t>Восьмой уровень</a:t>
            </a:r>
          </a:p>
          <a:p>
            <a:pPr lvl="8"/>
            <a:r>
              <a:rPr lang="ru-RU" dirty="0"/>
              <a:t>Девятый уровень</a:t>
            </a: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F53D03FA-A34D-BF86-A761-ACA475F2CD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40800" y="6465600"/>
            <a:ext cx="81828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62392AA5-C52C-BAA9-4852-A790EECFD07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656000" y="6429600"/>
            <a:ext cx="907200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rgbClr val="5A6C7D"/>
                </a:solidFill>
              </a:defRPr>
            </a:lvl1pPr>
          </a:lstStyle>
          <a:p>
            <a:fld id="{EB5249F5-0093-48B0-B996-C4E44A87EAF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581079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</p:sldLayoutIdLst>
  <p:hf hd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200" b="0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800" b="1" kern="1200">
          <a:solidFill>
            <a:schemeClr val="tx1"/>
          </a:solidFill>
          <a:latin typeface="+mn-lt"/>
          <a:ea typeface="+mn-ea"/>
          <a:cs typeface="+mn-cs"/>
        </a:defRPr>
      </a:lvl2pPr>
      <a:lvl3pPr marL="177800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lang="en-US" sz="18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269875" indent="-269875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446088" indent="-176213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lang="en-US" sz="18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" indent="-108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77800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96000" indent="-126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71">
          <p15:clr>
            <a:srgbClr val="9BADC0"/>
          </p15:clr>
        </p15:guide>
        <p15:guide id="72" pos="7680">
          <p15:clr>
            <a:srgbClr val="9BADC0"/>
          </p15:clr>
        </p15:guide>
        <p15:guide id="73" pos="403">
          <p15:clr>
            <a:srgbClr val="F26B43"/>
          </p15:clr>
        </p15:guide>
        <p15:guide id="74" pos="976">
          <p15:clr>
            <a:srgbClr val="9BADC0"/>
          </p15:clr>
        </p15:guide>
        <p15:guide id="75" pos="1548">
          <p15:clr>
            <a:srgbClr val="9BADC0"/>
          </p15:clr>
        </p15:guide>
        <p15:guide id="76" pos="2121">
          <p15:clr>
            <a:srgbClr val="9BADC0"/>
          </p15:clr>
        </p15:guide>
        <p15:guide id="77" pos="2694">
          <p15:clr>
            <a:srgbClr val="9BADC0"/>
          </p15:clr>
        </p15:guide>
        <p15:guide id="78" pos="3267">
          <p15:clr>
            <a:srgbClr val="9BADC0"/>
          </p15:clr>
        </p15:guide>
        <p15:guide id="79" pos="3840">
          <p15:clr>
            <a:srgbClr val="9BADC0"/>
          </p15:clr>
        </p15:guide>
        <p15:guide id="80" pos="4412">
          <p15:clr>
            <a:srgbClr val="9BADC0"/>
          </p15:clr>
        </p15:guide>
        <p15:guide id="81" pos="4985">
          <p15:clr>
            <a:srgbClr val="9BADC0"/>
          </p15:clr>
        </p15:guide>
        <p15:guide id="82" pos="5558">
          <p15:clr>
            <a:srgbClr val="9BADC0"/>
          </p15:clr>
        </p15:guide>
        <p15:guide id="83" pos="6131">
          <p15:clr>
            <a:srgbClr val="9BADC0"/>
          </p15:clr>
        </p15:guide>
        <p15:guide id="84" pos="6704">
          <p15:clr>
            <a:srgbClr val="9BADC0"/>
          </p15:clr>
        </p15:guide>
        <p15:guide id="85" pos="7276">
          <p15:clr>
            <a:srgbClr val="F26B43"/>
          </p15:clr>
        </p15:guide>
        <p15:guide id="86" orient="horz" pos="259">
          <p15:clr>
            <a:srgbClr val="F26B43"/>
          </p15:clr>
        </p15:guide>
        <p15:guide id="87" orient="horz" pos="3945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Объект 15" hidden="1">
            <a:extLst>
              <a:ext uri="{FF2B5EF4-FFF2-40B4-BE49-F238E27FC236}">
                <a16:creationId xmlns:a16="http://schemas.microsoft.com/office/drawing/2014/main" id="{0313FEF4-EFA5-F998-F890-8EDC7FD4935F}"/>
              </a:ext>
            </a:extLst>
          </p:cNvPr>
          <p:cNvGraphicFramePr>
            <a:graphicFrameLocks noChangeAspect="1"/>
          </p:cNvGraphicFramePr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8403327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22" imgW="233" imgH="233" progId="TCLayout.ActiveDocument.1">
                  <p:embed/>
                </p:oleObj>
              </mc:Choice>
              <mc:Fallback>
                <p:oleObj name="Слайд think-cell" r:id="rId22" imgW="233" imgH="233" progId="TCLayout.ActiveDocument.1">
                  <p:embed/>
                  <p:pic>
                    <p:nvPicPr>
                      <p:cNvPr id="16" name="Объект 15" hidden="1">
                        <a:extLst>
                          <a:ext uri="{FF2B5EF4-FFF2-40B4-BE49-F238E27FC236}">
                            <a16:creationId xmlns:a16="http://schemas.microsoft.com/office/drawing/2014/main" id="{0313FEF4-EFA5-F998-F890-8EDC7FD493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E946391-FC95-6108-BE64-E793A095D2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9764" y="411163"/>
            <a:ext cx="10910888" cy="684465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73015302-E613-3B7A-0750-0AE24E6F54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9764" y="1519200"/>
            <a:ext cx="10910886" cy="4741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ёртый уровень</a:t>
            </a:r>
          </a:p>
          <a:p>
            <a:pPr lvl="4"/>
            <a:r>
              <a:rPr lang="ru-RU" dirty="0"/>
              <a:t>Пятый уровень</a:t>
            </a:r>
          </a:p>
          <a:p>
            <a:pPr lvl="5"/>
            <a:r>
              <a:rPr lang="ru-RU" dirty="0"/>
              <a:t>Шестой уровень</a:t>
            </a:r>
          </a:p>
          <a:p>
            <a:pPr lvl="6"/>
            <a:r>
              <a:rPr lang="ru-RU" dirty="0"/>
              <a:t>Седьмой уровень</a:t>
            </a:r>
          </a:p>
          <a:p>
            <a:pPr lvl="7"/>
            <a:r>
              <a:rPr lang="ru-RU" dirty="0"/>
              <a:t>Восьмой уровень</a:t>
            </a:r>
          </a:p>
          <a:p>
            <a:pPr lvl="8"/>
            <a:r>
              <a:rPr lang="ru-RU" dirty="0"/>
              <a:t>Девятый уровень</a:t>
            </a: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F53D03FA-A34D-BF86-A761-ACA475F2CD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40800" y="6465600"/>
            <a:ext cx="81828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62392AA5-C52C-BAA9-4852-A790EECFD07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656000" y="6429600"/>
            <a:ext cx="907200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rgbClr val="5A6C7D"/>
                </a:solidFill>
              </a:defRPr>
            </a:lvl1pPr>
          </a:lstStyle>
          <a:p>
            <a:fld id="{EB5249F5-0093-48B0-B996-C4E44A87EAF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655843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  <p:sldLayoutId id="2147483688" r:id="rId8"/>
    <p:sldLayoutId id="2147483689" r:id="rId9"/>
    <p:sldLayoutId id="2147483690" r:id="rId10"/>
    <p:sldLayoutId id="2147483691" r:id="rId11"/>
    <p:sldLayoutId id="2147483692" r:id="rId12"/>
    <p:sldLayoutId id="2147483693" r:id="rId13"/>
    <p:sldLayoutId id="2147483694" r:id="rId14"/>
    <p:sldLayoutId id="2147483695" r:id="rId15"/>
    <p:sldLayoutId id="2147483696" r:id="rId16"/>
    <p:sldLayoutId id="2147483697" r:id="rId17"/>
    <p:sldLayoutId id="2147483698" r:id="rId18"/>
    <p:sldLayoutId id="2147483699" r:id="rId19"/>
  </p:sldLayoutIdLst>
  <p:hf hd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200" b="0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800" b="1" kern="1200">
          <a:solidFill>
            <a:schemeClr val="tx1"/>
          </a:solidFill>
          <a:latin typeface="+mn-lt"/>
          <a:ea typeface="+mn-ea"/>
          <a:cs typeface="+mn-cs"/>
        </a:defRPr>
      </a:lvl2pPr>
      <a:lvl3pPr marL="177800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lang="en-US" sz="18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269875" indent="-269875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446088" indent="-176213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lang="en-US" sz="18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" indent="-108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77800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96000" indent="-126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71">
          <p15:clr>
            <a:srgbClr val="9BADC0"/>
          </p15:clr>
        </p15:guide>
        <p15:guide id="72" pos="7680">
          <p15:clr>
            <a:srgbClr val="9BADC0"/>
          </p15:clr>
        </p15:guide>
        <p15:guide id="73" pos="403">
          <p15:clr>
            <a:srgbClr val="F26B43"/>
          </p15:clr>
        </p15:guide>
        <p15:guide id="74" pos="976">
          <p15:clr>
            <a:srgbClr val="9BADC0"/>
          </p15:clr>
        </p15:guide>
        <p15:guide id="75" pos="1548">
          <p15:clr>
            <a:srgbClr val="9BADC0"/>
          </p15:clr>
        </p15:guide>
        <p15:guide id="76" pos="2121">
          <p15:clr>
            <a:srgbClr val="9BADC0"/>
          </p15:clr>
        </p15:guide>
        <p15:guide id="77" pos="2694">
          <p15:clr>
            <a:srgbClr val="9BADC0"/>
          </p15:clr>
        </p15:guide>
        <p15:guide id="78" pos="3267">
          <p15:clr>
            <a:srgbClr val="9BADC0"/>
          </p15:clr>
        </p15:guide>
        <p15:guide id="79" pos="3840">
          <p15:clr>
            <a:srgbClr val="9BADC0"/>
          </p15:clr>
        </p15:guide>
        <p15:guide id="80" pos="4412">
          <p15:clr>
            <a:srgbClr val="9BADC0"/>
          </p15:clr>
        </p15:guide>
        <p15:guide id="81" pos="4985">
          <p15:clr>
            <a:srgbClr val="9BADC0"/>
          </p15:clr>
        </p15:guide>
        <p15:guide id="82" pos="5558">
          <p15:clr>
            <a:srgbClr val="9BADC0"/>
          </p15:clr>
        </p15:guide>
        <p15:guide id="83" pos="6131">
          <p15:clr>
            <a:srgbClr val="9BADC0"/>
          </p15:clr>
        </p15:guide>
        <p15:guide id="84" pos="6704">
          <p15:clr>
            <a:srgbClr val="9BADC0"/>
          </p15:clr>
        </p15:guide>
        <p15:guide id="85" pos="7276">
          <p15:clr>
            <a:srgbClr val="F26B43"/>
          </p15:clr>
        </p15:guide>
        <p15:guide id="86" orient="horz" pos="259">
          <p15:clr>
            <a:srgbClr val="F26B43"/>
          </p15:clr>
        </p15:guide>
        <p15:guide id="87" orient="horz" pos="394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1.xml"/><Relationship Id="rId4" Type="http://schemas.openxmlformats.org/officeDocument/2006/relationships/image" Target="../media/image23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1.xm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9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3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9.xml"/><Relationship Id="rId4" Type="http://schemas.openxmlformats.org/officeDocument/2006/relationships/image" Target="../media/image31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31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31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31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31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31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3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7" Type="http://schemas.openxmlformats.org/officeDocument/2006/relationships/image" Target="../media/image36.jpe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35.jpg"/><Relationship Id="rId5" Type="http://schemas.openxmlformats.org/officeDocument/2006/relationships/hyperlink" Target="https://url-minifier-admin.t.o3.ru/qr" TargetMode="External"/><Relationship Id="rId4" Type="http://schemas.openxmlformats.org/officeDocument/2006/relationships/image" Target="../media/image34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1.xml"/><Relationship Id="rId5" Type="http://schemas.openxmlformats.org/officeDocument/2006/relationships/image" Target="../media/image16.png"/><Relationship Id="rId4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BD7EC683-2AFB-A149-9482-7955A762A5B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44386"/>
            <a:ext cx="12191997" cy="6857998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FA30CF1-31A8-D6F4-54CE-079EE2ED182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6719" y="2152745"/>
            <a:ext cx="6540322" cy="2277549"/>
          </a:xfrm>
        </p:spPr>
        <p:txBody>
          <a:bodyPr/>
          <a:lstStyle/>
          <a:p>
            <a:r>
              <a:rPr lang="ru-RU" dirty="0"/>
              <a:t>Бинарный протокол в </a:t>
            </a:r>
            <a:r>
              <a:rPr lang="en-US" dirty="0"/>
              <a:t>A/B </a:t>
            </a:r>
            <a:r>
              <a:rPr lang="ru-RU" dirty="0"/>
              <a:t>платформе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059387F9-D1A2-6F5E-49CF-5A3A0727659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ru-RU" dirty="0"/>
              <a:t>Ржевская Марина,</a:t>
            </a:r>
          </a:p>
          <a:p>
            <a:r>
              <a:rPr lang="ru-RU" dirty="0"/>
              <a:t>системный аналитик в </a:t>
            </a:r>
            <a:r>
              <a:rPr lang="en-US" dirty="0"/>
              <a:t>A/B</a:t>
            </a:r>
            <a:endParaRPr lang="ru-RU" dirty="0"/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81CC91AA-79AB-224F-926C-31810E8B6B1A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3" t="11414" r="15321" b="24326"/>
          <a:stretch/>
        </p:blipFill>
        <p:spPr>
          <a:xfrm>
            <a:off x="6482079" y="2682240"/>
            <a:ext cx="5445761" cy="4175760"/>
          </a:xfrm>
          <a:prstGeom prst="rect">
            <a:avLst/>
          </a:prstGeom>
        </p:spPr>
      </p:pic>
      <p:grpSp>
        <p:nvGrpSpPr>
          <p:cNvPr id="7" name="Группа 6">
            <a:extLst>
              <a:ext uri="{FF2B5EF4-FFF2-40B4-BE49-F238E27FC236}">
                <a16:creationId xmlns:a16="http://schemas.microsoft.com/office/drawing/2014/main" id="{5C928D75-4A8C-CB46-AD17-A3CA81E0A9BB}"/>
              </a:ext>
            </a:extLst>
          </p:cNvPr>
          <p:cNvGrpSpPr>
            <a:grpSpLocks noChangeAspect="1"/>
          </p:cNvGrpSpPr>
          <p:nvPr/>
        </p:nvGrpSpPr>
        <p:grpSpPr>
          <a:xfrm>
            <a:off x="1549398" y="883609"/>
            <a:ext cx="2131200" cy="473348"/>
            <a:chOff x="8489504" y="910877"/>
            <a:chExt cx="2734509" cy="606592"/>
          </a:xfrm>
          <a:solidFill>
            <a:schemeClr val="bg1"/>
          </a:solidFill>
        </p:grpSpPr>
        <p:sp>
          <p:nvSpPr>
            <p:cNvPr id="8" name="Полилиния 7">
              <a:extLst>
                <a:ext uri="{FF2B5EF4-FFF2-40B4-BE49-F238E27FC236}">
                  <a16:creationId xmlns:a16="http://schemas.microsoft.com/office/drawing/2014/main" id="{623CCA0E-5FB7-5B46-9C53-04EE78C82DAD}"/>
                </a:ext>
              </a:extLst>
            </p:cNvPr>
            <p:cNvSpPr/>
            <p:nvPr/>
          </p:nvSpPr>
          <p:spPr>
            <a:xfrm>
              <a:off x="10064626" y="910877"/>
              <a:ext cx="1159387" cy="606592"/>
            </a:xfrm>
            <a:custGeom>
              <a:avLst/>
              <a:gdLst>
                <a:gd name="connsiteX0" fmla="*/ 0 w 1159387"/>
                <a:gd name="connsiteY0" fmla="*/ 178242 h 606592"/>
                <a:gd name="connsiteX1" fmla="*/ 0 w 1159387"/>
                <a:gd name="connsiteY1" fmla="*/ 237024 h 606592"/>
                <a:gd name="connsiteX2" fmla="*/ 9135 w 1159387"/>
                <a:gd name="connsiteY2" fmla="*/ 246098 h 606592"/>
                <a:gd name="connsiteX3" fmla="*/ 30214 w 1159387"/>
                <a:gd name="connsiteY3" fmla="*/ 250009 h 606592"/>
                <a:gd name="connsiteX4" fmla="*/ 32261 w 1159387"/>
                <a:gd name="connsiteY4" fmla="*/ 250607 h 606592"/>
                <a:gd name="connsiteX5" fmla="*/ 85030 w 1159387"/>
                <a:gd name="connsiteY5" fmla="*/ 319338 h 606592"/>
                <a:gd name="connsiteX6" fmla="*/ 85030 w 1159387"/>
                <a:gd name="connsiteY6" fmla="*/ 483817 h 606592"/>
                <a:gd name="connsiteX7" fmla="*/ 120863 w 1159387"/>
                <a:gd name="connsiteY7" fmla="*/ 570989 h 606592"/>
                <a:gd name="connsiteX8" fmla="*/ 205874 w 1159387"/>
                <a:gd name="connsiteY8" fmla="*/ 606364 h 606592"/>
                <a:gd name="connsiteX9" fmla="*/ 207284 w 1159387"/>
                <a:gd name="connsiteY9" fmla="*/ 606364 h 606592"/>
                <a:gd name="connsiteX10" fmla="*/ 235964 w 1159387"/>
                <a:gd name="connsiteY10" fmla="*/ 606364 h 606592"/>
                <a:gd name="connsiteX11" fmla="*/ 247356 w 1159387"/>
                <a:gd name="connsiteY11" fmla="*/ 593268 h 606592"/>
                <a:gd name="connsiteX12" fmla="*/ 247337 w 1159387"/>
                <a:gd name="connsiteY12" fmla="*/ 563750 h 606592"/>
                <a:gd name="connsiteX13" fmla="*/ 247337 w 1159387"/>
                <a:gd name="connsiteY13" fmla="*/ 541928 h 606592"/>
                <a:gd name="connsiteX14" fmla="*/ 236802 w 1159387"/>
                <a:gd name="connsiteY14" fmla="*/ 530565 h 606592"/>
                <a:gd name="connsiteX15" fmla="*/ 197454 w 1159387"/>
                <a:gd name="connsiteY15" fmla="*/ 530527 h 606592"/>
                <a:gd name="connsiteX16" fmla="*/ 159506 w 1159387"/>
                <a:gd name="connsiteY16" fmla="*/ 492285 h 606592"/>
                <a:gd name="connsiteX17" fmla="*/ 159506 w 1159387"/>
                <a:gd name="connsiteY17" fmla="*/ 403084 h 606592"/>
                <a:gd name="connsiteX18" fmla="*/ 159506 w 1159387"/>
                <a:gd name="connsiteY18" fmla="*/ 316772 h 606592"/>
                <a:gd name="connsiteX19" fmla="*/ 100365 w 1159387"/>
                <a:gd name="connsiteY19" fmla="*/ 207274 h 606592"/>
                <a:gd name="connsiteX20" fmla="*/ 99080 w 1159387"/>
                <a:gd name="connsiteY20" fmla="*/ 206423 h 606592"/>
                <a:gd name="connsiteX21" fmla="*/ 100356 w 1159387"/>
                <a:gd name="connsiteY21" fmla="*/ 205547 h 606592"/>
                <a:gd name="connsiteX22" fmla="*/ 159506 w 1159387"/>
                <a:gd name="connsiteY22" fmla="*/ 90665 h 606592"/>
                <a:gd name="connsiteX23" fmla="*/ 159506 w 1159387"/>
                <a:gd name="connsiteY23" fmla="*/ 10992 h 606592"/>
                <a:gd name="connsiteX24" fmla="*/ 148962 w 1159387"/>
                <a:gd name="connsiteY24" fmla="*/ 0 h 606592"/>
                <a:gd name="connsiteX25" fmla="*/ 95565 w 1159387"/>
                <a:gd name="connsiteY25" fmla="*/ 0 h 606592"/>
                <a:gd name="connsiteX26" fmla="*/ 85030 w 1159387"/>
                <a:gd name="connsiteY26" fmla="*/ 10992 h 606592"/>
                <a:gd name="connsiteX27" fmla="*/ 85030 w 1159387"/>
                <a:gd name="connsiteY27" fmla="*/ 90665 h 606592"/>
                <a:gd name="connsiteX28" fmla="*/ 32366 w 1159387"/>
                <a:gd name="connsiteY28" fmla="*/ 162761 h 606592"/>
                <a:gd name="connsiteX29" fmla="*/ 30214 w 1159387"/>
                <a:gd name="connsiteY29" fmla="*/ 163402 h 606592"/>
                <a:gd name="connsiteX30" fmla="*/ 9135 w 1159387"/>
                <a:gd name="connsiteY30" fmla="*/ 167302 h 606592"/>
                <a:gd name="connsiteX31" fmla="*/ 0 w 1159387"/>
                <a:gd name="connsiteY31" fmla="*/ 178242 h 606592"/>
                <a:gd name="connsiteX32" fmla="*/ 933768 w 1159387"/>
                <a:gd name="connsiteY32" fmla="*/ 313343 h 606592"/>
                <a:gd name="connsiteX33" fmla="*/ 933768 w 1159387"/>
                <a:gd name="connsiteY33" fmla="*/ 468558 h 606592"/>
                <a:gd name="connsiteX34" fmla="*/ 930749 w 1159387"/>
                <a:gd name="connsiteY34" fmla="*/ 475902 h 606592"/>
                <a:gd name="connsiteX35" fmla="*/ 923472 w 1159387"/>
                <a:gd name="connsiteY35" fmla="*/ 478940 h 606592"/>
                <a:gd name="connsiteX36" fmla="*/ 869627 w 1159387"/>
                <a:gd name="connsiteY36" fmla="*/ 478902 h 606592"/>
                <a:gd name="connsiteX37" fmla="*/ 859349 w 1159387"/>
                <a:gd name="connsiteY37" fmla="*/ 468530 h 606592"/>
                <a:gd name="connsiteX38" fmla="*/ 859349 w 1159387"/>
                <a:gd name="connsiteY38" fmla="*/ 10375 h 606592"/>
                <a:gd name="connsiteX39" fmla="*/ 869636 w 1159387"/>
                <a:gd name="connsiteY39" fmla="*/ 0 h 606592"/>
                <a:gd name="connsiteX40" fmla="*/ 923472 w 1159387"/>
                <a:gd name="connsiteY40" fmla="*/ 0 h 606592"/>
                <a:gd name="connsiteX41" fmla="*/ 933768 w 1159387"/>
                <a:gd name="connsiteY41" fmla="*/ 10375 h 606592"/>
                <a:gd name="connsiteX42" fmla="*/ 933768 w 1159387"/>
                <a:gd name="connsiteY42" fmla="*/ 193355 h 606592"/>
                <a:gd name="connsiteX43" fmla="*/ 1159388 w 1159387"/>
                <a:gd name="connsiteY43" fmla="*/ 312995 h 606592"/>
                <a:gd name="connsiteX44" fmla="*/ 1159388 w 1159387"/>
                <a:gd name="connsiteY44" fmla="*/ 468520 h 606592"/>
                <a:gd name="connsiteX45" fmla="*/ 1156378 w 1159387"/>
                <a:gd name="connsiteY45" fmla="*/ 475854 h 606592"/>
                <a:gd name="connsiteX46" fmla="*/ 1149101 w 1159387"/>
                <a:gd name="connsiteY46" fmla="*/ 478893 h 606592"/>
                <a:gd name="connsiteX47" fmla="*/ 1095199 w 1159387"/>
                <a:gd name="connsiteY47" fmla="*/ 478893 h 606592"/>
                <a:gd name="connsiteX48" fmla="*/ 1087922 w 1159387"/>
                <a:gd name="connsiteY48" fmla="*/ 475854 h 606592"/>
                <a:gd name="connsiteX49" fmla="*/ 1084912 w 1159387"/>
                <a:gd name="connsiteY49" fmla="*/ 468520 h 606592"/>
                <a:gd name="connsiteX50" fmla="*/ 1084912 w 1159387"/>
                <a:gd name="connsiteY50" fmla="*/ 312995 h 606592"/>
                <a:gd name="connsiteX51" fmla="*/ 966868 w 1159387"/>
                <a:gd name="connsiteY51" fmla="*/ 246504 h 606592"/>
                <a:gd name="connsiteX52" fmla="*/ 933768 w 1159387"/>
                <a:gd name="connsiteY52" fmla="*/ 313343 h 606592"/>
                <a:gd name="connsiteX53" fmla="*/ 596563 w 1159387"/>
                <a:gd name="connsiteY53" fmla="*/ 207040 h 606592"/>
                <a:gd name="connsiteX54" fmla="*/ 549471 w 1159387"/>
                <a:gd name="connsiteY54" fmla="*/ 323084 h 606592"/>
                <a:gd name="connsiteX55" fmla="*/ 596563 w 1159387"/>
                <a:gd name="connsiteY55" fmla="*/ 439145 h 606592"/>
                <a:gd name="connsiteX56" fmla="*/ 797522 w 1159387"/>
                <a:gd name="connsiteY56" fmla="*/ 460995 h 606592"/>
                <a:gd name="connsiteX57" fmla="*/ 799923 w 1159387"/>
                <a:gd name="connsiteY57" fmla="*/ 459357 h 606592"/>
                <a:gd name="connsiteX58" fmla="*/ 805247 w 1159387"/>
                <a:gd name="connsiteY58" fmla="*/ 455385 h 606592"/>
                <a:gd name="connsiteX59" fmla="*/ 806018 w 1159387"/>
                <a:gd name="connsiteY59" fmla="*/ 438745 h 606592"/>
                <a:gd name="connsiteX60" fmla="*/ 790226 w 1159387"/>
                <a:gd name="connsiteY60" fmla="*/ 417067 h 606592"/>
                <a:gd name="connsiteX61" fmla="*/ 776110 w 1159387"/>
                <a:gd name="connsiteY61" fmla="*/ 397747 h 606592"/>
                <a:gd name="connsiteX62" fmla="*/ 760975 w 1159387"/>
                <a:gd name="connsiteY62" fmla="*/ 394585 h 606592"/>
                <a:gd name="connsiteX63" fmla="*/ 757003 w 1159387"/>
                <a:gd name="connsiteY63" fmla="*/ 397067 h 606592"/>
                <a:gd name="connsiteX64" fmla="*/ 619737 w 1159387"/>
                <a:gd name="connsiteY64" fmla="*/ 323084 h 606592"/>
                <a:gd name="connsiteX65" fmla="*/ 756945 w 1159387"/>
                <a:gd name="connsiteY65" fmla="*/ 249203 h 606592"/>
                <a:gd name="connsiteX66" fmla="*/ 760975 w 1159387"/>
                <a:gd name="connsiteY66" fmla="*/ 251591 h 606592"/>
                <a:gd name="connsiteX67" fmla="*/ 776148 w 1159387"/>
                <a:gd name="connsiteY67" fmla="*/ 248416 h 606592"/>
                <a:gd name="connsiteX68" fmla="*/ 790207 w 1159387"/>
                <a:gd name="connsiteY68" fmla="*/ 229138 h 606592"/>
                <a:gd name="connsiteX69" fmla="*/ 804618 w 1159387"/>
                <a:gd name="connsiteY69" fmla="*/ 209395 h 606592"/>
                <a:gd name="connsiteX70" fmla="*/ 799903 w 1159387"/>
                <a:gd name="connsiteY70" fmla="*/ 186809 h 606592"/>
                <a:gd name="connsiteX71" fmla="*/ 797522 w 1159387"/>
                <a:gd name="connsiteY71" fmla="*/ 185195 h 606592"/>
                <a:gd name="connsiteX72" fmla="*/ 596563 w 1159387"/>
                <a:gd name="connsiteY72" fmla="*/ 207040 h 606592"/>
                <a:gd name="connsiteX73" fmla="*/ 293714 w 1159387"/>
                <a:gd name="connsiteY73" fmla="*/ 350313 h 606592"/>
                <a:gd name="connsiteX74" fmla="*/ 469385 w 1159387"/>
                <a:gd name="connsiteY74" fmla="*/ 350313 h 606592"/>
                <a:gd name="connsiteX75" fmla="*/ 507323 w 1159387"/>
                <a:gd name="connsiteY75" fmla="*/ 312290 h 606592"/>
                <a:gd name="connsiteX76" fmla="*/ 472890 w 1159387"/>
                <a:gd name="connsiteY76" fmla="*/ 208836 h 606592"/>
                <a:gd name="connsiteX77" fmla="*/ 368190 w 1159387"/>
                <a:gd name="connsiteY77" fmla="*/ 159530 h 606592"/>
                <a:gd name="connsiteX78" fmla="*/ 219228 w 1159387"/>
                <a:gd name="connsiteY78" fmla="*/ 323103 h 606592"/>
                <a:gd name="connsiteX79" fmla="*/ 375915 w 1159387"/>
                <a:gd name="connsiteY79" fmla="*/ 486674 h 606592"/>
                <a:gd name="connsiteX80" fmla="*/ 502398 w 1159387"/>
                <a:gd name="connsiteY80" fmla="*/ 450623 h 606592"/>
                <a:gd name="connsiteX81" fmla="*/ 505913 w 1159387"/>
                <a:gd name="connsiteY81" fmla="*/ 435907 h 606592"/>
                <a:gd name="connsiteX82" fmla="*/ 504818 w 1159387"/>
                <a:gd name="connsiteY82" fmla="*/ 434088 h 606592"/>
                <a:gd name="connsiteX83" fmla="*/ 478519 w 1159387"/>
                <a:gd name="connsiteY83" fmla="*/ 391689 h 606592"/>
                <a:gd name="connsiteX84" fmla="*/ 464460 w 1159387"/>
                <a:gd name="connsiteY84" fmla="*/ 388476 h 606592"/>
                <a:gd name="connsiteX85" fmla="*/ 377335 w 1159387"/>
                <a:gd name="connsiteY85" fmla="*/ 414990 h 606592"/>
                <a:gd name="connsiteX86" fmla="*/ 293714 w 1159387"/>
                <a:gd name="connsiteY86" fmla="*/ 350313 h 606592"/>
                <a:gd name="connsiteX87" fmla="*/ 430732 w 1159387"/>
                <a:gd name="connsiteY87" fmla="*/ 287912 h 606592"/>
                <a:gd name="connsiteX88" fmla="*/ 368190 w 1159387"/>
                <a:gd name="connsiteY88" fmla="*/ 232071 h 606592"/>
                <a:gd name="connsiteX89" fmla="*/ 296524 w 1159387"/>
                <a:gd name="connsiteY89" fmla="*/ 287912 h 606592"/>
                <a:gd name="connsiteX90" fmla="*/ 430732 w 1159387"/>
                <a:gd name="connsiteY90" fmla="*/ 287912 h 606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</a:cxnLst>
              <a:rect l="l" t="t" r="r" b="b"/>
              <a:pathLst>
                <a:path w="1159387" h="606592">
                  <a:moveTo>
                    <a:pt x="0" y="178242"/>
                  </a:moveTo>
                  <a:lnTo>
                    <a:pt x="0" y="237024"/>
                  </a:lnTo>
                  <a:cubicBezTo>
                    <a:pt x="695" y="241577"/>
                    <a:pt x="4220" y="245266"/>
                    <a:pt x="9135" y="246098"/>
                  </a:cubicBezTo>
                  <a:cubicBezTo>
                    <a:pt x="16869" y="247387"/>
                    <a:pt x="27404" y="249197"/>
                    <a:pt x="30214" y="250009"/>
                  </a:cubicBezTo>
                  <a:cubicBezTo>
                    <a:pt x="30833" y="250193"/>
                    <a:pt x="31518" y="250390"/>
                    <a:pt x="32261" y="250607"/>
                  </a:cubicBezTo>
                  <a:cubicBezTo>
                    <a:pt x="46749" y="254784"/>
                    <a:pt x="83697" y="265433"/>
                    <a:pt x="85030" y="319338"/>
                  </a:cubicBezTo>
                  <a:lnTo>
                    <a:pt x="85030" y="483817"/>
                  </a:lnTo>
                  <a:cubicBezTo>
                    <a:pt x="85030" y="516573"/>
                    <a:pt x="97670" y="547958"/>
                    <a:pt x="120863" y="570989"/>
                  </a:cubicBezTo>
                  <a:cubicBezTo>
                    <a:pt x="143342" y="593696"/>
                    <a:pt x="174261" y="606402"/>
                    <a:pt x="205874" y="606364"/>
                  </a:cubicBezTo>
                  <a:lnTo>
                    <a:pt x="207284" y="606364"/>
                  </a:lnTo>
                  <a:cubicBezTo>
                    <a:pt x="207284" y="606364"/>
                    <a:pt x="207284" y="606879"/>
                    <a:pt x="235964" y="606364"/>
                  </a:cubicBezTo>
                  <a:cubicBezTo>
                    <a:pt x="243232" y="606231"/>
                    <a:pt x="247461" y="601383"/>
                    <a:pt x="247356" y="593268"/>
                  </a:cubicBezTo>
                  <a:cubicBezTo>
                    <a:pt x="247222" y="582028"/>
                    <a:pt x="247527" y="573246"/>
                    <a:pt x="247337" y="563750"/>
                  </a:cubicBezTo>
                  <a:cubicBezTo>
                    <a:pt x="247184" y="555816"/>
                    <a:pt x="247337" y="548520"/>
                    <a:pt x="247337" y="541928"/>
                  </a:cubicBezTo>
                  <a:cubicBezTo>
                    <a:pt x="247337" y="535804"/>
                    <a:pt x="242422" y="530794"/>
                    <a:pt x="236802" y="530565"/>
                  </a:cubicBezTo>
                  <a:cubicBezTo>
                    <a:pt x="226258" y="530527"/>
                    <a:pt x="211504" y="530527"/>
                    <a:pt x="197454" y="530527"/>
                  </a:cubicBezTo>
                  <a:cubicBezTo>
                    <a:pt x="177071" y="530527"/>
                    <a:pt x="159506" y="513401"/>
                    <a:pt x="159506" y="492285"/>
                  </a:cubicBezTo>
                  <a:lnTo>
                    <a:pt x="159506" y="403084"/>
                  </a:lnTo>
                  <a:cubicBezTo>
                    <a:pt x="160202" y="402874"/>
                    <a:pt x="159506" y="317750"/>
                    <a:pt x="159506" y="316772"/>
                  </a:cubicBezTo>
                  <a:cubicBezTo>
                    <a:pt x="157544" y="243958"/>
                    <a:pt x="109233" y="212964"/>
                    <a:pt x="100365" y="207274"/>
                  </a:cubicBezTo>
                  <a:cubicBezTo>
                    <a:pt x="99708" y="206855"/>
                    <a:pt x="99270" y="206569"/>
                    <a:pt x="99080" y="206423"/>
                  </a:cubicBezTo>
                  <a:cubicBezTo>
                    <a:pt x="99270" y="206264"/>
                    <a:pt x="99708" y="205979"/>
                    <a:pt x="100356" y="205547"/>
                  </a:cubicBezTo>
                  <a:cubicBezTo>
                    <a:pt x="109395" y="199604"/>
                    <a:pt x="159506" y="166622"/>
                    <a:pt x="159506" y="90665"/>
                  </a:cubicBezTo>
                  <a:lnTo>
                    <a:pt x="159506" y="10992"/>
                  </a:lnTo>
                  <a:cubicBezTo>
                    <a:pt x="159506" y="4922"/>
                    <a:pt x="155287" y="0"/>
                    <a:pt x="148962" y="0"/>
                  </a:cubicBezTo>
                  <a:lnTo>
                    <a:pt x="95565" y="0"/>
                  </a:lnTo>
                  <a:cubicBezTo>
                    <a:pt x="89945" y="0"/>
                    <a:pt x="85030" y="4922"/>
                    <a:pt x="85030" y="10992"/>
                  </a:cubicBezTo>
                  <a:lnTo>
                    <a:pt x="85030" y="90665"/>
                  </a:lnTo>
                  <a:cubicBezTo>
                    <a:pt x="85030" y="147350"/>
                    <a:pt x="47054" y="158469"/>
                    <a:pt x="32366" y="162761"/>
                  </a:cubicBezTo>
                  <a:cubicBezTo>
                    <a:pt x="31576" y="162997"/>
                    <a:pt x="30861" y="163206"/>
                    <a:pt x="30214" y="163402"/>
                  </a:cubicBezTo>
                  <a:cubicBezTo>
                    <a:pt x="27404" y="164209"/>
                    <a:pt x="16869" y="166026"/>
                    <a:pt x="9135" y="167302"/>
                  </a:cubicBezTo>
                  <a:cubicBezTo>
                    <a:pt x="3515" y="168248"/>
                    <a:pt x="0" y="172858"/>
                    <a:pt x="0" y="178242"/>
                  </a:cubicBezTo>
                  <a:close/>
                  <a:moveTo>
                    <a:pt x="933768" y="313343"/>
                  </a:moveTo>
                  <a:lnTo>
                    <a:pt x="933768" y="468558"/>
                  </a:lnTo>
                  <a:cubicBezTo>
                    <a:pt x="933768" y="471320"/>
                    <a:pt x="932682" y="473949"/>
                    <a:pt x="930749" y="475902"/>
                  </a:cubicBezTo>
                  <a:cubicBezTo>
                    <a:pt x="928825" y="477845"/>
                    <a:pt x="926206" y="478940"/>
                    <a:pt x="923472" y="478940"/>
                  </a:cubicBezTo>
                  <a:cubicBezTo>
                    <a:pt x="909270" y="478921"/>
                    <a:pt x="883819" y="478912"/>
                    <a:pt x="869627" y="478902"/>
                  </a:cubicBezTo>
                  <a:cubicBezTo>
                    <a:pt x="863950" y="478893"/>
                    <a:pt x="859349" y="474254"/>
                    <a:pt x="859349" y="468530"/>
                  </a:cubicBezTo>
                  <a:cubicBezTo>
                    <a:pt x="859349" y="405427"/>
                    <a:pt x="859349" y="73513"/>
                    <a:pt x="859349" y="10375"/>
                  </a:cubicBezTo>
                  <a:cubicBezTo>
                    <a:pt x="859349" y="4648"/>
                    <a:pt x="863959" y="0"/>
                    <a:pt x="869636" y="0"/>
                  </a:cubicBezTo>
                  <a:cubicBezTo>
                    <a:pt x="883838" y="0"/>
                    <a:pt x="909279" y="0"/>
                    <a:pt x="923472" y="0"/>
                  </a:cubicBezTo>
                  <a:cubicBezTo>
                    <a:pt x="929158" y="0"/>
                    <a:pt x="933768" y="4648"/>
                    <a:pt x="933768" y="10375"/>
                  </a:cubicBezTo>
                  <a:cubicBezTo>
                    <a:pt x="933768" y="50513"/>
                    <a:pt x="933768" y="193355"/>
                    <a:pt x="933768" y="193355"/>
                  </a:cubicBezTo>
                  <a:cubicBezTo>
                    <a:pt x="1013169" y="118433"/>
                    <a:pt x="1159388" y="172318"/>
                    <a:pt x="1159388" y="312995"/>
                  </a:cubicBezTo>
                  <a:lnTo>
                    <a:pt x="1159388" y="468520"/>
                  </a:lnTo>
                  <a:cubicBezTo>
                    <a:pt x="1159388" y="471273"/>
                    <a:pt x="1158302" y="473911"/>
                    <a:pt x="1156378" y="475854"/>
                  </a:cubicBezTo>
                  <a:cubicBezTo>
                    <a:pt x="1154445" y="477797"/>
                    <a:pt x="1151835" y="478893"/>
                    <a:pt x="1149101" y="478893"/>
                  </a:cubicBezTo>
                  <a:cubicBezTo>
                    <a:pt x="1134899" y="478893"/>
                    <a:pt x="1109401" y="478893"/>
                    <a:pt x="1095199" y="478893"/>
                  </a:cubicBezTo>
                  <a:cubicBezTo>
                    <a:pt x="1092465" y="478893"/>
                    <a:pt x="1089855" y="477797"/>
                    <a:pt x="1087922" y="475854"/>
                  </a:cubicBezTo>
                  <a:cubicBezTo>
                    <a:pt x="1085998" y="473911"/>
                    <a:pt x="1084912" y="471273"/>
                    <a:pt x="1084912" y="468520"/>
                  </a:cubicBezTo>
                  <a:cubicBezTo>
                    <a:pt x="1084912" y="432211"/>
                    <a:pt x="1084912" y="312995"/>
                    <a:pt x="1084912" y="312995"/>
                  </a:cubicBezTo>
                  <a:cubicBezTo>
                    <a:pt x="1084912" y="239513"/>
                    <a:pt x="1011121" y="217047"/>
                    <a:pt x="966868" y="246504"/>
                  </a:cubicBezTo>
                  <a:cubicBezTo>
                    <a:pt x="947885" y="259141"/>
                    <a:pt x="933768" y="281804"/>
                    <a:pt x="933768" y="313343"/>
                  </a:cubicBezTo>
                  <a:close/>
                  <a:moveTo>
                    <a:pt x="596563" y="207040"/>
                  </a:moveTo>
                  <a:cubicBezTo>
                    <a:pt x="564235" y="238922"/>
                    <a:pt x="549471" y="280953"/>
                    <a:pt x="549471" y="323084"/>
                  </a:cubicBezTo>
                  <a:cubicBezTo>
                    <a:pt x="549471" y="365223"/>
                    <a:pt x="564235" y="407246"/>
                    <a:pt x="596563" y="439145"/>
                  </a:cubicBezTo>
                  <a:cubicBezTo>
                    <a:pt x="650665" y="494085"/>
                    <a:pt x="734285" y="501400"/>
                    <a:pt x="797522" y="460995"/>
                  </a:cubicBezTo>
                  <a:cubicBezTo>
                    <a:pt x="798208" y="460481"/>
                    <a:pt x="799037" y="459938"/>
                    <a:pt x="799923" y="459357"/>
                  </a:cubicBezTo>
                  <a:cubicBezTo>
                    <a:pt x="801761" y="458147"/>
                    <a:pt x="803828" y="456795"/>
                    <a:pt x="805247" y="455385"/>
                  </a:cubicBezTo>
                  <a:cubicBezTo>
                    <a:pt x="808762" y="451909"/>
                    <a:pt x="810762" y="445470"/>
                    <a:pt x="806018" y="438745"/>
                  </a:cubicBezTo>
                  <a:cubicBezTo>
                    <a:pt x="801761" y="432697"/>
                    <a:pt x="796170" y="425153"/>
                    <a:pt x="790226" y="417067"/>
                  </a:cubicBezTo>
                  <a:cubicBezTo>
                    <a:pt x="785121" y="410132"/>
                    <a:pt x="780339" y="403665"/>
                    <a:pt x="776110" y="397747"/>
                  </a:cubicBezTo>
                  <a:cubicBezTo>
                    <a:pt x="772671" y="392947"/>
                    <a:pt x="765890" y="391664"/>
                    <a:pt x="760975" y="394585"/>
                  </a:cubicBezTo>
                  <a:cubicBezTo>
                    <a:pt x="759565" y="395461"/>
                    <a:pt x="758393" y="396172"/>
                    <a:pt x="757003" y="397067"/>
                  </a:cubicBezTo>
                  <a:cubicBezTo>
                    <a:pt x="686032" y="442936"/>
                    <a:pt x="619737" y="382374"/>
                    <a:pt x="619737" y="323084"/>
                  </a:cubicBezTo>
                  <a:cubicBezTo>
                    <a:pt x="619737" y="263795"/>
                    <a:pt x="687384" y="203573"/>
                    <a:pt x="756945" y="249203"/>
                  </a:cubicBezTo>
                  <a:cubicBezTo>
                    <a:pt x="758308" y="250105"/>
                    <a:pt x="759565" y="250708"/>
                    <a:pt x="760975" y="251591"/>
                  </a:cubicBezTo>
                  <a:cubicBezTo>
                    <a:pt x="765890" y="254512"/>
                    <a:pt x="772805" y="253115"/>
                    <a:pt x="776148" y="248416"/>
                  </a:cubicBezTo>
                  <a:cubicBezTo>
                    <a:pt x="780377" y="242497"/>
                    <a:pt x="785102" y="236065"/>
                    <a:pt x="790207" y="229138"/>
                  </a:cubicBezTo>
                  <a:cubicBezTo>
                    <a:pt x="795560" y="221854"/>
                    <a:pt x="800580" y="215072"/>
                    <a:pt x="804618" y="209395"/>
                  </a:cubicBezTo>
                  <a:cubicBezTo>
                    <a:pt x="811362" y="199928"/>
                    <a:pt x="809571" y="193191"/>
                    <a:pt x="799903" y="186809"/>
                  </a:cubicBezTo>
                  <a:cubicBezTo>
                    <a:pt x="799027" y="186231"/>
                    <a:pt x="798199" y="185691"/>
                    <a:pt x="797522" y="185195"/>
                  </a:cubicBezTo>
                  <a:cubicBezTo>
                    <a:pt x="734285" y="144778"/>
                    <a:pt x="650665" y="152087"/>
                    <a:pt x="596563" y="207040"/>
                  </a:cubicBezTo>
                  <a:close/>
                  <a:moveTo>
                    <a:pt x="293714" y="350313"/>
                  </a:moveTo>
                  <a:lnTo>
                    <a:pt x="469385" y="350313"/>
                  </a:lnTo>
                  <a:cubicBezTo>
                    <a:pt x="490463" y="350313"/>
                    <a:pt x="507323" y="333283"/>
                    <a:pt x="507323" y="312290"/>
                  </a:cubicBezTo>
                  <a:cubicBezTo>
                    <a:pt x="507323" y="265561"/>
                    <a:pt x="499588" y="240644"/>
                    <a:pt x="472890" y="208836"/>
                  </a:cubicBezTo>
                  <a:cubicBezTo>
                    <a:pt x="445486" y="176865"/>
                    <a:pt x="401919" y="159530"/>
                    <a:pt x="368190" y="159530"/>
                  </a:cubicBezTo>
                  <a:cubicBezTo>
                    <a:pt x="283875" y="159530"/>
                    <a:pt x="219228" y="231722"/>
                    <a:pt x="219228" y="323103"/>
                  </a:cubicBezTo>
                  <a:cubicBezTo>
                    <a:pt x="219228" y="435697"/>
                    <a:pt x="306354" y="486674"/>
                    <a:pt x="375915" y="486674"/>
                  </a:cubicBezTo>
                  <a:cubicBezTo>
                    <a:pt x="425807" y="486674"/>
                    <a:pt x="464460" y="474616"/>
                    <a:pt x="502398" y="450623"/>
                  </a:cubicBezTo>
                  <a:cubicBezTo>
                    <a:pt x="506618" y="447470"/>
                    <a:pt x="508723" y="441003"/>
                    <a:pt x="505913" y="435907"/>
                  </a:cubicBezTo>
                  <a:lnTo>
                    <a:pt x="504818" y="434088"/>
                  </a:lnTo>
                  <a:cubicBezTo>
                    <a:pt x="497150" y="421362"/>
                    <a:pt x="486558" y="403789"/>
                    <a:pt x="478519" y="391689"/>
                  </a:cubicBezTo>
                  <a:cubicBezTo>
                    <a:pt x="475709" y="386901"/>
                    <a:pt x="469385" y="385492"/>
                    <a:pt x="464460" y="388476"/>
                  </a:cubicBezTo>
                  <a:cubicBezTo>
                    <a:pt x="440571" y="402722"/>
                    <a:pt x="415273" y="415266"/>
                    <a:pt x="377335" y="414990"/>
                  </a:cubicBezTo>
                  <a:cubicBezTo>
                    <a:pt x="342197" y="414742"/>
                    <a:pt x="304954" y="392280"/>
                    <a:pt x="293714" y="350313"/>
                  </a:cubicBezTo>
                  <a:close/>
                  <a:moveTo>
                    <a:pt x="430732" y="287912"/>
                  </a:moveTo>
                  <a:cubicBezTo>
                    <a:pt x="424407" y="240694"/>
                    <a:pt x="392079" y="232071"/>
                    <a:pt x="368190" y="232071"/>
                  </a:cubicBezTo>
                  <a:cubicBezTo>
                    <a:pt x="335872" y="232071"/>
                    <a:pt x="308478" y="256182"/>
                    <a:pt x="296524" y="287912"/>
                  </a:cubicBezTo>
                  <a:lnTo>
                    <a:pt x="430732" y="287912"/>
                  </a:lnTo>
                  <a:close/>
                </a:path>
              </a:pathLst>
            </a:custGeom>
            <a:solidFill>
              <a:schemeClr val="accent2"/>
            </a:solidFill>
            <a:ln w="76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E111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" name="Полилиния 8">
              <a:extLst>
                <a:ext uri="{FF2B5EF4-FFF2-40B4-BE49-F238E27FC236}">
                  <a16:creationId xmlns:a16="http://schemas.microsoft.com/office/drawing/2014/main" id="{3143B6FA-F2B1-374D-8301-0C37C03C9DA1}"/>
                </a:ext>
              </a:extLst>
            </p:cNvPr>
            <p:cNvSpPr/>
            <p:nvPr/>
          </p:nvSpPr>
          <p:spPr>
            <a:xfrm>
              <a:off x="8489504" y="1070894"/>
              <a:ext cx="1492273" cy="326563"/>
            </a:xfrm>
            <a:custGeom>
              <a:avLst/>
              <a:gdLst>
                <a:gd name="connsiteX0" fmla="*/ 180273 w 1492273"/>
                <a:gd name="connsiteY0" fmla="*/ 900 h 326563"/>
                <a:gd name="connsiteX1" fmla="*/ 83526 w 1492273"/>
                <a:gd name="connsiteY1" fmla="*/ 20775 h 326563"/>
                <a:gd name="connsiteX2" fmla="*/ 15954 w 1492273"/>
                <a:gd name="connsiteY2" fmla="*/ 92853 h 326563"/>
                <a:gd name="connsiteX3" fmla="*/ 2323 w 1492273"/>
                <a:gd name="connsiteY3" fmla="*/ 190737 h 326563"/>
                <a:gd name="connsiteX4" fmla="*/ 47618 w 1492273"/>
                <a:gd name="connsiteY4" fmla="*/ 278557 h 326563"/>
                <a:gd name="connsiteX5" fmla="*/ 135243 w 1492273"/>
                <a:gd name="connsiteY5" fmla="*/ 324153 h 326563"/>
                <a:gd name="connsiteX6" fmla="*/ 233098 w 1492273"/>
                <a:gd name="connsiteY6" fmla="*/ 310818 h 326563"/>
                <a:gd name="connsiteX7" fmla="*/ 305341 w 1492273"/>
                <a:gd name="connsiteY7" fmla="*/ 243429 h 326563"/>
                <a:gd name="connsiteX8" fmla="*/ 325507 w 1492273"/>
                <a:gd name="connsiteY8" fmla="*/ 146675 h 326563"/>
                <a:gd name="connsiteX9" fmla="*/ 278778 w 1492273"/>
                <a:gd name="connsiteY9" fmla="*/ 47965 h 326563"/>
                <a:gd name="connsiteX10" fmla="*/ 180273 w 1492273"/>
                <a:gd name="connsiteY10" fmla="*/ 900 h 326563"/>
                <a:gd name="connsiteX11" fmla="*/ 174984 w 1492273"/>
                <a:gd name="connsiteY11" fmla="*/ 249697 h 326563"/>
                <a:gd name="connsiteX12" fmla="*/ 122555 w 1492273"/>
                <a:gd name="connsiteY12" fmla="*/ 240277 h 326563"/>
                <a:gd name="connsiteX13" fmla="*/ 85427 w 1492273"/>
                <a:gd name="connsiteY13" fmla="*/ 202047 h 326563"/>
                <a:gd name="connsiteX14" fmla="*/ 77507 w 1492273"/>
                <a:gd name="connsiteY14" fmla="*/ 149329 h 326563"/>
                <a:gd name="connsiteX15" fmla="*/ 101766 w 1492273"/>
                <a:gd name="connsiteY15" fmla="*/ 101883 h 326563"/>
                <a:gd name="connsiteX16" fmla="*/ 149113 w 1492273"/>
                <a:gd name="connsiteY16" fmla="*/ 77461 h 326563"/>
                <a:gd name="connsiteX17" fmla="*/ 201825 w 1492273"/>
                <a:gd name="connsiteY17" fmla="*/ 85220 h 326563"/>
                <a:gd name="connsiteX18" fmla="*/ 240132 w 1492273"/>
                <a:gd name="connsiteY18" fmla="*/ 122247 h 326563"/>
                <a:gd name="connsiteX19" fmla="*/ 249714 w 1492273"/>
                <a:gd name="connsiteY19" fmla="*/ 174684 h 326563"/>
                <a:gd name="connsiteX20" fmla="*/ 225058 w 1492273"/>
                <a:gd name="connsiteY20" fmla="*/ 224868 h 326563"/>
                <a:gd name="connsiteX21" fmla="*/ 174984 w 1492273"/>
                <a:gd name="connsiteY21" fmla="*/ 249697 h 326563"/>
                <a:gd name="connsiteX22" fmla="*/ 412780 w 1492273"/>
                <a:gd name="connsiteY22" fmla="*/ 7358 h 326563"/>
                <a:gd name="connsiteX23" fmla="*/ 396435 w 1492273"/>
                <a:gd name="connsiteY23" fmla="*/ 11091 h 326563"/>
                <a:gd name="connsiteX24" fmla="*/ 383276 w 1492273"/>
                <a:gd name="connsiteY24" fmla="*/ 21498 h 326563"/>
                <a:gd name="connsiteX25" fmla="*/ 375859 w 1492273"/>
                <a:gd name="connsiteY25" fmla="*/ 36548 h 326563"/>
                <a:gd name="connsiteX26" fmla="*/ 375620 w 1492273"/>
                <a:gd name="connsiteY26" fmla="*/ 53325 h 326563"/>
                <a:gd name="connsiteX27" fmla="*/ 414209 w 1492273"/>
                <a:gd name="connsiteY27" fmla="*/ 83537 h 326563"/>
                <a:gd name="connsiteX28" fmla="*/ 520143 w 1492273"/>
                <a:gd name="connsiteY28" fmla="*/ 83537 h 326563"/>
                <a:gd name="connsiteX29" fmla="*/ 355289 w 1492273"/>
                <a:gd name="connsiteY29" fmla="*/ 301846 h 326563"/>
                <a:gd name="connsiteX30" fmla="*/ 353136 w 1492273"/>
                <a:gd name="connsiteY30" fmla="*/ 307389 h 326563"/>
                <a:gd name="connsiteX31" fmla="*/ 354212 w 1492273"/>
                <a:gd name="connsiteY31" fmla="*/ 313237 h 326563"/>
                <a:gd name="connsiteX32" fmla="*/ 358204 w 1492273"/>
                <a:gd name="connsiteY32" fmla="*/ 317647 h 326563"/>
                <a:gd name="connsiteX33" fmla="*/ 363921 w 1492273"/>
                <a:gd name="connsiteY33" fmla="*/ 319295 h 326563"/>
                <a:gd name="connsiteX34" fmla="*/ 622504 w 1492273"/>
                <a:gd name="connsiteY34" fmla="*/ 319295 h 326563"/>
                <a:gd name="connsiteX35" fmla="*/ 661099 w 1492273"/>
                <a:gd name="connsiteY35" fmla="*/ 289082 h 326563"/>
                <a:gd name="connsiteX36" fmla="*/ 660861 w 1492273"/>
                <a:gd name="connsiteY36" fmla="*/ 272299 h 326563"/>
                <a:gd name="connsiteX37" fmla="*/ 653451 w 1492273"/>
                <a:gd name="connsiteY37" fmla="*/ 257250 h 326563"/>
                <a:gd name="connsiteX38" fmla="*/ 640297 w 1492273"/>
                <a:gd name="connsiteY38" fmla="*/ 246849 h 326563"/>
                <a:gd name="connsiteX39" fmla="*/ 623952 w 1492273"/>
                <a:gd name="connsiteY39" fmla="*/ 243105 h 326563"/>
                <a:gd name="connsiteX40" fmla="*/ 494883 w 1492273"/>
                <a:gd name="connsiteY40" fmla="*/ 243105 h 326563"/>
                <a:gd name="connsiteX41" fmla="*/ 659613 w 1492273"/>
                <a:gd name="connsiteY41" fmla="*/ 24972 h 326563"/>
                <a:gd name="connsiteX42" fmla="*/ 661785 w 1492273"/>
                <a:gd name="connsiteY42" fmla="*/ 19371 h 326563"/>
                <a:gd name="connsiteX43" fmla="*/ 660690 w 1492273"/>
                <a:gd name="connsiteY43" fmla="*/ 13473 h 326563"/>
                <a:gd name="connsiteX44" fmla="*/ 656661 w 1492273"/>
                <a:gd name="connsiteY44" fmla="*/ 9021 h 326563"/>
                <a:gd name="connsiteX45" fmla="*/ 650888 w 1492273"/>
                <a:gd name="connsiteY45" fmla="*/ 7358 h 326563"/>
                <a:gd name="connsiteX46" fmla="*/ 412780 w 1492273"/>
                <a:gd name="connsiteY46" fmla="*/ 7358 h 326563"/>
                <a:gd name="connsiteX47" fmla="*/ 1446105 w 1492273"/>
                <a:gd name="connsiteY47" fmla="*/ 8240 h 326563"/>
                <a:gd name="connsiteX48" fmla="*/ 1424484 w 1492273"/>
                <a:gd name="connsiteY48" fmla="*/ 22127 h 326563"/>
                <a:gd name="connsiteX49" fmla="*/ 1416378 w 1492273"/>
                <a:gd name="connsiteY49" fmla="*/ 46473 h 326563"/>
                <a:gd name="connsiteX50" fmla="*/ 1416378 w 1492273"/>
                <a:gd name="connsiteY50" fmla="*/ 173313 h 326563"/>
                <a:gd name="connsiteX51" fmla="*/ 1210980 w 1492273"/>
                <a:gd name="connsiteY51" fmla="*/ 9758 h 326563"/>
                <a:gd name="connsiteX52" fmla="*/ 1205389 w 1492273"/>
                <a:gd name="connsiteY52" fmla="*/ 7453 h 326563"/>
                <a:gd name="connsiteX53" fmla="*/ 1199426 w 1492273"/>
                <a:gd name="connsiteY53" fmla="*/ 8482 h 326563"/>
                <a:gd name="connsiteX54" fmla="*/ 1194921 w 1492273"/>
                <a:gd name="connsiteY54" fmla="*/ 12520 h 326563"/>
                <a:gd name="connsiteX55" fmla="*/ 1193263 w 1492273"/>
                <a:gd name="connsiteY55" fmla="*/ 18343 h 326563"/>
                <a:gd name="connsiteX56" fmla="*/ 1193263 w 1492273"/>
                <a:gd name="connsiteY56" fmla="*/ 280243 h 326563"/>
                <a:gd name="connsiteX57" fmla="*/ 1201388 w 1492273"/>
                <a:gd name="connsiteY57" fmla="*/ 304589 h 326563"/>
                <a:gd name="connsiteX58" fmla="*/ 1222962 w 1492273"/>
                <a:gd name="connsiteY58" fmla="*/ 318486 h 326563"/>
                <a:gd name="connsiteX59" fmla="*/ 1239803 w 1492273"/>
                <a:gd name="connsiteY59" fmla="*/ 318362 h 326563"/>
                <a:gd name="connsiteX60" fmla="*/ 1254966 w 1492273"/>
                <a:gd name="connsiteY60" fmla="*/ 310961 h 326563"/>
                <a:gd name="connsiteX61" fmla="*/ 1265444 w 1492273"/>
                <a:gd name="connsiteY61" fmla="*/ 297721 h 326563"/>
                <a:gd name="connsiteX62" fmla="*/ 1269159 w 1492273"/>
                <a:gd name="connsiteY62" fmla="*/ 281272 h 326563"/>
                <a:gd name="connsiteX63" fmla="*/ 1269159 w 1492273"/>
                <a:gd name="connsiteY63" fmla="*/ 153323 h 326563"/>
                <a:gd name="connsiteX64" fmla="*/ 1474538 w 1492273"/>
                <a:gd name="connsiteY64" fmla="*/ 316885 h 326563"/>
                <a:gd name="connsiteX65" fmla="*/ 1480148 w 1492273"/>
                <a:gd name="connsiteY65" fmla="*/ 319190 h 326563"/>
                <a:gd name="connsiteX66" fmla="*/ 1486120 w 1492273"/>
                <a:gd name="connsiteY66" fmla="*/ 318162 h 326563"/>
                <a:gd name="connsiteX67" fmla="*/ 1490625 w 1492273"/>
                <a:gd name="connsiteY67" fmla="*/ 314123 h 326563"/>
                <a:gd name="connsiteX68" fmla="*/ 1492273 w 1492273"/>
                <a:gd name="connsiteY68" fmla="*/ 308303 h 326563"/>
                <a:gd name="connsiteX69" fmla="*/ 1492273 w 1492273"/>
                <a:gd name="connsiteY69" fmla="*/ 45444 h 326563"/>
                <a:gd name="connsiteX70" fmla="*/ 1488559 w 1492273"/>
                <a:gd name="connsiteY70" fmla="*/ 28985 h 326563"/>
                <a:gd name="connsiteX71" fmla="*/ 1478081 w 1492273"/>
                <a:gd name="connsiteY71" fmla="*/ 15759 h 326563"/>
                <a:gd name="connsiteX72" fmla="*/ 1462908 w 1492273"/>
                <a:gd name="connsiteY72" fmla="*/ 8354 h 326563"/>
                <a:gd name="connsiteX73" fmla="*/ 1446105 w 1492273"/>
                <a:gd name="connsiteY73" fmla="*/ 8240 h 326563"/>
                <a:gd name="connsiteX74" fmla="*/ 911265 w 1492273"/>
                <a:gd name="connsiteY74" fmla="*/ 76254 h 326563"/>
                <a:gd name="connsiteX75" fmla="*/ 1063066 w 1492273"/>
                <a:gd name="connsiteY75" fmla="*/ 163286 h 326563"/>
                <a:gd name="connsiteX76" fmla="*/ 911265 w 1492273"/>
                <a:gd name="connsiteY76" fmla="*/ 250325 h 326563"/>
                <a:gd name="connsiteX77" fmla="*/ 759483 w 1492273"/>
                <a:gd name="connsiteY77" fmla="*/ 163286 h 326563"/>
                <a:gd name="connsiteX78" fmla="*/ 911265 w 1492273"/>
                <a:gd name="connsiteY78" fmla="*/ 76254 h 326563"/>
                <a:gd name="connsiteX79" fmla="*/ 911265 w 1492273"/>
                <a:gd name="connsiteY79" fmla="*/ 67 h 326563"/>
                <a:gd name="connsiteX80" fmla="*/ 683578 w 1492273"/>
                <a:gd name="connsiteY80" fmla="*/ 163286 h 326563"/>
                <a:gd name="connsiteX81" fmla="*/ 911265 w 1492273"/>
                <a:gd name="connsiteY81" fmla="*/ 326506 h 326563"/>
                <a:gd name="connsiteX82" fmla="*/ 1138961 w 1492273"/>
                <a:gd name="connsiteY82" fmla="*/ 163286 h 326563"/>
                <a:gd name="connsiteX83" fmla="*/ 911265 w 1492273"/>
                <a:gd name="connsiteY83" fmla="*/ 67 h 3265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</a:cxnLst>
              <a:rect l="l" t="t" r="r" b="b"/>
              <a:pathLst>
                <a:path w="1492273" h="326563">
                  <a:moveTo>
                    <a:pt x="180273" y="900"/>
                  </a:moveTo>
                  <a:cubicBezTo>
                    <a:pt x="146739" y="-2638"/>
                    <a:pt x="112948" y="4310"/>
                    <a:pt x="83526" y="20775"/>
                  </a:cubicBezTo>
                  <a:cubicBezTo>
                    <a:pt x="54104" y="37240"/>
                    <a:pt x="30499" y="62424"/>
                    <a:pt x="15954" y="92853"/>
                  </a:cubicBezTo>
                  <a:cubicBezTo>
                    <a:pt x="1417" y="123295"/>
                    <a:pt x="-3344" y="157489"/>
                    <a:pt x="2323" y="190737"/>
                  </a:cubicBezTo>
                  <a:cubicBezTo>
                    <a:pt x="7990" y="223998"/>
                    <a:pt x="23812" y="254669"/>
                    <a:pt x="47618" y="278557"/>
                  </a:cubicBezTo>
                  <a:cubicBezTo>
                    <a:pt x="71412" y="302455"/>
                    <a:pt x="102030" y="318381"/>
                    <a:pt x="135243" y="324153"/>
                  </a:cubicBezTo>
                  <a:cubicBezTo>
                    <a:pt x="168455" y="329925"/>
                    <a:pt x="202644" y="325277"/>
                    <a:pt x="233098" y="310818"/>
                  </a:cubicBezTo>
                  <a:cubicBezTo>
                    <a:pt x="263559" y="296359"/>
                    <a:pt x="288801" y="272814"/>
                    <a:pt x="305341" y="243429"/>
                  </a:cubicBezTo>
                  <a:cubicBezTo>
                    <a:pt x="321894" y="214035"/>
                    <a:pt x="328933" y="180240"/>
                    <a:pt x="325507" y="146675"/>
                  </a:cubicBezTo>
                  <a:cubicBezTo>
                    <a:pt x="321736" y="109375"/>
                    <a:pt x="305234" y="74514"/>
                    <a:pt x="278778" y="47965"/>
                  </a:cubicBezTo>
                  <a:cubicBezTo>
                    <a:pt x="252327" y="21410"/>
                    <a:pt x="217534" y="4786"/>
                    <a:pt x="180273" y="900"/>
                  </a:cubicBezTo>
                  <a:close/>
                  <a:moveTo>
                    <a:pt x="174984" y="249697"/>
                  </a:moveTo>
                  <a:cubicBezTo>
                    <a:pt x="156946" y="252116"/>
                    <a:pt x="138617" y="248820"/>
                    <a:pt x="122555" y="240277"/>
                  </a:cubicBezTo>
                  <a:cubicBezTo>
                    <a:pt x="106488" y="231725"/>
                    <a:pt x="93505" y="218366"/>
                    <a:pt x="85427" y="202047"/>
                  </a:cubicBezTo>
                  <a:cubicBezTo>
                    <a:pt x="77349" y="185733"/>
                    <a:pt x="74579" y="167300"/>
                    <a:pt x="77507" y="149329"/>
                  </a:cubicBezTo>
                  <a:cubicBezTo>
                    <a:pt x="80440" y="131372"/>
                    <a:pt x="88922" y="114773"/>
                    <a:pt x="101766" y="101883"/>
                  </a:cubicBezTo>
                  <a:cubicBezTo>
                    <a:pt x="114610" y="88986"/>
                    <a:pt x="131176" y="80452"/>
                    <a:pt x="149113" y="77461"/>
                  </a:cubicBezTo>
                  <a:cubicBezTo>
                    <a:pt x="167057" y="74470"/>
                    <a:pt x="185493" y="77181"/>
                    <a:pt x="201825" y="85220"/>
                  </a:cubicBezTo>
                  <a:cubicBezTo>
                    <a:pt x="218145" y="93247"/>
                    <a:pt x="231543" y="106194"/>
                    <a:pt x="240132" y="122247"/>
                  </a:cubicBezTo>
                  <a:cubicBezTo>
                    <a:pt x="248725" y="138293"/>
                    <a:pt x="252068" y="156625"/>
                    <a:pt x="249714" y="174684"/>
                  </a:cubicBezTo>
                  <a:cubicBezTo>
                    <a:pt x="247233" y="193670"/>
                    <a:pt x="238569" y="211305"/>
                    <a:pt x="225058" y="224868"/>
                  </a:cubicBezTo>
                  <a:cubicBezTo>
                    <a:pt x="211546" y="238425"/>
                    <a:pt x="193948" y="247154"/>
                    <a:pt x="174984" y="249697"/>
                  </a:cubicBezTo>
                  <a:close/>
                  <a:moveTo>
                    <a:pt x="412780" y="7358"/>
                  </a:moveTo>
                  <a:cubicBezTo>
                    <a:pt x="407126" y="7370"/>
                    <a:pt x="401534" y="8646"/>
                    <a:pt x="396435" y="11091"/>
                  </a:cubicBezTo>
                  <a:cubicBezTo>
                    <a:pt x="391328" y="13536"/>
                    <a:pt x="386833" y="17092"/>
                    <a:pt x="383276" y="21498"/>
                  </a:cubicBezTo>
                  <a:cubicBezTo>
                    <a:pt x="379712" y="25899"/>
                    <a:pt x="377174" y="31042"/>
                    <a:pt x="375859" y="36548"/>
                  </a:cubicBezTo>
                  <a:cubicBezTo>
                    <a:pt x="374537" y="42053"/>
                    <a:pt x="374448" y="47787"/>
                    <a:pt x="375620" y="53325"/>
                  </a:cubicBezTo>
                  <a:cubicBezTo>
                    <a:pt x="379202" y="71282"/>
                    <a:pt x="395956" y="83537"/>
                    <a:pt x="414209" y="83537"/>
                  </a:cubicBezTo>
                  <a:lnTo>
                    <a:pt x="520143" y="83537"/>
                  </a:lnTo>
                  <a:lnTo>
                    <a:pt x="355289" y="301846"/>
                  </a:lnTo>
                  <a:cubicBezTo>
                    <a:pt x="354067" y="303455"/>
                    <a:pt x="353324" y="305379"/>
                    <a:pt x="353136" y="307389"/>
                  </a:cubicBezTo>
                  <a:cubicBezTo>
                    <a:pt x="352940" y="309399"/>
                    <a:pt x="353319" y="311428"/>
                    <a:pt x="354212" y="313237"/>
                  </a:cubicBezTo>
                  <a:cubicBezTo>
                    <a:pt x="355113" y="315047"/>
                    <a:pt x="356491" y="316581"/>
                    <a:pt x="358204" y="317647"/>
                  </a:cubicBezTo>
                  <a:cubicBezTo>
                    <a:pt x="359923" y="318714"/>
                    <a:pt x="361900" y="319286"/>
                    <a:pt x="363921" y="319295"/>
                  </a:cubicBezTo>
                  <a:lnTo>
                    <a:pt x="622504" y="319295"/>
                  </a:lnTo>
                  <a:cubicBezTo>
                    <a:pt x="640744" y="319295"/>
                    <a:pt x="657518" y="307037"/>
                    <a:pt x="661099" y="289082"/>
                  </a:cubicBezTo>
                  <a:cubicBezTo>
                    <a:pt x="662271" y="283539"/>
                    <a:pt x="662185" y="277805"/>
                    <a:pt x="660861" y="272299"/>
                  </a:cubicBezTo>
                  <a:cubicBezTo>
                    <a:pt x="659537" y="266794"/>
                    <a:pt x="657004" y="261650"/>
                    <a:pt x="653451" y="257250"/>
                  </a:cubicBezTo>
                  <a:cubicBezTo>
                    <a:pt x="649898" y="252849"/>
                    <a:pt x="645402" y="249297"/>
                    <a:pt x="640297" y="246849"/>
                  </a:cubicBezTo>
                  <a:cubicBezTo>
                    <a:pt x="635191" y="244391"/>
                    <a:pt x="629610" y="243115"/>
                    <a:pt x="623952" y="243105"/>
                  </a:cubicBezTo>
                  <a:lnTo>
                    <a:pt x="494883" y="243105"/>
                  </a:lnTo>
                  <a:lnTo>
                    <a:pt x="659613" y="24972"/>
                  </a:lnTo>
                  <a:cubicBezTo>
                    <a:pt x="660842" y="23340"/>
                    <a:pt x="661595" y="21403"/>
                    <a:pt x="661785" y="19371"/>
                  </a:cubicBezTo>
                  <a:cubicBezTo>
                    <a:pt x="661976" y="17340"/>
                    <a:pt x="661604" y="15295"/>
                    <a:pt x="660690" y="13473"/>
                  </a:cubicBezTo>
                  <a:cubicBezTo>
                    <a:pt x="659785" y="11637"/>
                    <a:pt x="658385" y="10101"/>
                    <a:pt x="656661" y="9021"/>
                  </a:cubicBezTo>
                  <a:cubicBezTo>
                    <a:pt x="654937" y="7942"/>
                    <a:pt x="652927" y="7363"/>
                    <a:pt x="650888" y="7358"/>
                  </a:cubicBezTo>
                  <a:lnTo>
                    <a:pt x="412780" y="7358"/>
                  </a:lnTo>
                  <a:close/>
                  <a:moveTo>
                    <a:pt x="1446105" y="8240"/>
                  </a:moveTo>
                  <a:cubicBezTo>
                    <a:pt x="1437514" y="10272"/>
                    <a:pt x="1429894" y="15174"/>
                    <a:pt x="1424484" y="22127"/>
                  </a:cubicBezTo>
                  <a:cubicBezTo>
                    <a:pt x="1419112" y="29080"/>
                    <a:pt x="1416254" y="37666"/>
                    <a:pt x="1416378" y="46473"/>
                  </a:cubicBezTo>
                  <a:lnTo>
                    <a:pt x="1416378" y="173313"/>
                  </a:lnTo>
                  <a:lnTo>
                    <a:pt x="1210980" y="9758"/>
                  </a:lnTo>
                  <a:cubicBezTo>
                    <a:pt x="1209361" y="8475"/>
                    <a:pt x="1207427" y="7675"/>
                    <a:pt x="1205389" y="7453"/>
                  </a:cubicBezTo>
                  <a:cubicBezTo>
                    <a:pt x="1203341" y="7230"/>
                    <a:pt x="1201274" y="7580"/>
                    <a:pt x="1199426" y="8482"/>
                  </a:cubicBezTo>
                  <a:cubicBezTo>
                    <a:pt x="1197569" y="9377"/>
                    <a:pt x="1196006" y="10773"/>
                    <a:pt x="1194921" y="12520"/>
                  </a:cubicBezTo>
                  <a:cubicBezTo>
                    <a:pt x="1193835" y="14273"/>
                    <a:pt x="1193254" y="16285"/>
                    <a:pt x="1193263" y="18343"/>
                  </a:cubicBezTo>
                  <a:lnTo>
                    <a:pt x="1193263" y="280243"/>
                  </a:lnTo>
                  <a:cubicBezTo>
                    <a:pt x="1193120" y="289054"/>
                    <a:pt x="1195987" y="297645"/>
                    <a:pt x="1201388" y="304589"/>
                  </a:cubicBezTo>
                  <a:cubicBezTo>
                    <a:pt x="1206789" y="311542"/>
                    <a:pt x="1214409" y="316447"/>
                    <a:pt x="1222962" y="318486"/>
                  </a:cubicBezTo>
                  <a:cubicBezTo>
                    <a:pt x="1228525" y="319714"/>
                    <a:pt x="1234288" y="319667"/>
                    <a:pt x="1239803" y="318362"/>
                  </a:cubicBezTo>
                  <a:cubicBezTo>
                    <a:pt x="1245346" y="317066"/>
                    <a:pt x="1250518" y="314533"/>
                    <a:pt x="1254966" y="310961"/>
                  </a:cubicBezTo>
                  <a:cubicBezTo>
                    <a:pt x="1259415" y="307389"/>
                    <a:pt x="1263006" y="302874"/>
                    <a:pt x="1265444" y="297721"/>
                  </a:cubicBezTo>
                  <a:cubicBezTo>
                    <a:pt x="1267882" y="292587"/>
                    <a:pt x="1269159" y="286958"/>
                    <a:pt x="1269159" y="281272"/>
                  </a:cubicBezTo>
                  <a:lnTo>
                    <a:pt x="1269159" y="153323"/>
                  </a:lnTo>
                  <a:lnTo>
                    <a:pt x="1474538" y="316885"/>
                  </a:lnTo>
                  <a:cubicBezTo>
                    <a:pt x="1476195" y="318171"/>
                    <a:pt x="1478138" y="318962"/>
                    <a:pt x="1480148" y="319190"/>
                  </a:cubicBezTo>
                  <a:cubicBezTo>
                    <a:pt x="1482224" y="319419"/>
                    <a:pt x="1484291" y="319057"/>
                    <a:pt x="1486120" y="318162"/>
                  </a:cubicBezTo>
                  <a:cubicBezTo>
                    <a:pt x="1487949" y="317266"/>
                    <a:pt x="1489530" y="315866"/>
                    <a:pt x="1490625" y="314123"/>
                  </a:cubicBezTo>
                  <a:cubicBezTo>
                    <a:pt x="1491721" y="312380"/>
                    <a:pt x="1492273" y="310361"/>
                    <a:pt x="1492273" y="308303"/>
                  </a:cubicBezTo>
                  <a:lnTo>
                    <a:pt x="1492273" y="45444"/>
                  </a:lnTo>
                  <a:cubicBezTo>
                    <a:pt x="1492273" y="39748"/>
                    <a:pt x="1490997" y="34123"/>
                    <a:pt x="1488559" y="28985"/>
                  </a:cubicBezTo>
                  <a:cubicBezTo>
                    <a:pt x="1486120" y="23848"/>
                    <a:pt x="1482529" y="19327"/>
                    <a:pt x="1478081" y="15759"/>
                  </a:cubicBezTo>
                  <a:cubicBezTo>
                    <a:pt x="1473633" y="12190"/>
                    <a:pt x="1468461" y="9656"/>
                    <a:pt x="1462908" y="8354"/>
                  </a:cubicBezTo>
                  <a:cubicBezTo>
                    <a:pt x="1457364" y="7059"/>
                    <a:pt x="1451649" y="7015"/>
                    <a:pt x="1446105" y="8240"/>
                  </a:cubicBezTo>
                  <a:close/>
                  <a:moveTo>
                    <a:pt x="911265" y="76254"/>
                  </a:moveTo>
                  <a:cubicBezTo>
                    <a:pt x="998152" y="76254"/>
                    <a:pt x="1063066" y="122196"/>
                    <a:pt x="1063066" y="163286"/>
                  </a:cubicBezTo>
                  <a:cubicBezTo>
                    <a:pt x="1063066" y="204383"/>
                    <a:pt x="998152" y="250325"/>
                    <a:pt x="911265" y="250325"/>
                  </a:cubicBezTo>
                  <a:cubicBezTo>
                    <a:pt x="824397" y="250325"/>
                    <a:pt x="759483" y="204383"/>
                    <a:pt x="759483" y="163286"/>
                  </a:cubicBezTo>
                  <a:cubicBezTo>
                    <a:pt x="759483" y="122196"/>
                    <a:pt x="824397" y="76254"/>
                    <a:pt x="911265" y="76254"/>
                  </a:cubicBezTo>
                  <a:close/>
                  <a:moveTo>
                    <a:pt x="911265" y="67"/>
                  </a:moveTo>
                  <a:cubicBezTo>
                    <a:pt x="785515" y="67"/>
                    <a:pt x="683578" y="73142"/>
                    <a:pt x="683578" y="163286"/>
                  </a:cubicBezTo>
                  <a:cubicBezTo>
                    <a:pt x="683578" y="253421"/>
                    <a:pt x="785515" y="326506"/>
                    <a:pt x="911265" y="326506"/>
                  </a:cubicBezTo>
                  <a:cubicBezTo>
                    <a:pt x="1037024" y="326506"/>
                    <a:pt x="1138961" y="253421"/>
                    <a:pt x="1138961" y="163286"/>
                  </a:cubicBezTo>
                  <a:cubicBezTo>
                    <a:pt x="1138961" y="73142"/>
                    <a:pt x="1037024" y="67"/>
                    <a:pt x="911265" y="67"/>
                  </a:cubicBezTo>
                  <a:close/>
                </a:path>
              </a:pathLst>
            </a:custGeom>
            <a:grpFill/>
            <a:ln w="76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E111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8486572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57FB76B-2D85-4B74-4832-0849DD9255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5249F5-0093-48B0-B996-C4E44A87EAFB}" type="slidenum">
              <a:rPr lang="ru-RU" smtClean="0"/>
              <a:pPr/>
              <a:t>10</a:t>
            </a:fld>
            <a:endParaRPr lang="ru-RU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F7B0222-7038-C18E-EF47-F977C673C5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Как </a:t>
            </a:r>
            <a:r>
              <a:rPr lang="en-US" dirty="0"/>
              <a:t>A/B </a:t>
            </a:r>
            <a:r>
              <a:rPr lang="ru-RU" dirty="0"/>
              <a:t>меняет </a:t>
            </a:r>
            <a:r>
              <a:rPr lang="en-US" dirty="0"/>
              <a:t>Ozon</a:t>
            </a:r>
            <a:endParaRPr lang="en-RU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88B5731-AC58-8262-5EE8-53969D61284A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b="11322"/>
          <a:stretch/>
        </p:blipFill>
        <p:spPr>
          <a:xfrm>
            <a:off x="457200" y="1095628"/>
            <a:ext cx="11277600" cy="48469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076013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B7AE58-2E84-5EC1-15E1-FAD966ABD9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Как завести свой первый </a:t>
            </a:r>
            <a:r>
              <a:rPr lang="en-US" dirty="0"/>
              <a:t>A/B</a:t>
            </a:r>
            <a:endParaRPr lang="en-RU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6D310B-7E2A-BD65-4DD8-EED0D46F9E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5249F5-0093-48B0-B996-C4E44A87EAFB}" type="slidenum">
              <a:rPr lang="ru-RU" smtClean="0"/>
              <a:pPr/>
              <a:t>11</a:t>
            </a:fld>
            <a:endParaRPr lang="ru-RU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2CF8999-164F-FEC5-9C2F-10A3868E53F1}"/>
              </a:ext>
            </a:extLst>
          </p:cNvPr>
          <p:cNvSpPr txBox="1"/>
          <p:nvPr/>
        </p:nvSpPr>
        <p:spPr>
          <a:xfrm>
            <a:off x="639764" y="1425530"/>
            <a:ext cx="1298764" cy="26412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85000"/>
              </a:lnSpc>
            </a:pPr>
            <a:r>
              <a:rPr lang="en-US" sz="2000" b="1" dirty="0">
                <a:solidFill>
                  <a:schemeClr val="accent2"/>
                </a:solidFill>
              </a:rPr>
              <a:t>+</a:t>
            </a:r>
            <a:endParaRPr lang="ru-RU" sz="2000" b="1" dirty="0">
              <a:solidFill>
                <a:schemeClr val="accent2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7D0F6B7-3048-FBAD-9CA9-5BF4DCEAAFA7}"/>
              </a:ext>
            </a:extLst>
          </p:cNvPr>
          <p:cNvSpPr txBox="1"/>
          <p:nvPr/>
        </p:nvSpPr>
        <p:spPr>
          <a:xfrm>
            <a:off x="926276" y="1375584"/>
            <a:ext cx="10473244" cy="1141439"/>
          </a:xfrm>
          <a:prstGeom prst="rect">
            <a:avLst/>
          </a:prstGeom>
          <a:noFill/>
        </p:spPr>
        <p:txBody>
          <a:bodyPr wrap="square" lIns="0" tIns="0" rIns="0" bIns="216000">
            <a:spAutoFit/>
          </a:bodyPr>
          <a:lstStyle/>
          <a:p>
            <a:r>
              <a:rPr lang="ru-RU" sz="2000" dirty="0">
                <a:solidFill>
                  <a:schemeClr val="bg1"/>
                </a:solidFill>
              </a:rPr>
              <a:t>Подумать о том, какую гипотезу вы хотите протестировать, изменение каких метрик могут показать ее успех</a:t>
            </a:r>
            <a:endParaRPr lang="en-US" sz="20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2000" dirty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B6D2080-A973-ADD7-0770-35302589348C}"/>
              </a:ext>
            </a:extLst>
          </p:cNvPr>
          <p:cNvSpPr txBox="1"/>
          <p:nvPr/>
        </p:nvSpPr>
        <p:spPr>
          <a:xfrm>
            <a:off x="639764" y="2276205"/>
            <a:ext cx="1298764" cy="26412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85000"/>
              </a:lnSpc>
            </a:pPr>
            <a:r>
              <a:rPr lang="en-US" sz="2000" b="1" dirty="0">
                <a:solidFill>
                  <a:schemeClr val="accent2"/>
                </a:solidFill>
              </a:rPr>
              <a:t>+</a:t>
            </a:r>
            <a:endParaRPr lang="ru-RU" sz="2000" b="1" dirty="0">
              <a:solidFill>
                <a:schemeClr val="accent2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777F565-5D71-660D-25AB-FDEB1DF2122A}"/>
              </a:ext>
            </a:extLst>
          </p:cNvPr>
          <p:cNvSpPr txBox="1"/>
          <p:nvPr/>
        </p:nvSpPr>
        <p:spPr>
          <a:xfrm>
            <a:off x="926276" y="2226259"/>
            <a:ext cx="10473244" cy="525886"/>
          </a:xfrm>
          <a:prstGeom prst="rect">
            <a:avLst/>
          </a:prstGeom>
          <a:noFill/>
        </p:spPr>
        <p:txBody>
          <a:bodyPr wrap="square" lIns="0" tIns="0" rIns="0" bIns="216000">
            <a:spAutoFit/>
          </a:bodyPr>
          <a:lstStyle/>
          <a:p>
            <a:r>
              <a:rPr lang="ru-RU" sz="2000" dirty="0">
                <a:solidFill>
                  <a:schemeClr val="bg1"/>
                </a:solidFill>
              </a:rPr>
              <a:t>Проверить, есть ли интеграция с </a:t>
            </a:r>
            <a:r>
              <a:rPr lang="en-US" sz="2000" dirty="0">
                <a:solidFill>
                  <a:schemeClr val="bg1"/>
                </a:solidFill>
              </a:rPr>
              <a:t>A/B </a:t>
            </a:r>
            <a:r>
              <a:rPr lang="ru-RU" sz="2000" dirty="0">
                <a:solidFill>
                  <a:schemeClr val="bg1"/>
                </a:solidFill>
              </a:rPr>
              <a:t>платформой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420707C-A268-CE2F-5460-1D06E6A3BF63}"/>
              </a:ext>
            </a:extLst>
          </p:cNvPr>
          <p:cNvSpPr txBox="1"/>
          <p:nvPr/>
        </p:nvSpPr>
        <p:spPr>
          <a:xfrm>
            <a:off x="639764" y="2849791"/>
            <a:ext cx="1298764" cy="26412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85000"/>
              </a:lnSpc>
            </a:pPr>
            <a:r>
              <a:rPr lang="en-US" sz="2000" b="1" dirty="0">
                <a:solidFill>
                  <a:schemeClr val="accent2"/>
                </a:solidFill>
              </a:rPr>
              <a:t>+</a:t>
            </a:r>
            <a:endParaRPr lang="ru-RU" sz="2000" b="1" dirty="0">
              <a:solidFill>
                <a:schemeClr val="accent2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4A23497-911F-D04B-4F03-952768E2BA45}"/>
              </a:ext>
            </a:extLst>
          </p:cNvPr>
          <p:cNvSpPr txBox="1"/>
          <p:nvPr/>
        </p:nvSpPr>
        <p:spPr>
          <a:xfrm>
            <a:off x="926276" y="2799845"/>
            <a:ext cx="10910888" cy="1141439"/>
          </a:xfrm>
          <a:prstGeom prst="rect">
            <a:avLst/>
          </a:prstGeom>
          <a:noFill/>
        </p:spPr>
        <p:txBody>
          <a:bodyPr wrap="square" lIns="0" tIns="0" rIns="0" bIns="216000">
            <a:spAutoFit/>
          </a:bodyPr>
          <a:lstStyle/>
          <a:p>
            <a:r>
              <a:rPr lang="ru-RU" sz="2000" dirty="0">
                <a:solidFill>
                  <a:schemeClr val="bg1"/>
                </a:solidFill>
              </a:rPr>
              <a:t>Если интеграции нет, то нужно:</a:t>
            </a:r>
          </a:p>
          <a:p>
            <a:r>
              <a:rPr lang="ru-RU" sz="2000" dirty="0">
                <a:solidFill>
                  <a:schemeClr val="bg1"/>
                </a:solidFill>
              </a:rPr>
              <a:t>	- </a:t>
            </a:r>
            <a:r>
              <a:rPr lang="ru-RU" dirty="0">
                <a:solidFill>
                  <a:schemeClr val="bg1"/>
                </a:solidFill>
              </a:rPr>
              <a:t>Сгенерировать клиента к сервису </a:t>
            </a:r>
            <a:r>
              <a:rPr lang="en-US" dirty="0">
                <a:solidFill>
                  <a:schemeClr val="bg1"/>
                </a:solidFill>
              </a:rPr>
              <a:t>A/B-test-</a:t>
            </a:r>
            <a:r>
              <a:rPr lang="en-US" dirty="0" err="1">
                <a:solidFill>
                  <a:schemeClr val="bg1"/>
                </a:solidFill>
              </a:rPr>
              <a:t>api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ru-RU" dirty="0">
                <a:solidFill>
                  <a:schemeClr val="bg1"/>
                </a:solidFill>
              </a:rPr>
              <a:t>по инструкции с помощью </a:t>
            </a:r>
            <a:r>
              <a:rPr lang="en-US" dirty="0">
                <a:solidFill>
                  <a:schemeClr val="bg1"/>
                </a:solidFill>
              </a:rPr>
              <a:t>A/B-client-generator</a:t>
            </a:r>
            <a:endParaRPr lang="ru-RU" dirty="0">
              <a:solidFill>
                <a:schemeClr val="bg1"/>
              </a:solidFill>
            </a:endParaRPr>
          </a:p>
          <a:p>
            <a:r>
              <a:rPr lang="ru-RU" sz="2000" dirty="0">
                <a:solidFill>
                  <a:schemeClr val="bg1"/>
                </a:solidFill>
              </a:rPr>
              <a:t>	- </a:t>
            </a:r>
            <a:r>
              <a:rPr lang="ru-RU" dirty="0">
                <a:solidFill>
                  <a:schemeClr val="bg1"/>
                </a:solidFill>
              </a:rPr>
              <a:t>Создать сервис в </a:t>
            </a:r>
            <a:r>
              <a:rPr lang="en-US" dirty="0">
                <a:solidFill>
                  <a:schemeClr val="bg1"/>
                </a:solidFill>
              </a:rPr>
              <a:t>A</a:t>
            </a:r>
            <a:r>
              <a:rPr lang="ru-RU" dirty="0">
                <a:solidFill>
                  <a:schemeClr val="bg1"/>
                </a:solidFill>
              </a:rPr>
              <a:t>/</a:t>
            </a:r>
            <a:r>
              <a:rPr lang="en-US" dirty="0">
                <a:solidFill>
                  <a:schemeClr val="bg1"/>
                </a:solidFill>
              </a:rPr>
              <a:t>B </a:t>
            </a:r>
            <a:r>
              <a:rPr lang="ru-RU" dirty="0">
                <a:solidFill>
                  <a:schemeClr val="bg1"/>
                </a:solidFill>
              </a:rPr>
              <a:t>платформе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9588C4C-813B-DA24-DEE3-51ABC30713E8}"/>
              </a:ext>
            </a:extLst>
          </p:cNvPr>
          <p:cNvSpPr txBox="1"/>
          <p:nvPr/>
        </p:nvSpPr>
        <p:spPr>
          <a:xfrm>
            <a:off x="639764" y="4088876"/>
            <a:ext cx="1298764" cy="26412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85000"/>
              </a:lnSpc>
            </a:pPr>
            <a:r>
              <a:rPr lang="en-US" sz="2000" b="1" dirty="0">
                <a:solidFill>
                  <a:schemeClr val="accent2"/>
                </a:solidFill>
              </a:rPr>
              <a:t>+</a:t>
            </a:r>
            <a:endParaRPr lang="ru-RU" sz="2000" b="1" dirty="0">
              <a:solidFill>
                <a:schemeClr val="accent2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413F4F4-09DF-E0CB-DA93-BE56FEB8E2A5}"/>
              </a:ext>
            </a:extLst>
          </p:cNvPr>
          <p:cNvSpPr txBox="1"/>
          <p:nvPr/>
        </p:nvSpPr>
        <p:spPr>
          <a:xfrm>
            <a:off x="926276" y="3950830"/>
            <a:ext cx="10473244" cy="587441"/>
          </a:xfrm>
          <a:prstGeom prst="rect">
            <a:avLst/>
          </a:prstGeom>
          <a:noFill/>
        </p:spPr>
        <p:txBody>
          <a:bodyPr wrap="square" lIns="0" tIns="0" rIns="0" bIns="216000">
            <a:spAutoFit/>
          </a:bodyPr>
          <a:lstStyle/>
          <a:p>
            <a:r>
              <a:rPr lang="ru-RU" sz="2000" dirty="0">
                <a:solidFill>
                  <a:schemeClr val="bg1"/>
                </a:solidFill>
              </a:rPr>
              <a:t>Завести</a:t>
            </a:r>
            <a:r>
              <a:rPr lang="ru-RU" sz="2400" dirty="0">
                <a:solidFill>
                  <a:schemeClr val="bg1"/>
                </a:solidFill>
              </a:rPr>
              <a:t> </a:t>
            </a:r>
            <a:r>
              <a:rPr lang="ru-RU" sz="2000" dirty="0">
                <a:solidFill>
                  <a:schemeClr val="bg1"/>
                </a:solidFill>
              </a:rPr>
              <a:t>параметры, которые будут использоваться в </a:t>
            </a:r>
            <a:r>
              <a:rPr lang="en-US" sz="2000" dirty="0">
                <a:solidFill>
                  <a:schemeClr val="bg1"/>
                </a:solidFill>
              </a:rPr>
              <a:t>A/B </a:t>
            </a:r>
            <a:r>
              <a:rPr lang="ru-RU" sz="2000" dirty="0">
                <a:solidFill>
                  <a:schemeClr val="bg1"/>
                </a:solidFill>
              </a:rPr>
              <a:t>тесте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983F635-373F-337F-D715-C5216642DB40}"/>
              </a:ext>
            </a:extLst>
          </p:cNvPr>
          <p:cNvSpPr txBox="1"/>
          <p:nvPr/>
        </p:nvSpPr>
        <p:spPr>
          <a:xfrm>
            <a:off x="639764" y="4709506"/>
            <a:ext cx="1298764" cy="26412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85000"/>
              </a:lnSpc>
            </a:pPr>
            <a:r>
              <a:rPr lang="en-US" sz="2000" b="1" dirty="0">
                <a:solidFill>
                  <a:schemeClr val="accent2"/>
                </a:solidFill>
              </a:rPr>
              <a:t>+</a:t>
            </a:r>
            <a:endParaRPr lang="ru-RU" sz="2000" b="1" dirty="0">
              <a:solidFill>
                <a:schemeClr val="accent2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DD882A6-01A0-8DAC-2600-7EB222895A99}"/>
              </a:ext>
            </a:extLst>
          </p:cNvPr>
          <p:cNvSpPr txBox="1"/>
          <p:nvPr/>
        </p:nvSpPr>
        <p:spPr>
          <a:xfrm>
            <a:off x="926276" y="4675777"/>
            <a:ext cx="10473244" cy="525886"/>
          </a:xfrm>
          <a:prstGeom prst="rect">
            <a:avLst/>
          </a:prstGeom>
          <a:noFill/>
        </p:spPr>
        <p:txBody>
          <a:bodyPr wrap="square" lIns="0" tIns="0" rIns="0" bIns="216000">
            <a:spAutoFit/>
          </a:bodyPr>
          <a:lstStyle/>
          <a:p>
            <a:r>
              <a:rPr lang="ru-RU" sz="2000" dirty="0">
                <a:solidFill>
                  <a:schemeClr val="bg1"/>
                </a:solidFill>
              </a:rPr>
              <a:t>Написать логику обработки параметров в коде вашего сервиса </a:t>
            </a:r>
          </a:p>
        </p:txBody>
      </p:sp>
      <p:sp>
        <p:nvSpPr>
          <p:cNvPr id="18" name="Прямоугольник: скругленные углы 6">
            <a:extLst>
              <a:ext uri="{FF2B5EF4-FFF2-40B4-BE49-F238E27FC236}">
                <a16:creationId xmlns:a16="http://schemas.microsoft.com/office/drawing/2014/main" id="{DD2B0734-F2C8-7924-BB1E-D05857AC23EE}"/>
              </a:ext>
            </a:extLst>
          </p:cNvPr>
          <p:cNvSpPr/>
          <p:nvPr/>
        </p:nvSpPr>
        <p:spPr>
          <a:xfrm>
            <a:off x="9108733" y="3777578"/>
            <a:ext cx="2457061" cy="2457061"/>
          </a:xfrm>
          <a:prstGeom prst="roundRect">
            <a:avLst>
              <a:gd name="adj" fmla="val 15213"/>
            </a:avLst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Если нужно, размести </a:t>
            </a:r>
            <a:br>
              <a:rPr kumimoji="0" lang="ru-RU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ru-RU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тут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R</a:t>
            </a:r>
            <a:r>
              <a:rPr kumimoji="0" lang="ru-RU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код или удали </a:t>
            </a:r>
            <a:br>
              <a:rPr kumimoji="0" lang="ru-RU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ru-RU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эту фигуру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FC79A081-6D28-C2A8-1B0B-A1CDB77FF43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72461" y="3922385"/>
            <a:ext cx="2127059" cy="21270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692331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1211A31-8E46-969E-204D-987FAA273B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>
            <a:extLst>
              <a:ext uri="{FF2B5EF4-FFF2-40B4-BE49-F238E27FC236}">
                <a16:creationId xmlns:a16="http://schemas.microsoft.com/office/drawing/2014/main" id="{7E8CB795-8CB8-6056-7708-F611ADD951F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/>
              <a:t>0</a:t>
            </a:r>
            <a:r>
              <a:rPr lang="en-US" dirty="0"/>
              <a:t>2</a:t>
            </a:r>
            <a:endParaRPr lang="ru-RU" dirty="0"/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EF204D1D-B9E2-D443-4FD2-4C1F803C7A7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58321" y="2580370"/>
            <a:ext cx="6784279" cy="1412510"/>
          </a:xfrm>
        </p:spPr>
        <p:txBody>
          <a:bodyPr/>
          <a:lstStyle/>
          <a:p>
            <a:r>
              <a:rPr lang="ru-RU" dirty="0"/>
              <a:t>История развития </a:t>
            </a:r>
            <a:r>
              <a:rPr lang="en-US" dirty="0"/>
              <a:t>A/B </a:t>
            </a:r>
            <a:r>
              <a:rPr lang="ru-RU" dirty="0"/>
              <a:t>платформы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1044EC8-9A22-3DC6-54F6-FE2F095FA0F5}"/>
              </a:ext>
            </a:extLst>
          </p:cNvPr>
          <p:cNvSpPr txBox="1"/>
          <p:nvPr/>
        </p:nvSpPr>
        <p:spPr>
          <a:xfrm>
            <a:off x="4281489" y="4340904"/>
            <a:ext cx="3083717" cy="17310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Из чего состоит 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/B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латформа</a:t>
            </a:r>
            <a:endParaRPr lang="en-US" sz="1400" dirty="0">
              <a:solidFill>
                <a:srgbClr val="FFFFFF"/>
              </a:solidFill>
              <a:latin typeface="Arial"/>
            </a:endParaRP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1400" dirty="0">
                <a:solidFill>
                  <a:srgbClr val="FFFFFF"/>
                </a:solidFill>
                <a:latin typeface="Arial"/>
              </a:rPr>
              <a:t>Про передачу конфигов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1400" dirty="0">
                <a:solidFill>
                  <a:srgbClr val="FFFFFF"/>
                </a:solidFill>
                <a:latin typeface="Arial"/>
              </a:rPr>
              <a:t>Интеграция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с 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emcached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80975" indent="-180975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Бинарный протокол</a:t>
            </a: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7655398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9844643D-0129-5344-29ED-6283F0C0F2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5249F5-0093-48B0-B996-C4E44A87EAFB}" type="slidenum">
              <a:rPr lang="ru-RU" smtClean="0"/>
              <a:pPr/>
              <a:t>13</a:t>
            </a:fld>
            <a:endParaRPr lang="ru-RU"/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7FA8E34D-529E-E20D-549A-53ADF4ADF0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9764" y="411163"/>
            <a:ext cx="10910888" cy="684465"/>
          </a:xfrm>
        </p:spPr>
        <p:txBody>
          <a:bodyPr/>
          <a:lstStyle/>
          <a:p>
            <a:r>
              <a:rPr lang="ru-RU" sz="4000" spc="0" dirty="0">
                <a:solidFill>
                  <a:srgbClr val="FFFFFF"/>
                </a:solidFill>
                <a:latin typeface="Arial"/>
                <a:ea typeface="+mn-ea"/>
                <a:cs typeface="+mn-cs"/>
              </a:rPr>
              <a:t>Устройство </a:t>
            </a:r>
            <a:r>
              <a:rPr lang="en-US" sz="4000" spc="0" dirty="0">
                <a:solidFill>
                  <a:srgbClr val="FFFFFF"/>
                </a:solidFill>
                <a:latin typeface="Arial"/>
                <a:ea typeface="+mn-ea"/>
                <a:cs typeface="+mn-cs"/>
              </a:rPr>
              <a:t>A</a:t>
            </a:r>
            <a:r>
              <a:rPr lang="ru-RU" sz="4000" spc="0" dirty="0">
                <a:solidFill>
                  <a:srgbClr val="FFFFFF"/>
                </a:solidFill>
                <a:latin typeface="Arial"/>
                <a:ea typeface="+mn-ea"/>
                <a:cs typeface="+mn-cs"/>
              </a:rPr>
              <a:t>/</a:t>
            </a:r>
            <a:r>
              <a:rPr lang="en-US" sz="4000" spc="0" dirty="0">
                <a:solidFill>
                  <a:srgbClr val="FFFFFF"/>
                </a:solidFill>
                <a:latin typeface="Arial"/>
                <a:ea typeface="+mn-ea"/>
                <a:cs typeface="+mn-cs"/>
              </a:rPr>
              <a:t>B </a:t>
            </a:r>
            <a:r>
              <a:rPr lang="ru-RU" sz="4000" spc="0" dirty="0">
                <a:solidFill>
                  <a:srgbClr val="FFFFFF"/>
                </a:solidFill>
                <a:latin typeface="Arial"/>
                <a:ea typeface="+mn-ea"/>
                <a:cs typeface="+mn-cs"/>
              </a:rPr>
              <a:t>платформы</a:t>
            </a:r>
            <a:endParaRPr lang="ru-RU" dirty="0"/>
          </a:p>
        </p:txBody>
      </p:sp>
      <p:sp>
        <p:nvSpPr>
          <p:cNvPr id="7" name="Прямоугольник: скругленные углы 19">
            <a:extLst>
              <a:ext uri="{FF2B5EF4-FFF2-40B4-BE49-F238E27FC236}">
                <a16:creationId xmlns:a16="http://schemas.microsoft.com/office/drawing/2014/main" id="{60C2C56D-1129-1CD6-3686-DA60F51AAC82}"/>
              </a:ext>
            </a:extLst>
          </p:cNvPr>
          <p:cNvSpPr/>
          <p:nvPr/>
        </p:nvSpPr>
        <p:spPr>
          <a:xfrm>
            <a:off x="7599771" y="3086767"/>
            <a:ext cx="1874981" cy="684466"/>
          </a:xfrm>
          <a:prstGeom prst="roundRect">
            <a:avLst>
              <a:gd name="adj" fmla="val 14757"/>
            </a:avLst>
          </a:prstGeom>
          <a:solidFill>
            <a:srgbClr val="005A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0" rIns="0" bIns="0" rtlCol="0" anchor="ctr"/>
          <a:lstStyle/>
          <a:p>
            <a:pPr algn="ctr"/>
            <a:r>
              <a:rPr lang="en-US" sz="1600" b="1" dirty="0">
                <a:solidFill>
                  <a:srgbClr val="FFFFFF"/>
                </a:solidFill>
              </a:rPr>
              <a:t>A/B-test-</a:t>
            </a:r>
            <a:r>
              <a:rPr lang="en-US" sz="1600" b="1" dirty="0" err="1">
                <a:solidFill>
                  <a:srgbClr val="FFFFFF"/>
                </a:solidFill>
              </a:rPr>
              <a:t>api</a:t>
            </a:r>
            <a:endParaRPr lang="ru-RU" sz="1600" b="1" dirty="0">
              <a:solidFill>
                <a:srgbClr val="FFFFFF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FF76E4C-CB68-9BB3-F45E-64D5551F0E77}"/>
              </a:ext>
            </a:extLst>
          </p:cNvPr>
          <p:cNvSpPr txBox="1"/>
          <p:nvPr/>
        </p:nvSpPr>
        <p:spPr>
          <a:xfrm>
            <a:off x="7599771" y="4292570"/>
            <a:ext cx="2929684" cy="40626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en-RU"/>
            </a:defPPr>
            <a:lvl1pPr>
              <a:lnSpc>
                <a:spcPct val="85000"/>
              </a:lnSpc>
              <a:defRPr sz="1200" b="0">
                <a:solidFill>
                  <a:schemeClr val="accent2"/>
                </a:solidFill>
              </a:defRPr>
            </a:lvl1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bg1"/>
                </a:solidFill>
              </a:rPr>
              <a:t>Динамическое определение А/</a:t>
            </a:r>
            <a:r>
              <a:rPr lang="en-GB" sz="1400" dirty="0">
                <a:solidFill>
                  <a:schemeClr val="bg1"/>
                </a:solidFill>
              </a:rPr>
              <a:t>B-</a:t>
            </a:r>
            <a:r>
              <a:rPr lang="ru-RU" sz="1400" dirty="0">
                <a:solidFill>
                  <a:schemeClr val="bg1"/>
                </a:solidFill>
              </a:rPr>
              <a:t>групп для пользователя</a:t>
            </a:r>
            <a:endParaRPr lang="en-RU" sz="1400" dirty="0">
              <a:solidFill>
                <a:schemeClr val="bg1"/>
              </a:solidFill>
            </a:endParaRPr>
          </a:p>
        </p:txBody>
      </p:sp>
      <p:sp>
        <p:nvSpPr>
          <p:cNvPr id="10" name="Прямоугольник: скругленные углы 19">
            <a:extLst>
              <a:ext uri="{FF2B5EF4-FFF2-40B4-BE49-F238E27FC236}">
                <a16:creationId xmlns:a16="http://schemas.microsoft.com/office/drawing/2014/main" id="{FD9BF26E-FF70-777F-5ABB-3912259EAF80}"/>
              </a:ext>
            </a:extLst>
          </p:cNvPr>
          <p:cNvSpPr/>
          <p:nvPr/>
        </p:nvSpPr>
        <p:spPr>
          <a:xfrm>
            <a:off x="1343677" y="3086767"/>
            <a:ext cx="2108969" cy="684466"/>
          </a:xfrm>
          <a:prstGeom prst="roundRect">
            <a:avLst>
              <a:gd name="adj" fmla="val 14757"/>
            </a:avLst>
          </a:prstGeom>
          <a:solidFill>
            <a:srgbClr val="005A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0" rIns="0" bIns="0" rtlCol="0" anchor="ctr"/>
          <a:lstStyle/>
          <a:p>
            <a:pPr algn="ctr"/>
            <a:r>
              <a:rPr lang="en-US" sz="1600" b="1" dirty="0">
                <a:solidFill>
                  <a:srgbClr val="FFFFFF"/>
                </a:solidFill>
              </a:rPr>
              <a:t>A/B-controller-</a:t>
            </a:r>
            <a:r>
              <a:rPr lang="en-US" sz="1600" b="1" dirty="0" err="1">
                <a:solidFill>
                  <a:srgbClr val="FFFFFF"/>
                </a:solidFill>
              </a:rPr>
              <a:t>api</a:t>
            </a:r>
            <a:endParaRPr lang="ru-RU" sz="1600" b="1" dirty="0">
              <a:solidFill>
                <a:srgbClr val="FFFFFF"/>
              </a:solidFill>
            </a:endParaRPr>
          </a:p>
        </p:txBody>
      </p:sp>
      <p:sp>
        <p:nvSpPr>
          <p:cNvPr id="11" name="Прямоугольник: скругленные углы 19">
            <a:extLst>
              <a:ext uri="{FF2B5EF4-FFF2-40B4-BE49-F238E27FC236}">
                <a16:creationId xmlns:a16="http://schemas.microsoft.com/office/drawing/2014/main" id="{5342A948-2A50-7664-67F1-707FAB6AC1FC}"/>
              </a:ext>
            </a:extLst>
          </p:cNvPr>
          <p:cNvSpPr/>
          <p:nvPr/>
        </p:nvSpPr>
        <p:spPr>
          <a:xfrm>
            <a:off x="4470931" y="1945929"/>
            <a:ext cx="2108969" cy="684466"/>
          </a:xfrm>
          <a:prstGeom prst="roundRect">
            <a:avLst>
              <a:gd name="adj" fmla="val 14757"/>
            </a:avLst>
          </a:prstGeom>
          <a:noFill/>
          <a:ln w="28575">
            <a:solidFill>
              <a:srgbClr val="005A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0" rIns="0" bIns="0" rtlCol="0" anchor="ctr"/>
          <a:lstStyle/>
          <a:p>
            <a:pPr algn="ctr"/>
            <a:r>
              <a:rPr lang="en-US" sz="1600" dirty="0">
                <a:solidFill>
                  <a:srgbClr val="FFFFFF"/>
                </a:solidFill>
              </a:rPr>
              <a:t>ETCD</a:t>
            </a:r>
          </a:p>
          <a:p>
            <a:pPr algn="ctr"/>
            <a:r>
              <a:rPr lang="en-US" sz="1600" dirty="0">
                <a:solidFill>
                  <a:srgbClr val="FFFFFF"/>
                </a:solidFill>
              </a:rPr>
              <a:t>(key-value storage)</a:t>
            </a:r>
            <a:endParaRPr lang="ru-RU" sz="1600" dirty="0">
              <a:solidFill>
                <a:srgbClr val="FFFFFF"/>
              </a:solidFill>
            </a:endParaRP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9AFDE4AB-E0E8-6899-7A95-EEFB6A4BBAE2}"/>
              </a:ext>
            </a:extLst>
          </p:cNvPr>
          <p:cNvCxnSpPr>
            <a:cxnSpLocks/>
            <a:stCxn id="10" idx="3"/>
            <a:endCxn id="11" idx="1"/>
          </p:cNvCxnSpPr>
          <p:nvPr/>
        </p:nvCxnSpPr>
        <p:spPr>
          <a:xfrm flipV="1">
            <a:off x="3452646" y="2288162"/>
            <a:ext cx="1018285" cy="1140838"/>
          </a:xfrm>
          <a:prstGeom prst="bentConnector3">
            <a:avLst>
              <a:gd name="adj1" fmla="val 50824"/>
            </a:avLst>
          </a:prstGeom>
          <a:ln w="12700" cap="flat"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>
            <a:extLst>
              <a:ext uri="{FF2B5EF4-FFF2-40B4-BE49-F238E27FC236}">
                <a16:creationId xmlns:a16="http://schemas.microsoft.com/office/drawing/2014/main" id="{DA217BC8-9029-5874-63C1-67DEF1F6F723}"/>
              </a:ext>
            </a:extLst>
          </p:cNvPr>
          <p:cNvCxnSpPr>
            <a:stCxn id="7" idx="1"/>
            <a:endCxn id="11" idx="3"/>
          </p:cNvCxnSpPr>
          <p:nvPr/>
        </p:nvCxnSpPr>
        <p:spPr>
          <a:xfrm rot="10800000">
            <a:off x="6579901" y="2288162"/>
            <a:ext cx="1019871" cy="1140838"/>
          </a:xfrm>
          <a:prstGeom prst="bentConnector3">
            <a:avLst/>
          </a:prstGeom>
          <a:ln w="12700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icture 19">
            <a:extLst>
              <a:ext uri="{FF2B5EF4-FFF2-40B4-BE49-F238E27FC236}">
                <a16:creationId xmlns:a16="http://schemas.microsoft.com/office/drawing/2014/main" id="{BA22CB00-57FF-8B3E-3925-35115C06CC18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4470931" y="3586817"/>
            <a:ext cx="875719" cy="875719"/>
          </a:xfrm>
          <a:prstGeom prst="rect">
            <a:avLst/>
          </a:prstGeom>
        </p:spPr>
      </p:pic>
      <p:cxnSp>
        <p:nvCxnSpPr>
          <p:cNvPr id="22" name="Elbow Connector 21">
            <a:extLst>
              <a:ext uri="{FF2B5EF4-FFF2-40B4-BE49-F238E27FC236}">
                <a16:creationId xmlns:a16="http://schemas.microsoft.com/office/drawing/2014/main" id="{11CEC398-F851-48BB-EB1E-9914DBA2AB0A}"/>
              </a:ext>
            </a:extLst>
          </p:cNvPr>
          <p:cNvCxnSpPr>
            <a:stCxn id="10" idx="3"/>
            <a:endCxn id="20" idx="1"/>
          </p:cNvCxnSpPr>
          <p:nvPr/>
        </p:nvCxnSpPr>
        <p:spPr>
          <a:xfrm>
            <a:off x="3452646" y="3429000"/>
            <a:ext cx="1018285" cy="595677"/>
          </a:xfrm>
          <a:prstGeom prst="bentConnector3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8A351DA6-215F-D787-54AA-681B17E5BDF9}"/>
              </a:ext>
            </a:extLst>
          </p:cNvPr>
          <p:cNvSpPr txBox="1"/>
          <p:nvPr/>
        </p:nvSpPr>
        <p:spPr>
          <a:xfrm>
            <a:off x="639764" y="4223650"/>
            <a:ext cx="3831167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F3F7FA"/>
                </a:solidFill>
              </a:rPr>
              <a:t>Добавление новых </a:t>
            </a:r>
            <a:r>
              <a:rPr lang="en-US" sz="1400" dirty="0">
                <a:solidFill>
                  <a:srgbClr val="F3F7FA"/>
                </a:solidFill>
              </a:rPr>
              <a:t>A/B </a:t>
            </a:r>
            <a:r>
              <a:rPr lang="ru-RU" sz="1400" dirty="0">
                <a:solidFill>
                  <a:srgbClr val="F3F7FA"/>
                </a:solidFill>
              </a:rPr>
              <a:t>экспериментов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F3F7FA"/>
                </a:solidFill>
              </a:rPr>
              <a:t>Хранение информации об </a:t>
            </a:r>
            <a:r>
              <a:rPr lang="en-US" sz="1400" dirty="0">
                <a:solidFill>
                  <a:srgbClr val="F3F7FA"/>
                </a:solidFill>
              </a:rPr>
              <a:t>A/B </a:t>
            </a:r>
            <a:r>
              <a:rPr lang="ru-RU" sz="1400" dirty="0">
                <a:solidFill>
                  <a:srgbClr val="F3F7FA"/>
                </a:solidFill>
              </a:rPr>
              <a:t>экспериментах</a:t>
            </a:r>
            <a:endParaRPr lang="en-RU" sz="1400" dirty="0">
              <a:solidFill>
                <a:srgbClr val="F3F7FA"/>
              </a:solidFill>
            </a:endParaRP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9B8A04D0-D4A3-E2F4-73CC-09B6304CF502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9826342" y="2825157"/>
            <a:ext cx="523220" cy="523220"/>
          </a:xfrm>
          <a:prstGeom prst="rect">
            <a:avLst/>
          </a:prstGeom>
        </p:spPr>
      </p:pic>
      <p:cxnSp>
        <p:nvCxnSpPr>
          <p:cNvPr id="27" name="Elbow Connector 26">
            <a:extLst>
              <a:ext uri="{FF2B5EF4-FFF2-40B4-BE49-F238E27FC236}">
                <a16:creationId xmlns:a16="http://schemas.microsoft.com/office/drawing/2014/main" id="{9AFCE4AE-E3E0-B008-962D-B02CC8F467AA}"/>
              </a:ext>
            </a:extLst>
          </p:cNvPr>
          <p:cNvCxnSpPr>
            <a:stCxn id="7" idx="3"/>
            <a:endCxn id="25" idx="1"/>
          </p:cNvCxnSpPr>
          <p:nvPr/>
        </p:nvCxnSpPr>
        <p:spPr>
          <a:xfrm flipV="1">
            <a:off x="9474752" y="3086767"/>
            <a:ext cx="351590" cy="342233"/>
          </a:xfrm>
          <a:prstGeom prst="bentConnector3">
            <a:avLst/>
          </a:prstGeom>
          <a:ln w="12700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E330F0D8-58B4-2B36-D951-7BB66DE7D882}"/>
              </a:ext>
            </a:extLst>
          </p:cNvPr>
          <p:cNvSpPr txBox="1"/>
          <p:nvPr/>
        </p:nvSpPr>
        <p:spPr>
          <a:xfrm>
            <a:off x="9657700" y="2436757"/>
            <a:ext cx="1892951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dirty="0">
                <a:solidFill>
                  <a:srgbClr val="F3F7FA"/>
                </a:solidFill>
              </a:rPr>
              <a:t>In-memory cache</a:t>
            </a:r>
            <a:endParaRPr lang="en-RU" sz="1600" dirty="0">
              <a:solidFill>
                <a:srgbClr val="F3F7FA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CDE2A93-CC7B-F577-A41C-4D9B339FDFA1}"/>
              </a:ext>
            </a:extLst>
          </p:cNvPr>
          <p:cNvSpPr txBox="1"/>
          <p:nvPr/>
        </p:nvSpPr>
        <p:spPr>
          <a:xfrm>
            <a:off x="8633599" y="1350625"/>
            <a:ext cx="2932195" cy="5632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en-RU"/>
            </a:defPPr>
            <a:lvl1pPr>
              <a:lnSpc>
                <a:spcPct val="85000"/>
              </a:lnSpc>
              <a:defRPr sz="1200" b="1">
                <a:solidFill>
                  <a:schemeClr val="accent2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400" b="0" dirty="0">
                <a:solidFill>
                  <a:schemeClr val="bg1"/>
                </a:solidFill>
              </a:rPr>
              <a:t>Локальный кэш для быстрой отдачи информации о попадании пользователей в </a:t>
            </a:r>
            <a:r>
              <a:rPr lang="en-US" sz="1400" b="0" dirty="0">
                <a:solidFill>
                  <a:schemeClr val="bg1"/>
                </a:solidFill>
              </a:rPr>
              <a:t>A/B</a:t>
            </a:r>
            <a:endParaRPr lang="en-RU" sz="1400" b="0" dirty="0">
              <a:solidFill>
                <a:schemeClr val="bg1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FF44ACB-D362-C8E0-B413-FDCDFFF4A292}"/>
              </a:ext>
            </a:extLst>
          </p:cNvPr>
          <p:cNvSpPr txBox="1"/>
          <p:nvPr/>
        </p:nvSpPr>
        <p:spPr>
          <a:xfrm>
            <a:off x="4206988" y="1245797"/>
            <a:ext cx="2932195" cy="5632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en-RU"/>
            </a:defPPr>
            <a:lvl1pPr>
              <a:lnSpc>
                <a:spcPct val="85000"/>
              </a:lnSpc>
              <a:defRPr sz="1200" b="1">
                <a:solidFill>
                  <a:schemeClr val="accent2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400" b="0" dirty="0">
                <a:solidFill>
                  <a:schemeClr val="bg1"/>
                </a:solidFill>
              </a:rPr>
              <a:t>Обмен информацией о новых </a:t>
            </a:r>
            <a:r>
              <a:rPr lang="en-US" sz="1400" b="0" dirty="0">
                <a:solidFill>
                  <a:schemeClr val="bg1"/>
                </a:solidFill>
              </a:rPr>
              <a:t>A/B </a:t>
            </a:r>
            <a:r>
              <a:rPr lang="ru-RU" sz="1400" b="0" dirty="0">
                <a:solidFill>
                  <a:schemeClr val="bg1"/>
                </a:solidFill>
              </a:rPr>
              <a:t>между сервисами </a:t>
            </a:r>
            <a:endParaRPr lang="en-RU" sz="14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994353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3A25C8E-E815-97A3-738C-6D7FFC9365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E6CFA799-939D-7C6D-E2E2-8DB1B6E129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5249F5-0093-48B0-B996-C4E44A87EAFB}" type="slidenum">
              <a:rPr lang="ru-RU" smtClean="0"/>
              <a:pPr/>
              <a:t>14</a:t>
            </a:fld>
            <a:endParaRPr lang="ru-RU"/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FEB15FAA-E4F5-9CDD-6011-87DCF698AF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9764" y="411163"/>
            <a:ext cx="10910888" cy="684465"/>
          </a:xfrm>
        </p:spPr>
        <p:txBody>
          <a:bodyPr/>
          <a:lstStyle/>
          <a:p>
            <a:r>
              <a:rPr lang="ru-RU" sz="4000" spc="0" dirty="0">
                <a:solidFill>
                  <a:srgbClr val="FFFFFF"/>
                </a:solidFill>
                <a:latin typeface="Arial"/>
                <a:ea typeface="+mn-ea"/>
                <a:cs typeface="+mn-cs"/>
              </a:rPr>
              <a:t>Устройство </a:t>
            </a:r>
            <a:r>
              <a:rPr lang="en-US" sz="4000" spc="0" dirty="0">
                <a:solidFill>
                  <a:srgbClr val="FFFFFF"/>
                </a:solidFill>
                <a:latin typeface="Arial"/>
                <a:ea typeface="+mn-ea"/>
                <a:cs typeface="+mn-cs"/>
              </a:rPr>
              <a:t>A/B </a:t>
            </a:r>
            <a:r>
              <a:rPr lang="ru-RU" sz="4000" spc="0" dirty="0">
                <a:solidFill>
                  <a:srgbClr val="FFFFFF"/>
                </a:solidFill>
                <a:latin typeface="Arial"/>
                <a:ea typeface="+mn-ea"/>
                <a:cs typeface="+mn-cs"/>
              </a:rPr>
              <a:t>платформы</a:t>
            </a:r>
            <a:endParaRPr lang="ru-RU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A7CE78F-9BBC-CD22-BBFD-E786DA53ADD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76850" y="1143947"/>
            <a:ext cx="7264400" cy="419100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3A175661-B9F0-2318-1D23-710498160F84}"/>
              </a:ext>
            </a:extLst>
          </p:cNvPr>
          <p:cNvSpPr txBox="1"/>
          <p:nvPr/>
        </p:nvSpPr>
        <p:spPr>
          <a:xfrm>
            <a:off x="639764" y="1176071"/>
            <a:ext cx="4637086" cy="1049106"/>
          </a:xfrm>
          <a:prstGeom prst="rect">
            <a:avLst/>
          </a:prstGeom>
          <a:noFill/>
        </p:spPr>
        <p:txBody>
          <a:bodyPr wrap="square" lIns="0" tIns="0" rIns="0" bIns="216000">
            <a:spAutoFit/>
          </a:bodyPr>
          <a:lstStyle/>
          <a:p>
            <a:r>
              <a:rPr lang="ru-RU" dirty="0">
                <a:solidFill>
                  <a:schemeClr val="bg1"/>
                </a:solidFill>
              </a:rPr>
              <a:t>Передача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json</a:t>
            </a:r>
            <a:r>
              <a:rPr lang="ru-RU" dirty="0">
                <a:solidFill>
                  <a:schemeClr val="bg1"/>
                </a:solidFill>
              </a:rPr>
              <a:t> конфигов </a:t>
            </a:r>
            <a:r>
              <a:rPr lang="ru-RU" b="0" i="0" u="none" strike="noStrike" dirty="0">
                <a:solidFill>
                  <a:schemeClr val="bg1"/>
                </a:solidFill>
                <a:effectLst/>
              </a:rPr>
              <a:t>в </a:t>
            </a:r>
            <a:r>
              <a:rPr lang="en-GB" b="0" i="0" u="none" strike="noStrike" dirty="0">
                <a:solidFill>
                  <a:schemeClr val="bg1"/>
                </a:solidFill>
                <a:effectLst/>
              </a:rPr>
              <a:t>head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63F7788-A997-5C38-97D0-3244394233E1}"/>
              </a:ext>
            </a:extLst>
          </p:cNvPr>
          <p:cNvSpPr txBox="1"/>
          <p:nvPr/>
        </p:nvSpPr>
        <p:spPr>
          <a:xfrm>
            <a:off x="639764" y="1893855"/>
            <a:ext cx="1298764" cy="26412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85000"/>
              </a:lnSpc>
            </a:pPr>
            <a:r>
              <a:rPr lang="en-US" b="1" dirty="0">
                <a:solidFill>
                  <a:schemeClr val="accent2"/>
                </a:solidFill>
              </a:rPr>
              <a:t>+</a:t>
            </a:r>
            <a:endParaRPr lang="ru-RU" b="1" dirty="0">
              <a:solidFill>
                <a:schemeClr val="accent2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619FD12-059E-7FB4-EEF3-A6B4F44805FC}"/>
              </a:ext>
            </a:extLst>
          </p:cNvPr>
          <p:cNvSpPr txBox="1"/>
          <p:nvPr/>
        </p:nvSpPr>
        <p:spPr>
          <a:xfrm>
            <a:off x="926276" y="1884549"/>
            <a:ext cx="4637086" cy="864440"/>
          </a:xfrm>
          <a:prstGeom prst="rect">
            <a:avLst/>
          </a:prstGeom>
          <a:noFill/>
        </p:spPr>
        <p:txBody>
          <a:bodyPr wrap="square" lIns="0" tIns="0" rIns="0" bIns="216000">
            <a:spAutoFit/>
          </a:bodyPr>
          <a:lstStyle/>
          <a:p>
            <a:r>
              <a:rPr lang="ru-RU" sz="1400" dirty="0">
                <a:solidFill>
                  <a:schemeClr val="bg1"/>
                </a:solidFill>
              </a:rPr>
              <a:t>Минимум разработки со стороны </a:t>
            </a:r>
            <a:r>
              <a:rPr lang="en-US" sz="1400" dirty="0">
                <a:solidFill>
                  <a:schemeClr val="bg1"/>
                </a:solidFill>
              </a:rPr>
              <a:t>A/B </a:t>
            </a:r>
            <a:r>
              <a:rPr lang="ru-RU" sz="1400" dirty="0">
                <a:solidFill>
                  <a:schemeClr val="bg1"/>
                </a:solidFill>
              </a:rPr>
              <a:t>платформы, нет необходимости поддерживать определённый контракт</a:t>
            </a:r>
            <a:endParaRPr lang="en-US" sz="14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400" dirty="0">
              <a:solidFill>
                <a:schemeClr val="bg1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6FE0F42-C8EC-D3BE-47BF-84B79861149B}"/>
              </a:ext>
            </a:extLst>
          </p:cNvPr>
          <p:cNvSpPr txBox="1"/>
          <p:nvPr/>
        </p:nvSpPr>
        <p:spPr>
          <a:xfrm>
            <a:off x="639764" y="2796585"/>
            <a:ext cx="1298764" cy="26412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85000"/>
              </a:lnSpc>
            </a:pPr>
            <a:r>
              <a:rPr lang="en-US" b="1" dirty="0">
                <a:solidFill>
                  <a:schemeClr val="accent2"/>
                </a:solidFill>
              </a:rPr>
              <a:t>+</a:t>
            </a:r>
            <a:endParaRPr lang="ru-RU" b="1" dirty="0">
              <a:solidFill>
                <a:schemeClr val="accent2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AEA30E8-B920-F389-55C0-6A4197C33B40}"/>
              </a:ext>
            </a:extLst>
          </p:cNvPr>
          <p:cNvSpPr txBox="1"/>
          <p:nvPr/>
        </p:nvSpPr>
        <p:spPr>
          <a:xfrm>
            <a:off x="926276" y="2807306"/>
            <a:ext cx="4637086" cy="1079884"/>
          </a:xfrm>
          <a:prstGeom prst="rect">
            <a:avLst/>
          </a:prstGeom>
          <a:noFill/>
        </p:spPr>
        <p:txBody>
          <a:bodyPr wrap="square" lIns="0" tIns="0" rIns="0" bIns="216000">
            <a:spAutoFit/>
          </a:bodyPr>
          <a:lstStyle/>
          <a:p>
            <a:r>
              <a:rPr lang="ru-RU" sz="1400" dirty="0">
                <a:solidFill>
                  <a:schemeClr val="bg1"/>
                </a:solidFill>
              </a:rPr>
              <a:t>Быстрее начать запускать</a:t>
            </a:r>
            <a:r>
              <a:rPr lang="en-US" sz="1400" dirty="0">
                <a:solidFill>
                  <a:schemeClr val="bg1"/>
                </a:solidFill>
              </a:rPr>
              <a:t> A/B </a:t>
            </a:r>
            <a:r>
              <a:rPr lang="ru-RU" sz="1400" dirty="0">
                <a:solidFill>
                  <a:schemeClr val="bg1"/>
                </a:solidFill>
              </a:rPr>
              <a:t>тесты, которые позволяют доказать или опровергнуть какую-то гипотезу</a:t>
            </a:r>
            <a:endParaRPr lang="en-US" sz="14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400" dirty="0">
              <a:solidFill>
                <a:schemeClr val="bg1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9D512D9-975A-C855-6F1E-1434B39693F4}"/>
              </a:ext>
            </a:extLst>
          </p:cNvPr>
          <p:cNvSpPr txBox="1"/>
          <p:nvPr/>
        </p:nvSpPr>
        <p:spPr>
          <a:xfrm>
            <a:off x="639764" y="3699315"/>
            <a:ext cx="1298764" cy="26412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85000"/>
              </a:lnSpc>
            </a:pPr>
            <a:r>
              <a:rPr lang="ru-RU" b="1" dirty="0">
                <a:solidFill>
                  <a:srgbClr val="FF0000"/>
                </a:solidFill>
              </a:rPr>
              <a:t>-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9A308AC-ECC0-F4EA-7675-439AF4D6DEF1}"/>
              </a:ext>
            </a:extLst>
          </p:cNvPr>
          <p:cNvSpPr txBox="1"/>
          <p:nvPr/>
        </p:nvSpPr>
        <p:spPr>
          <a:xfrm>
            <a:off x="926276" y="3721931"/>
            <a:ext cx="4637086" cy="864440"/>
          </a:xfrm>
          <a:prstGeom prst="rect">
            <a:avLst/>
          </a:prstGeom>
          <a:noFill/>
        </p:spPr>
        <p:txBody>
          <a:bodyPr wrap="square" lIns="0" tIns="0" rIns="0" bIns="216000">
            <a:spAutoFit/>
          </a:bodyPr>
          <a:lstStyle/>
          <a:p>
            <a:r>
              <a:rPr lang="ru-RU" sz="1400" dirty="0">
                <a:solidFill>
                  <a:schemeClr val="bg1"/>
                </a:solidFill>
              </a:rPr>
              <a:t>Стандартные ограничения на размер </a:t>
            </a:r>
            <a:r>
              <a:rPr lang="en-US" sz="1400" dirty="0">
                <a:solidFill>
                  <a:schemeClr val="bg1"/>
                </a:solidFill>
              </a:rPr>
              <a:t>header</a:t>
            </a:r>
            <a:r>
              <a:rPr lang="ru-RU" sz="1400" dirty="0">
                <a:solidFill>
                  <a:schemeClr val="bg1"/>
                </a:solidFill>
              </a:rPr>
              <a:t> от </a:t>
            </a:r>
            <a:r>
              <a:rPr lang="en-US" sz="1400" dirty="0">
                <a:solidFill>
                  <a:schemeClr val="bg1"/>
                </a:solidFill>
              </a:rPr>
              <a:t>Nginx </a:t>
            </a:r>
            <a:r>
              <a:rPr lang="ru-RU" sz="1400" dirty="0">
                <a:solidFill>
                  <a:schemeClr val="bg1"/>
                </a:solidFill>
              </a:rPr>
              <a:t>в 8Кб</a:t>
            </a:r>
            <a:endParaRPr lang="en-US" sz="14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400" dirty="0">
              <a:solidFill>
                <a:schemeClr val="bg1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3278EA7-A250-76D7-3D93-8C99C08D6133}"/>
              </a:ext>
            </a:extLst>
          </p:cNvPr>
          <p:cNvSpPr txBox="1"/>
          <p:nvPr/>
        </p:nvSpPr>
        <p:spPr>
          <a:xfrm>
            <a:off x="926276" y="4602045"/>
            <a:ext cx="4350574" cy="1079884"/>
          </a:xfrm>
          <a:prstGeom prst="rect">
            <a:avLst/>
          </a:prstGeom>
          <a:noFill/>
        </p:spPr>
        <p:txBody>
          <a:bodyPr wrap="square" lIns="0" tIns="0" rIns="0" bIns="216000">
            <a:spAutoFit/>
          </a:bodyPr>
          <a:lstStyle>
            <a:defPPr>
              <a:defRPr lang="en-RU"/>
            </a:defPPr>
            <a:lvl1pPr>
              <a:defRPr sz="140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В </a:t>
            </a:r>
            <a:r>
              <a:rPr lang="en-GB" dirty="0"/>
              <a:t>header </a:t>
            </a:r>
            <a:r>
              <a:rPr lang="ru-RU" dirty="0"/>
              <a:t>передаются не только данные об </a:t>
            </a:r>
            <a:r>
              <a:rPr lang="en-GB" dirty="0"/>
              <a:t>A/B </a:t>
            </a:r>
            <a:r>
              <a:rPr lang="ru-RU" dirty="0"/>
              <a:t>тестах, но и другие метаданные, и один заголовок про </a:t>
            </a:r>
            <a:r>
              <a:rPr lang="en-GB" dirty="0"/>
              <a:t>A/B </a:t>
            </a:r>
            <a:r>
              <a:rPr lang="ru-RU" dirty="0"/>
              <a:t>эксперименты не может занимать более 4 Кбайт</a:t>
            </a:r>
            <a:endParaRPr lang="en-RU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363E1FE-27D6-F886-8232-9EA5F8902AF2}"/>
              </a:ext>
            </a:extLst>
          </p:cNvPr>
          <p:cNvSpPr txBox="1"/>
          <p:nvPr/>
        </p:nvSpPr>
        <p:spPr>
          <a:xfrm>
            <a:off x="639764" y="4602045"/>
            <a:ext cx="1298764" cy="26412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85000"/>
              </a:lnSpc>
            </a:pPr>
            <a:r>
              <a:rPr lang="ru-RU" b="1" dirty="0">
                <a:solidFill>
                  <a:srgbClr val="FF0000"/>
                </a:solidFill>
              </a:rPr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395714806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D576F53-04FA-F39F-9D6A-388D4BF10A9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6E860537-4FD5-ED5D-FAFF-54F2A8F5C9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5249F5-0093-48B0-B996-C4E44A87EAFB}" type="slidenum">
              <a:rPr lang="ru-RU" smtClean="0"/>
              <a:pPr/>
              <a:t>15</a:t>
            </a:fld>
            <a:endParaRPr lang="ru-RU"/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9A2B6C23-1B6D-DB8B-5841-CE38914BFA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9764" y="411163"/>
            <a:ext cx="10910888" cy="684465"/>
          </a:xfrm>
        </p:spPr>
        <p:txBody>
          <a:bodyPr/>
          <a:lstStyle/>
          <a:p>
            <a:r>
              <a:rPr lang="ru-RU" sz="4000" spc="0" dirty="0">
                <a:solidFill>
                  <a:srgbClr val="FFFFFF"/>
                </a:solidFill>
                <a:latin typeface="Arial"/>
                <a:ea typeface="+mn-ea"/>
                <a:cs typeface="+mn-cs"/>
              </a:rPr>
              <a:t>Проблемы выбранного решения</a:t>
            </a:r>
            <a:endParaRPr lang="ru-RU" dirty="0"/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643541EB-980F-39AB-9153-B40C66A7B83F}"/>
              </a:ext>
            </a:extLst>
          </p:cNvPr>
          <p:cNvCxnSpPr/>
          <p:nvPr/>
        </p:nvCxnSpPr>
        <p:spPr>
          <a:xfrm flipV="1">
            <a:off x="2455817" y="1284968"/>
            <a:ext cx="0" cy="4474029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C3364071-E79B-4A99-56BE-42D596A9D7BE}"/>
              </a:ext>
            </a:extLst>
          </p:cNvPr>
          <p:cNvCxnSpPr>
            <a:cxnSpLocks/>
          </p:cNvCxnSpPr>
          <p:nvPr/>
        </p:nvCxnSpPr>
        <p:spPr>
          <a:xfrm>
            <a:off x="2449801" y="5758997"/>
            <a:ext cx="8049527" cy="0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F1AB501A-DF58-B0C1-7EF3-1B8076E07CC4}"/>
              </a:ext>
            </a:extLst>
          </p:cNvPr>
          <p:cNvSpPr txBox="1"/>
          <p:nvPr/>
        </p:nvSpPr>
        <p:spPr>
          <a:xfrm>
            <a:off x="1438111" y="4531098"/>
            <a:ext cx="81179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ru-RU" dirty="0">
                <a:solidFill>
                  <a:schemeClr val="bg1"/>
                </a:solidFill>
              </a:rPr>
              <a:t>1000</a:t>
            </a:r>
            <a:endParaRPr lang="en-RU" dirty="0">
              <a:solidFill>
                <a:schemeClr val="bg1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77F14D8-D44E-DD1D-FF1C-2A5DE0D57C03}"/>
              </a:ext>
            </a:extLst>
          </p:cNvPr>
          <p:cNvSpPr txBox="1"/>
          <p:nvPr/>
        </p:nvSpPr>
        <p:spPr>
          <a:xfrm>
            <a:off x="1438111" y="2727114"/>
            <a:ext cx="81179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ru-RU" dirty="0">
                <a:solidFill>
                  <a:schemeClr val="bg1"/>
                </a:solidFill>
              </a:rPr>
              <a:t>3000</a:t>
            </a:r>
            <a:endParaRPr lang="en-RU" dirty="0">
              <a:solidFill>
                <a:schemeClr val="bg1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3A56BB0-C8FE-59BA-E6B7-35144B040ED1}"/>
              </a:ext>
            </a:extLst>
          </p:cNvPr>
          <p:cNvSpPr txBox="1"/>
          <p:nvPr/>
        </p:nvSpPr>
        <p:spPr>
          <a:xfrm>
            <a:off x="1438111" y="3629106"/>
            <a:ext cx="81179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ru-RU" dirty="0">
                <a:solidFill>
                  <a:schemeClr val="bg1"/>
                </a:solidFill>
              </a:rPr>
              <a:t>2000</a:t>
            </a:r>
            <a:endParaRPr lang="en-RU" dirty="0">
              <a:solidFill>
                <a:schemeClr val="bg1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C99ED9F-4C46-5421-3417-9977BD141955}"/>
              </a:ext>
            </a:extLst>
          </p:cNvPr>
          <p:cNvSpPr txBox="1"/>
          <p:nvPr/>
        </p:nvSpPr>
        <p:spPr>
          <a:xfrm>
            <a:off x="1438111" y="1825122"/>
            <a:ext cx="81179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ru-RU" dirty="0">
                <a:solidFill>
                  <a:schemeClr val="bg1"/>
                </a:solidFill>
              </a:rPr>
              <a:t>4000</a:t>
            </a:r>
            <a:endParaRPr lang="en-RU" dirty="0">
              <a:solidFill>
                <a:schemeClr val="bg1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B2E1973-F476-15C6-AD76-9CE687627684}"/>
              </a:ext>
            </a:extLst>
          </p:cNvPr>
          <p:cNvSpPr txBox="1"/>
          <p:nvPr/>
        </p:nvSpPr>
        <p:spPr>
          <a:xfrm>
            <a:off x="1438111" y="5433091"/>
            <a:ext cx="81179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ru-RU" dirty="0">
                <a:solidFill>
                  <a:schemeClr val="bg1"/>
                </a:solidFill>
              </a:rPr>
              <a:t>0</a:t>
            </a:r>
            <a:endParaRPr lang="en-RU" dirty="0">
              <a:solidFill>
                <a:schemeClr val="bg1"/>
              </a:solidFill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2F749796-4194-A457-7DC4-04DD13EB751E}"/>
              </a:ext>
            </a:extLst>
          </p:cNvPr>
          <p:cNvCxnSpPr/>
          <p:nvPr/>
        </p:nvCxnSpPr>
        <p:spPr>
          <a:xfrm>
            <a:off x="2449801" y="2009788"/>
            <a:ext cx="7778720" cy="0"/>
          </a:xfrm>
          <a:prstGeom prst="line">
            <a:avLst/>
          </a:prstGeom>
          <a:ln w="12700">
            <a:solidFill>
              <a:srgbClr val="F53C1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E9E83C9C-BA41-197F-AAE0-089095CEF803}"/>
              </a:ext>
            </a:extLst>
          </p:cNvPr>
          <p:cNvSpPr txBox="1"/>
          <p:nvPr/>
        </p:nvSpPr>
        <p:spPr>
          <a:xfrm>
            <a:off x="2763703" y="6044309"/>
            <a:ext cx="149774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dirty="0">
                <a:solidFill>
                  <a:schemeClr val="bg1"/>
                </a:solidFill>
              </a:rPr>
              <a:t>Apr, 2022</a:t>
            </a:r>
            <a:endParaRPr lang="en-RU" dirty="0">
              <a:solidFill>
                <a:schemeClr val="bg1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DFE705C-7B57-AD58-57DA-378B7FE70308}"/>
              </a:ext>
            </a:extLst>
          </p:cNvPr>
          <p:cNvSpPr txBox="1"/>
          <p:nvPr/>
        </p:nvSpPr>
        <p:spPr>
          <a:xfrm>
            <a:off x="4422725" y="6044309"/>
            <a:ext cx="149774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dirty="0">
                <a:solidFill>
                  <a:schemeClr val="bg1"/>
                </a:solidFill>
              </a:rPr>
              <a:t>May, 2022</a:t>
            </a:r>
            <a:endParaRPr lang="en-RU" dirty="0">
              <a:solidFill>
                <a:schemeClr val="bg1"/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D262F6F-7C96-57FC-1CD2-C4F5268A56AB}"/>
              </a:ext>
            </a:extLst>
          </p:cNvPr>
          <p:cNvSpPr txBox="1"/>
          <p:nvPr/>
        </p:nvSpPr>
        <p:spPr>
          <a:xfrm>
            <a:off x="6081747" y="6044309"/>
            <a:ext cx="149774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dirty="0">
                <a:solidFill>
                  <a:schemeClr val="bg1"/>
                </a:solidFill>
              </a:rPr>
              <a:t>June, 2022</a:t>
            </a:r>
            <a:endParaRPr lang="en-RU" dirty="0">
              <a:solidFill>
                <a:schemeClr val="bg1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208AE1A-7A32-729A-3BE4-30196820C619}"/>
              </a:ext>
            </a:extLst>
          </p:cNvPr>
          <p:cNvSpPr txBox="1"/>
          <p:nvPr/>
        </p:nvSpPr>
        <p:spPr>
          <a:xfrm>
            <a:off x="7740769" y="6044309"/>
            <a:ext cx="149774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dirty="0">
                <a:solidFill>
                  <a:schemeClr val="bg1"/>
                </a:solidFill>
              </a:rPr>
              <a:t>July, 2022</a:t>
            </a:r>
            <a:endParaRPr lang="en-RU" dirty="0">
              <a:solidFill>
                <a:schemeClr val="bg1"/>
              </a:solidFill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B6C1EFE-9C83-C5D6-F27F-64A01423CF9A}"/>
              </a:ext>
            </a:extLst>
          </p:cNvPr>
          <p:cNvSpPr txBox="1"/>
          <p:nvPr/>
        </p:nvSpPr>
        <p:spPr>
          <a:xfrm>
            <a:off x="-911582" y="1030240"/>
            <a:ext cx="326444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ru-RU" dirty="0">
                <a:solidFill>
                  <a:schemeClr val="bg1"/>
                </a:solidFill>
              </a:rPr>
              <a:t>Размер</a:t>
            </a:r>
            <a:r>
              <a:rPr lang="en-US" dirty="0">
                <a:solidFill>
                  <a:schemeClr val="bg1"/>
                </a:solidFill>
              </a:rPr>
              <a:t> header,</a:t>
            </a:r>
          </a:p>
          <a:p>
            <a:pPr algn="r"/>
            <a:r>
              <a:rPr lang="ru-RU" dirty="0">
                <a:solidFill>
                  <a:schemeClr val="bg1"/>
                </a:solidFill>
              </a:rPr>
              <a:t>байты</a:t>
            </a:r>
            <a:endParaRPr lang="en-RU" dirty="0">
              <a:solidFill>
                <a:schemeClr val="bg1"/>
              </a:solidFill>
            </a:endParaRP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F8FD4B1B-33A1-CCD8-A8C9-E74707A15C67}"/>
              </a:ext>
            </a:extLst>
          </p:cNvPr>
          <p:cNvCxnSpPr/>
          <p:nvPr/>
        </p:nvCxnSpPr>
        <p:spPr>
          <a:xfrm flipV="1">
            <a:off x="3105509" y="5175849"/>
            <a:ext cx="2066089" cy="257242"/>
          </a:xfrm>
          <a:prstGeom prst="line">
            <a:avLst/>
          </a:prstGeom>
          <a:ln w="1270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64F1716E-842B-8353-BA67-5B8CD206B3A2}"/>
              </a:ext>
            </a:extLst>
          </p:cNvPr>
          <p:cNvCxnSpPr>
            <a:cxnSpLocks/>
          </p:cNvCxnSpPr>
          <p:nvPr/>
        </p:nvCxnSpPr>
        <p:spPr>
          <a:xfrm flipV="1">
            <a:off x="5171598" y="4788568"/>
            <a:ext cx="1848806" cy="387281"/>
          </a:xfrm>
          <a:prstGeom prst="line">
            <a:avLst/>
          </a:prstGeom>
          <a:ln w="1270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D21F5645-9365-A0C4-0F2A-37AFBBED235E}"/>
              </a:ext>
            </a:extLst>
          </p:cNvPr>
          <p:cNvCxnSpPr>
            <a:cxnSpLocks/>
          </p:cNvCxnSpPr>
          <p:nvPr/>
        </p:nvCxnSpPr>
        <p:spPr>
          <a:xfrm flipV="1">
            <a:off x="7011591" y="2009788"/>
            <a:ext cx="2074902" cy="2778780"/>
          </a:xfrm>
          <a:prstGeom prst="line">
            <a:avLst/>
          </a:prstGeom>
          <a:ln w="1270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8" name="TextBox 37">
            <a:extLst>
              <a:ext uri="{FF2B5EF4-FFF2-40B4-BE49-F238E27FC236}">
                <a16:creationId xmlns:a16="http://schemas.microsoft.com/office/drawing/2014/main" id="{C7940B80-6ADC-29D8-3BD3-3E8EDCFAA5D1}"/>
              </a:ext>
            </a:extLst>
          </p:cNvPr>
          <p:cNvSpPr txBox="1"/>
          <p:nvPr/>
        </p:nvSpPr>
        <p:spPr>
          <a:xfrm>
            <a:off x="6474564" y="1491905"/>
            <a:ext cx="326444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dirty="0">
                <a:solidFill>
                  <a:schemeClr val="bg1"/>
                </a:solidFill>
              </a:rPr>
              <a:t>stg </a:t>
            </a:r>
            <a:r>
              <a:rPr lang="ru-RU" dirty="0">
                <a:solidFill>
                  <a:schemeClr val="bg1"/>
                </a:solidFill>
              </a:rPr>
              <a:t>умер</a:t>
            </a:r>
            <a:endParaRPr lang="en-RU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11923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EC5B6E0-3B33-E368-470F-FE2E90D43C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CBF1DA1C-1381-2760-D02C-EF1D3CBE7F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5249F5-0093-48B0-B996-C4E44A87EAFB}" type="slidenum">
              <a:rPr lang="ru-RU" smtClean="0"/>
              <a:pPr/>
              <a:t>16</a:t>
            </a:fld>
            <a:endParaRPr lang="ru-RU"/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B13FD071-63AE-DCC1-683B-2A84724E5D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9764" y="411163"/>
            <a:ext cx="10910888" cy="684465"/>
          </a:xfrm>
        </p:spPr>
        <p:txBody>
          <a:bodyPr/>
          <a:lstStyle/>
          <a:p>
            <a:r>
              <a:rPr lang="ru-RU" sz="4000" spc="0" dirty="0">
                <a:solidFill>
                  <a:srgbClr val="FFFFFF"/>
                </a:solidFill>
                <a:latin typeface="Arial"/>
                <a:ea typeface="+mn-ea"/>
                <a:cs typeface="+mn-cs"/>
              </a:rPr>
              <a:t>Интеграция с </a:t>
            </a:r>
            <a:r>
              <a:rPr lang="en-US" sz="4000" spc="0" dirty="0">
                <a:solidFill>
                  <a:srgbClr val="FFFFFF"/>
                </a:solidFill>
                <a:latin typeface="Arial"/>
                <a:ea typeface="+mn-ea"/>
                <a:cs typeface="+mn-cs"/>
              </a:rPr>
              <a:t>memcached</a:t>
            </a:r>
            <a:endParaRPr lang="ru-RU" dirty="0"/>
          </a:p>
        </p:txBody>
      </p:sp>
      <p:sp>
        <p:nvSpPr>
          <p:cNvPr id="7" name="Прямоугольник: скругленные углы 19">
            <a:extLst>
              <a:ext uri="{FF2B5EF4-FFF2-40B4-BE49-F238E27FC236}">
                <a16:creationId xmlns:a16="http://schemas.microsoft.com/office/drawing/2014/main" id="{259487C8-1344-7B21-0D95-3AEC85323F12}"/>
              </a:ext>
            </a:extLst>
          </p:cNvPr>
          <p:cNvSpPr/>
          <p:nvPr/>
        </p:nvSpPr>
        <p:spPr>
          <a:xfrm>
            <a:off x="1817207" y="4408515"/>
            <a:ext cx="1758752" cy="684466"/>
          </a:xfrm>
          <a:prstGeom prst="roundRect">
            <a:avLst>
              <a:gd name="adj" fmla="val 14757"/>
            </a:avLst>
          </a:prstGeom>
          <a:solidFill>
            <a:srgbClr val="005A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0" rIns="0" bIns="0" rtlCol="0" anchor="ctr"/>
          <a:lstStyle/>
          <a:p>
            <a:pPr algn="ctr"/>
            <a:r>
              <a:rPr lang="en-US" sz="1600" dirty="0">
                <a:solidFill>
                  <a:srgbClr val="FFFFFF"/>
                </a:solidFill>
              </a:rPr>
              <a:t>composer-api</a:t>
            </a:r>
            <a:endParaRPr lang="ru-RU" sz="1600" dirty="0">
              <a:solidFill>
                <a:srgbClr val="FFFFFF"/>
              </a:solidFill>
            </a:endParaRPr>
          </a:p>
        </p:txBody>
      </p:sp>
      <p:sp>
        <p:nvSpPr>
          <p:cNvPr id="8" name="Прямоугольник: скругленные углы 19">
            <a:extLst>
              <a:ext uri="{FF2B5EF4-FFF2-40B4-BE49-F238E27FC236}">
                <a16:creationId xmlns:a16="http://schemas.microsoft.com/office/drawing/2014/main" id="{41050EA2-9386-2584-C8BD-EF209104D9FB}"/>
              </a:ext>
            </a:extLst>
          </p:cNvPr>
          <p:cNvSpPr/>
          <p:nvPr/>
        </p:nvSpPr>
        <p:spPr>
          <a:xfrm>
            <a:off x="7326174" y="3363646"/>
            <a:ext cx="1758752" cy="684466"/>
          </a:xfrm>
          <a:prstGeom prst="roundRect">
            <a:avLst>
              <a:gd name="adj" fmla="val 14757"/>
            </a:avLst>
          </a:prstGeom>
          <a:solidFill>
            <a:srgbClr val="005A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0" rIns="0" bIns="0" rtlCol="0" anchor="ctr"/>
          <a:lstStyle/>
          <a:p>
            <a:pPr algn="ctr"/>
            <a:r>
              <a:rPr lang="en-US" sz="1600" dirty="0">
                <a:solidFill>
                  <a:srgbClr val="FFFFFF"/>
                </a:solidFill>
              </a:rPr>
              <a:t>A/B-test-</a:t>
            </a:r>
            <a:r>
              <a:rPr lang="en-US" sz="1600" dirty="0" err="1">
                <a:solidFill>
                  <a:srgbClr val="FFFFFF"/>
                </a:solidFill>
              </a:rPr>
              <a:t>api</a:t>
            </a:r>
            <a:endParaRPr lang="ru-RU" sz="1600" dirty="0">
              <a:solidFill>
                <a:srgbClr val="FFFFFF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D045F7B-E586-AA05-4149-DA3025C5E20D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9537877" y="2970103"/>
            <a:ext cx="523220" cy="523220"/>
          </a:xfrm>
          <a:prstGeom prst="rect">
            <a:avLst/>
          </a:prstGeom>
        </p:spPr>
      </p:pic>
      <p:cxnSp>
        <p:nvCxnSpPr>
          <p:cNvPr id="10" name="Elbow Connector 9">
            <a:extLst>
              <a:ext uri="{FF2B5EF4-FFF2-40B4-BE49-F238E27FC236}">
                <a16:creationId xmlns:a16="http://schemas.microsoft.com/office/drawing/2014/main" id="{7B16F7DC-4078-77DA-4328-384C264C51BC}"/>
              </a:ext>
            </a:extLst>
          </p:cNvPr>
          <p:cNvCxnSpPr>
            <a:cxnSpLocks/>
            <a:endCxn id="9" idx="1"/>
          </p:cNvCxnSpPr>
          <p:nvPr/>
        </p:nvCxnSpPr>
        <p:spPr>
          <a:xfrm flipV="1">
            <a:off x="9084926" y="3231713"/>
            <a:ext cx="452951" cy="284995"/>
          </a:xfrm>
          <a:prstGeom prst="bentConnector3">
            <a:avLst/>
          </a:prstGeom>
          <a:ln w="12700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A4FE9C3C-94D7-3FFA-0773-C24660633731}"/>
              </a:ext>
            </a:extLst>
          </p:cNvPr>
          <p:cNvSpPr txBox="1"/>
          <p:nvPr/>
        </p:nvSpPr>
        <p:spPr>
          <a:xfrm>
            <a:off x="9369236" y="2581703"/>
            <a:ext cx="155296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rgbClr val="F3F7FA"/>
                </a:solidFill>
              </a:rPr>
              <a:t>In-memory cache</a:t>
            </a:r>
            <a:endParaRPr lang="en-RU" sz="1400" dirty="0">
              <a:solidFill>
                <a:srgbClr val="F3F7FA"/>
              </a:solidFill>
            </a:endParaRPr>
          </a:p>
        </p:txBody>
      </p:sp>
      <p:sp>
        <p:nvSpPr>
          <p:cNvPr id="13" name="Прямоугольник: скругленные углы 19">
            <a:extLst>
              <a:ext uri="{FF2B5EF4-FFF2-40B4-BE49-F238E27FC236}">
                <a16:creationId xmlns:a16="http://schemas.microsoft.com/office/drawing/2014/main" id="{08CBEA26-4208-AEBD-AA5F-C7A247642E5D}"/>
              </a:ext>
            </a:extLst>
          </p:cNvPr>
          <p:cNvSpPr/>
          <p:nvPr/>
        </p:nvSpPr>
        <p:spPr>
          <a:xfrm>
            <a:off x="4549521" y="5420139"/>
            <a:ext cx="1758752" cy="684466"/>
          </a:xfrm>
          <a:prstGeom prst="roundRect">
            <a:avLst>
              <a:gd name="adj" fmla="val 14757"/>
            </a:avLst>
          </a:prstGeom>
          <a:solidFill>
            <a:srgbClr val="005A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0" rIns="0" bIns="0" rtlCol="0" anchor="ctr"/>
          <a:lstStyle/>
          <a:p>
            <a:pPr algn="ctr"/>
            <a:r>
              <a:rPr lang="en-US" sz="1600" dirty="0">
                <a:solidFill>
                  <a:srgbClr val="FFFFFF"/>
                </a:solidFill>
              </a:rPr>
              <a:t>pdp-api</a:t>
            </a:r>
            <a:br>
              <a:rPr lang="en-US" sz="1600" dirty="0">
                <a:solidFill>
                  <a:srgbClr val="FFFFFF"/>
                </a:solidFill>
              </a:rPr>
            </a:br>
            <a:r>
              <a:rPr lang="ru-RU" sz="1200" dirty="0">
                <a:solidFill>
                  <a:srgbClr val="FFFFFF"/>
                </a:solidFill>
              </a:rPr>
              <a:t>сервис 1-го уровня</a:t>
            </a:r>
            <a:endParaRPr lang="ru-RU" sz="1600" dirty="0">
              <a:solidFill>
                <a:srgbClr val="FFFFFF"/>
              </a:solidFill>
            </a:endParaRPr>
          </a:p>
        </p:txBody>
      </p:sp>
      <p:cxnSp>
        <p:nvCxnSpPr>
          <p:cNvPr id="15" name="Elbow Connector 14">
            <a:extLst>
              <a:ext uri="{FF2B5EF4-FFF2-40B4-BE49-F238E27FC236}">
                <a16:creationId xmlns:a16="http://schemas.microsoft.com/office/drawing/2014/main" id="{5E1FFEDF-B84D-BB34-44A2-C5D35377F1DE}"/>
              </a:ext>
            </a:extLst>
          </p:cNvPr>
          <p:cNvCxnSpPr>
            <a:stCxn id="7" idx="3"/>
            <a:endCxn id="13" idx="1"/>
          </p:cNvCxnSpPr>
          <p:nvPr/>
        </p:nvCxnSpPr>
        <p:spPr>
          <a:xfrm>
            <a:off x="3575959" y="4750748"/>
            <a:ext cx="973562" cy="1011624"/>
          </a:xfrm>
          <a:prstGeom prst="bentConnector3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Прямоугольник: скругленные углы 19">
            <a:extLst>
              <a:ext uri="{FF2B5EF4-FFF2-40B4-BE49-F238E27FC236}">
                <a16:creationId xmlns:a16="http://schemas.microsoft.com/office/drawing/2014/main" id="{30FA25A1-D0F5-8C59-859B-AB9B8A006C7C}"/>
              </a:ext>
            </a:extLst>
          </p:cNvPr>
          <p:cNvSpPr/>
          <p:nvPr/>
        </p:nvSpPr>
        <p:spPr>
          <a:xfrm>
            <a:off x="7326174" y="5420139"/>
            <a:ext cx="1758752" cy="684466"/>
          </a:xfrm>
          <a:prstGeom prst="roundRect">
            <a:avLst>
              <a:gd name="adj" fmla="val 14757"/>
            </a:avLst>
          </a:prstGeom>
          <a:solidFill>
            <a:srgbClr val="005A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0" rIns="0" bIns="0" rtlCol="0" anchor="ctr"/>
          <a:lstStyle/>
          <a:p>
            <a:pPr algn="ctr"/>
            <a:r>
              <a:rPr lang="en-US" sz="1600" dirty="0">
                <a:solidFill>
                  <a:srgbClr val="FFFFFF"/>
                </a:solidFill>
              </a:rPr>
              <a:t>product-service</a:t>
            </a:r>
            <a:br>
              <a:rPr lang="en-US" sz="1600" dirty="0">
                <a:solidFill>
                  <a:srgbClr val="FFFFFF"/>
                </a:solidFill>
              </a:rPr>
            </a:br>
            <a:r>
              <a:rPr lang="ru-RU" sz="1200" dirty="0">
                <a:solidFill>
                  <a:srgbClr val="FFFFFF"/>
                </a:solidFill>
              </a:rPr>
              <a:t>сервис 2-го уровня</a:t>
            </a:r>
          </a:p>
        </p:txBody>
      </p:sp>
      <p:cxnSp>
        <p:nvCxnSpPr>
          <p:cNvPr id="18" name="Elbow Connector 17">
            <a:extLst>
              <a:ext uri="{FF2B5EF4-FFF2-40B4-BE49-F238E27FC236}">
                <a16:creationId xmlns:a16="http://schemas.microsoft.com/office/drawing/2014/main" id="{9ADA3AC2-3F8E-8275-42DF-F7FE1BC0AC4F}"/>
              </a:ext>
            </a:extLst>
          </p:cNvPr>
          <p:cNvCxnSpPr>
            <a:cxnSpLocks/>
            <a:stCxn id="16" idx="3"/>
            <a:endCxn id="8" idx="3"/>
          </p:cNvCxnSpPr>
          <p:nvPr/>
        </p:nvCxnSpPr>
        <p:spPr>
          <a:xfrm flipV="1">
            <a:off x="9084926" y="3705879"/>
            <a:ext cx="12700" cy="2056493"/>
          </a:xfrm>
          <a:prstGeom prst="bentConnector3">
            <a:avLst>
              <a:gd name="adj1" fmla="val 13363638"/>
            </a:avLst>
          </a:prstGeom>
          <a:ln w="12700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icture 19">
            <a:extLst>
              <a:ext uri="{FF2B5EF4-FFF2-40B4-BE49-F238E27FC236}">
                <a16:creationId xmlns:a16="http://schemas.microsoft.com/office/drawing/2014/main" id="{E9BC6174-4BFA-0A5B-227B-A7A0BC14FA2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19107" y="4320095"/>
            <a:ext cx="772886" cy="772886"/>
          </a:xfrm>
          <a:prstGeom prst="rect">
            <a:avLst/>
          </a:prstGeom>
        </p:spPr>
      </p:pic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FEA131A9-F892-4BFF-6508-6C3F69F70509}"/>
              </a:ext>
            </a:extLst>
          </p:cNvPr>
          <p:cNvCxnSpPr>
            <a:stCxn id="8" idx="2"/>
            <a:endCxn id="20" idx="0"/>
          </p:cNvCxnSpPr>
          <p:nvPr/>
        </p:nvCxnSpPr>
        <p:spPr>
          <a:xfrm>
            <a:off x="8205550" y="4048112"/>
            <a:ext cx="0" cy="271983"/>
          </a:xfrm>
          <a:prstGeom prst="straightConnector1">
            <a:avLst/>
          </a:prstGeom>
          <a:ln w="12700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Elbow Connector 23">
            <a:extLst>
              <a:ext uri="{FF2B5EF4-FFF2-40B4-BE49-F238E27FC236}">
                <a16:creationId xmlns:a16="http://schemas.microsoft.com/office/drawing/2014/main" id="{06685EED-8CFD-4C95-015C-9EBFDE1D2011}"/>
              </a:ext>
            </a:extLst>
          </p:cNvPr>
          <p:cNvCxnSpPr>
            <a:stCxn id="7" idx="0"/>
            <a:endCxn id="8" idx="1"/>
          </p:cNvCxnSpPr>
          <p:nvPr/>
        </p:nvCxnSpPr>
        <p:spPr>
          <a:xfrm rot="5400000" flipH="1" flipV="1">
            <a:off x="4660060" y="1742402"/>
            <a:ext cx="702636" cy="4629591"/>
          </a:xfrm>
          <a:prstGeom prst="bentConnector2">
            <a:avLst/>
          </a:prstGeom>
          <a:ln w="12700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A8891D3B-2A91-3C07-511F-63FC63635344}"/>
              </a:ext>
            </a:extLst>
          </p:cNvPr>
          <p:cNvSpPr txBox="1"/>
          <p:nvPr/>
        </p:nvSpPr>
        <p:spPr>
          <a:xfrm>
            <a:off x="4971516" y="3293101"/>
            <a:ext cx="226303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rgbClr val="F3F7FA"/>
                </a:solidFill>
              </a:rPr>
              <a:t>user_id, other user info</a:t>
            </a:r>
            <a:endParaRPr lang="en-RU" sz="1400" dirty="0">
              <a:solidFill>
                <a:srgbClr val="F3F7FA"/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3DAB5D8-D68C-EBD1-4199-D6CDBABFC4ED}"/>
              </a:ext>
            </a:extLst>
          </p:cNvPr>
          <p:cNvSpPr txBox="1"/>
          <p:nvPr/>
        </p:nvSpPr>
        <p:spPr>
          <a:xfrm>
            <a:off x="4978996" y="3738028"/>
            <a:ext cx="226303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rgbClr val="F3F7FA"/>
                </a:solidFill>
              </a:rPr>
              <a:t>exp_ids, uuid</a:t>
            </a:r>
            <a:endParaRPr lang="en-RU" sz="1400" dirty="0">
              <a:solidFill>
                <a:srgbClr val="F3F7FA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C9195B41-B3E6-7712-3768-FB6B86367064}"/>
              </a:ext>
            </a:extLst>
          </p:cNvPr>
          <p:cNvSpPr txBox="1"/>
          <p:nvPr/>
        </p:nvSpPr>
        <p:spPr>
          <a:xfrm>
            <a:off x="4075378" y="5047893"/>
            <a:ext cx="125547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rgbClr val="F3F7FA"/>
                </a:solidFill>
              </a:rPr>
              <a:t>header uuid</a:t>
            </a:r>
            <a:endParaRPr lang="en-RU" sz="1400" dirty="0">
              <a:solidFill>
                <a:srgbClr val="F3F7FA"/>
              </a:solidFill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4E1A89BD-E3D8-57FA-402F-BD913A096BD3}"/>
              </a:ext>
            </a:extLst>
          </p:cNvPr>
          <p:cNvSpPr txBox="1"/>
          <p:nvPr/>
        </p:nvSpPr>
        <p:spPr>
          <a:xfrm>
            <a:off x="6233410" y="5047792"/>
            <a:ext cx="125547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rgbClr val="F3F7FA"/>
                </a:solidFill>
              </a:rPr>
              <a:t>header uuid</a:t>
            </a:r>
            <a:endParaRPr lang="en-RU" sz="1400" dirty="0">
              <a:solidFill>
                <a:srgbClr val="F3F7FA"/>
              </a:solidFill>
            </a:endParaRPr>
          </a:p>
        </p:txBody>
      </p: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4CBC4F72-39AD-400B-10BC-7DE620A9EBB0}"/>
              </a:ext>
            </a:extLst>
          </p:cNvPr>
          <p:cNvCxnSpPr>
            <a:stCxn id="13" idx="3"/>
            <a:endCxn id="16" idx="1"/>
          </p:cNvCxnSpPr>
          <p:nvPr/>
        </p:nvCxnSpPr>
        <p:spPr>
          <a:xfrm>
            <a:off x="6308273" y="5762372"/>
            <a:ext cx="1017901" cy="0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>
            <a:extLst>
              <a:ext uri="{FF2B5EF4-FFF2-40B4-BE49-F238E27FC236}">
                <a16:creationId xmlns:a16="http://schemas.microsoft.com/office/drawing/2014/main" id="{F02501A8-0D26-E06A-5BF3-1C2B50573298}"/>
              </a:ext>
            </a:extLst>
          </p:cNvPr>
          <p:cNvSpPr txBox="1"/>
          <p:nvPr/>
        </p:nvSpPr>
        <p:spPr>
          <a:xfrm>
            <a:off x="9230599" y="3708353"/>
            <a:ext cx="76276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rgbClr val="F3F7FA"/>
                </a:solidFill>
              </a:rPr>
              <a:t>uuid</a:t>
            </a:r>
            <a:endParaRPr lang="en-RU" sz="1400" dirty="0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12B430EC-13EB-C14E-E36A-5AE5695C8C9A}"/>
              </a:ext>
            </a:extLst>
          </p:cNvPr>
          <p:cNvSpPr txBox="1"/>
          <p:nvPr/>
        </p:nvSpPr>
        <p:spPr>
          <a:xfrm>
            <a:off x="9340064" y="5399429"/>
            <a:ext cx="76276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RU"/>
            </a:defPPr>
            <a:lvl1pPr>
              <a:defRPr sz="1400">
                <a:solidFill>
                  <a:srgbClr val="F3F7FA"/>
                </a:solidFill>
              </a:defRPr>
            </a:lvl1pPr>
          </a:lstStyle>
          <a:p>
            <a:r>
              <a:rPr lang="en-RU" dirty="0"/>
              <a:t>configs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1B454C76-CA58-5BB5-309A-6545A5FB3966}"/>
              </a:ext>
            </a:extLst>
          </p:cNvPr>
          <p:cNvSpPr txBox="1"/>
          <p:nvPr/>
        </p:nvSpPr>
        <p:spPr>
          <a:xfrm>
            <a:off x="8363540" y="4027038"/>
            <a:ext cx="76276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 err="1">
                <a:solidFill>
                  <a:srgbClr val="F3F7FA"/>
                </a:solidFill>
              </a:rPr>
              <a:t>json</a:t>
            </a:r>
            <a:endParaRPr lang="en-RU" sz="1400" dirty="0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C3D97ABD-B198-F6AE-0EF5-3BE4572B67DF}"/>
              </a:ext>
            </a:extLst>
          </p:cNvPr>
          <p:cNvSpPr txBox="1"/>
          <p:nvPr/>
        </p:nvSpPr>
        <p:spPr>
          <a:xfrm>
            <a:off x="7556713" y="4012318"/>
            <a:ext cx="76276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rgbClr val="F3F7FA"/>
                </a:solidFill>
              </a:rPr>
              <a:t>uuid</a:t>
            </a:r>
            <a:endParaRPr lang="en-RU" sz="1400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AAE5413-0650-038F-1EAB-8D47EEA92678}"/>
              </a:ext>
            </a:extLst>
          </p:cNvPr>
          <p:cNvSpPr txBox="1"/>
          <p:nvPr/>
        </p:nvSpPr>
        <p:spPr>
          <a:xfrm>
            <a:off x="639764" y="1176071"/>
            <a:ext cx="4637086" cy="1049106"/>
          </a:xfrm>
          <a:prstGeom prst="rect">
            <a:avLst/>
          </a:prstGeom>
          <a:noFill/>
        </p:spPr>
        <p:txBody>
          <a:bodyPr wrap="square" lIns="0" tIns="0" rIns="0" bIns="216000">
            <a:spAutoFit/>
          </a:bodyPr>
          <a:lstStyle/>
          <a:p>
            <a:r>
              <a:rPr lang="ru-RU" dirty="0">
                <a:solidFill>
                  <a:schemeClr val="bg1"/>
                </a:solidFill>
              </a:rPr>
              <a:t>Передача </a:t>
            </a:r>
            <a:r>
              <a:rPr lang="en-US" dirty="0">
                <a:solidFill>
                  <a:schemeClr val="bg1"/>
                </a:solidFill>
              </a:rPr>
              <a:t>UUID </a:t>
            </a:r>
            <a:r>
              <a:rPr lang="ru-RU" b="0" i="0" u="none" strike="noStrike" dirty="0">
                <a:solidFill>
                  <a:schemeClr val="bg1"/>
                </a:solidFill>
                <a:effectLst/>
              </a:rPr>
              <a:t>в </a:t>
            </a:r>
            <a:r>
              <a:rPr lang="en-GB" b="0" i="0" u="none" strike="noStrike" dirty="0">
                <a:solidFill>
                  <a:schemeClr val="bg1"/>
                </a:solidFill>
                <a:effectLst/>
              </a:rPr>
              <a:t>head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124A355-5080-3802-49CB-07EFB4A97D22}"/>
              </a:ext>
            </a:extLst>
          </p:cNvPr>
          <p:cNvSpPr txBox="1"/>
          <p:nvPr/>
        </p:nvSpPr>
        <p:spPr>
          <a:xfrm>
            <a:off x="661029" y="1667188"/>
            <a:ext cx="1298764" cy="26412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85000"/>
              </a:lnSpc>
            </a:pPr>
            <a:r>
              <a:rPr lang="en-US" b="1" dirty="0">
                <a:solidFill>
                  <a:schemeClr val="accent2"/>
                </a:solidFill>
              </a:rPr>
              <a:t>+</a:t>
            </a:r>
            <a:endParaRPr lang="ru-RU" b="1" dirty="0">
              <a:solidFill>
                <a:schemeClr val="accent2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DD05258-F13E-B1C3-019F-A81831E4DD3B}"/>
              </a:ext>
            </a:extLst>
          </p:cNvPr>
          <p:cNvSpPr txBox="1"/>
          <p:nvPr/>
        </p:nvSpPr>
        <p:spPr>
          <a:xfrm>
            <a:off x="947540" y="1657882"/>
            <a:ext cx="5967612" cy="864440"/>
          </a:xfrm>
          <a:prstGeom prst="rect">
            <a:avLst/>
          </a:prstGeom>
          <a:noFill/>
        </p:spPr>
        <p:txBody>
          <a:bodyPr wrap="square" lIns="0" tIns="0" rIns="0" bIns="216000">
            <a:spAutoFit/>
          </a:bodyPr>
          <a:lstStyle/>
          <a:p>
            <a:pPr algn="l">
              <a:spcBef>
                <a:spcPts val="750"/>
              </a:spcBef>
            </a:pPr>
            <a:r>
              <a:rPr lang="ru-RU" sz="1400" i="0" u="none" strike="noStrike" dirty="0">
                <a:solidFill>
                  <a:schemeClr val="bg1"/>
                </a:solidFill>
                <a:effectLst/>
              </a:rPr>
              <a:t>Вместо </a:t>
            </a:r>
            <a:r>
              <a:rPr lang="en-GB" sz="1400" i="0" u="none" strike="noStrike" dirty="0">
                <a:solidFill>
                  <a:schemeClr val="bg1"/>
                </a:solidFill>
                <a:effectLst/>
              </a:rPr>
              <a:t>JSON </a:t>
            </a:r>
            <a:r>
              <a:rPr lang="ru-RU" sz="1400" i="0" u="none" strike="noStrike" dirty="0">
                <a:solidFill>
                  <a:schemeClr val="bg1"/>
                </a:solidFill>
                <a:effectLst/>
              </a:rPr>
              <a:t>в </a:t>
            </a:r>
            <a:r>
              <a:rPr lang="en-GB" sz="1400" i="0" u="none" strike="noStrike" dirty="0">
                <a:solidFill>
                  <a:schemeClr val="bg1"/>
                </a:solidFill>
                <a:effectLst/>
              </a:rPr>
              <a:t>header </a:t>
            </a:r>
            <a:r>
              <a:rPr lang="ru-RU" sz="1400" i="0" u="none" strike="noStrike" dirty="0">
                <a:solidFill>
                  <a:schemeClr val="bg1"/>
                </a:solidFill>
                <a:effectLst/>
              </a:rPr>
              <a:t>передавать компактный </a:t>
            </a:r>
            <a:r>
              <a:rPr lang="en-GB" sz="1400" i="0" u="none" strike="noStrike" dirty="0">
                <a:solidFill>
                  <a:schemeClr val="bg1"/>
                </a:solidFill>
                <a:effectLst/>
              </a:rPr>
              <a:t>UUID</a:t>
            </a:r>
            <a:r>
              <a:rPr lang="ru-RU" sz="1400" i="0" u="none" strike="noStrike" dirty="0">
                <a:solidFill>
                  <a:schemeClr val="bg1"/>
                </a:solidFill>
                <a:effectLst/>
              </a:rPr>
              <a:t>, чтобы уменьшить размер заголовка</a:t>
            </a:r>
            <a:r>
              <a:rPr lang="en-US" sz="1400" dirty="0">
                <a:solidFill>
                  <a:schemeClr val="bg1"/>
                </a:solidFill>
              </a:rPr>
              <a:t>. </a:t>
            </a:r>
            <a:r>
              <a:rPr lang="ru-RU" sz="1400" dirty="0">
                <a:solidFill>
                  <a:schemeClr val="bg1"/>
                </a:solidFill>
              </a:rPr>
              <a:t>Теперь размер </a:t>
            </a:r>
            <a:r>
              <a:rPr lang="en-US" sz="1400" dirty="0">
                <a:solidFill>
                  <a:schemeClr val="bg1"/>
                </a:solidFill>
              </a:rPr>
              <a:t>header </a:t>
            </a:r>
            <a:r>
              <a:rPr lang="ru-RU" sz="1400" dirty="0">
                <a:solidFill>
                  <a:schemeClr val="bg1"/>
                </a:solidFill>
              </a:rPr>
              <a:t>фиксирован</a:t>
            </a:r>
            <a:endParaRPr lang="ru-RU" sz="1400" i="0" u="none" strike="noStrike" dirty="0">
              <a:solidFill>
                <a:schemeClr val="bg1"/>
              </a:solidFill>
              <a:effectLst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400" dirty="0">
              <a:solidFill>
                <a:schemeClr val="bg1"/>
              </a:solidFill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6F2CC4CF-0540-7206-A55E-86B2130529D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03781" y="637777"/>
            <a:ext cx="5388219" cy="2091232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AC1CBC97-64C5-3D83-8937-827C1AD1FB1E}"/>
              </a:ext>
            </a:extLst>
          </p:cNvPr>
          <p:cNvSpPr txBox="1"/>
          <p:nvPr/>
        </p:nvSpPr>
        <p:spPr>
          <a:xfrm>
            <a:off x="661029" y="2330752"/>
            <a:ext cx="1298764" cy="26412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85000"/>
              </a:lnSpc>
            </a:pPr>
            <a:r>
              <a:rPr lang="en-US" b="1" dirty="0">
                <a:solidFill>
                  <a:schemeClr val="accent2"/>
                </a:solidFill>
              </a:rPr>
              <a:t>+</a:t>
            </a:r>
            <a:endParaRPr lang="ru-RU" b="1" dirty="0">
              <a:solidFill>
                <a:schemeClr val="accent2"/>
              </a:solidFill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23B6770B-D606-9AEF-74EF-4789812DD92D}"/>
              </a:ext>
            </a:extLst>
          </p:cNvPr>
          <p:cNvSpPr txBox="1"/>
          <p:nvPr/>
        </p:nvSpPr>
        <p:spPr>
          <a:xfrm>
            <a:off x="947540" y="2321446"/>
            <a:ext cx="5285869" cy="1182476"/>
          </a:xfrm>
          <a:prstGeom prst="rect">
            <a:avLst/>
          </a:prstGeom>
          <a:noFill/>
        </p:spPr>
        <p:txBody>
          <a:bodyPr wrap="square" lIns="0" tIns="0" rIns="0" bIns="216000">
            <a:spAutoFit/>
          </a:bodyPr>
          <a:lstStyle/>
          <a:p>
            <a:pPr algn="l">
              <a:spcBef>
                <a:spcPts val="750"/>
              </a:spcBef>
            </a:pPr>
            <a:r>
              <a:rPr lang="ru-RU" sz="1400" dirty="0">
                <a:solidFill>
                  <a:schemeClr val="bg1"/>
                </a:solidFill>
              </a:rPr>
              <a:t>Интеграция с </a:t>
            </a:r>
            <a:r>
              <a:rPr lang="en-US" sz="1400" dirty="0">
                <a:solidFill>
                  <a:schemeClr val="bg1"/>
                </a:solidFill>
              </a:rPr>
              <a:t>memcached</a:t>
            </a:r>
            <a:endParaRPr lang="ru-RU" sz="1400" dirty="0">
              <a:solidFill>
                <a:schemeClr val="bg1"/>
              </a:solidFill>
            </a:endParaRPr>
          </a:p>
          <a:p>
            <a:pPr algn="l">
              <a:spcBef>
                <a:spcPts val="750"/>
              </a:spcBef>
            </a:pPr>
            <a:r>
              <a:rPr lang="ru-RU" sz="1400" i="0" u="none" strike="noStrike" dirty="0">
                <a:solidFill>
                  <a:schemeClr val="bg1"/>
                </a:solidFill>
                <a:effectLst/>
              </a:rPr>
              <a:t>На запрос от </a:t>
            </a:r>
            <a:r>
              <a:rPr lang="en-US" sz="1400" i="0" u="none" strike="noStrike" dirty="0">
                <a:solidFill>
                  <a:schemeClr val="bg1"/>
                </a:solidFill>
                <a:effectLst/>
              </a:rPr>
              <a:t>composer A/B-test-</a:t>
            </a:r>
            <a:r>
              <a:rPr lang="en-US" sz="1400" i="0" u="none" strike="noStrike" dirty="0" err="1">
                <a:solidFill>
                  <a:schemeClr val="bg1"/>
                </a:solidFill>
                <a:effectLst/>
              </a:rPr>
              <a:t>api</a:t>
            </a:r>
            <a:r>
              <a:rPr lang="en-US" sz="1400" i="0" u="none" strike="noStrike" dirty="0">
                <a:solidFill>
                  <a:schemeClr val="bg1"/>
                </a:solidFill>
                <a:effectLst/>
              </a:rPr>
              <a:t> </a:t>
            </a:r>
            <a:r>
              <a:rPr lang="ru-RU" sz="1400" i="0" u="none" strike="noStrike" dirty="0">
                <a:solidFill>
                  <a:schemeClr val="bg1"/>
                </a:solidFill>
                <a:effectLst/>
              </a:rPr>
              <a:t>генерирует </a:t>
            </a:r>
            <a:r>
              <a:rPr lang="en-US" sz="1400" i="0" u="none" strike="noStrike" dirty="0">
                <a:solidFill>
                  <a:schemeClr val="bg1"/>
                </a:solidFill>
                <a:effectLst/>
              </a:rPr>
              <a:t>UUID, </a:t>
            </a:r>
            <a:r>
              <a:rPr lang="ru-RU" sz="1400" i="0" u="none" strike="noStrike" dirty="0">
                <a:solidFill>
                  <a:schemeClr val="bg1"/>
                </a:solidFill>
                <a:effectLst/>
              </a:rPr>
              <a:t>сохраняет</a:t>
            </a:r>
            <a:r>
              <a:rPr lang="en-US" sz="1400" i="0" u="none" strike="noStrike" dirty="0">
                <a:solidFill>
                  <a:schemeClr val="bg1"/>
                </a:solidFill>
                <a:effectLst/>
              </a:rPr>
              <a:t> </a:t>
            </a:r>
            <a:r>
              <a:rPr lang="ru-RU" sz="1400" i="0" u="none" strike="noStrike" dirty="0">
                <a:solidFill>
                  <a:schemeClr val="bg1"/>
                </a:solidFill>
                <a:effectLst/>
              </a:rPr>
              <a:t>по этому </a:t>
            </a:r>
            <a:r>
              <a:rPr lang="en-US" sz="1400" i="0" u="none" strike="noStrike" dirty="0">
                <a:solidFill>
                  <a:schemeClr val="bg1"/>
                </a:solidFill>
                <a:effectLst/>
              </a:rPr>
              <a:t>UUID</a:t>
            </a:r>
            <a:r>
              <a:rPr lang="ru-RU" sz="1400" i="0" u="none" strike="noStrike" dirty="0">
                <a:solidFill>
                  <a:schemeClr val="bg1"/>
                </a:solidFill>
                <a:effectLst/>
              </a:rPr>
              <a:t> конфиг в </a:t>
            </a:r>
            <a:r>
              <a:rPr lang="en-US" sz="1400" i="0" u="none" strike="noStrike" dirty="0">
                <a:solidFill>
                  <a:schemeClr val="bg1"/>
                </a:solidFill>
                <a:effectLst/>
              </a:rPr>
              <a:t>memcached</a:t>
            </a:r>
            <a:endParaRPr lang="ru-RU" sz="1400" i="0" u="none" strike="noStrike" dirty="0">
              <a:solidFill>
                <a:schemeClr val="bg1"/>
              </a:solidFill>
              <a:effectLst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325142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66FC30F-B503-3B0D-016B-299CCD019E4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F5BD24B1-F01D-6C5E-ECE8-772ECFDC48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5249F5-0093-48B0-B996-C4E44A87EAFB}" type="slidenum">
              <a:rPr lang="ru-RU" smtClean="0"/>
              <a:pPr/>
              <a:t>17</a:t>
            </a:fld>
            <a:endParaRPr lang="ru-RU"/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F09BD254-960D-2296-97B7-B72DC9A220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9764" y="411163"/>
            <a:ext cx="10910888" cy="684465"/>
          </a:xfrm>
        </p:spPr>
        <p:txBody>
          <a:bodyPr/>
          <a:lstStyle/>
          <a:p>
            <a:r>
              <a:rPr lang="ru-RU" sz="4000" spc="0" dirty="0">
                <a:solidFill>
                  <a:srgbClr val="FFFFFF"/>
                </a:solidFill>
                <a:latin typeface="Arial"/>
                <a:ea typeface="+mn-ea"/>
                <a:cs typeface="+mn-cs"/>
              </a:rPr>
              <a:t>Проблемы выбранного решения</a:t>
            </a:r>
            <a:endParaRPr lang="ru-RU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485588F-4423-7043-84B1-37FE67DD4998}"/>
              </a:ext>
            </a:extLst>
          </p:cNvPr>
          <p:cNvSpPr txBox="1"/>
          <p:nvPr/>
        </p:nvSpPr>
        <p:spPr>
          <a:xfrm>
            <a:off x="639764" y="1382540"/>
            <a:ext cx="1007656" cy="1016342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r>
              <a:rPr lang="ru-RU" sz="7200" b="1" dirty="0">
                <a:ln w="12700">
                  <a:noFill/>
                </a:ln>
                <a:solidFill>
                  <a:schemeClr val="accent2"/>
                </a:solidFill>
              </a:rPr>
              <a:t>01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89B04F6-941F-F614-DBE5-C522FDFDEFCC}"/>
              </a:ext>
            </a:extLst>
          </p:cNvPr>
          <p:cNvSpPr txBox="1"/>
          <p:nvPr/>
        </p:nvSpPr>
        <p:spPr>
          <a:xfrm>
            <a:off x="2082287" y="1698798"/>
            <a:ext cx="8416984" cy="525886"/>
          </a:xfrm>
          <a:prstGeom prst="rect">
            <a:avLst/>
          </a:prstGeom>
          <a:noFill/>
        </p:spPr>
        <p:txBody>
          <a:bodyPr wrap="square" lIns="0" tIns="0" rIns="0" bIns="216000">
            <a:spAutoFit/>
          </a:bodyPr>
          <a:lstStyle/>
          <a:p>
            <a:r>
              <a:rPr lang="ru-RU" sz="2000" dirty="0">
                <a:solidFill>
                  <a:schemeClr val="bg1"/>
                </a:solidFill>
              </a:rPr>
              <a:t>Дополнительная зависимость архитектуры от </a:t>
            </a:r>
            <a:r>
              <a:rPr lang="en-US" sz="2000" dirty="0">
                <a:solidFill>
                  <a:schemeClr val="bg1"/>
                </a:solidFill>
              </a:rPr>
              <a:t>Memcached</a:t>
            </a:r>
            <a:endParaRPr lang="ru-RU" sz="2000" dirty="0">
              <a:solidFill>
                <a:schemeClr val="bg1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105D908-E7B0-C898-48F1-DBCD651B2C58}"/>
              </a:ext>
            </a:extLst>
          </p:cNvPr>
          <p:cNvSpPr txBox="1"/>
          <p:nvPr/>
        </p:nvSpPr>
        <p:spPr>
          <a:xfrm>
            <a:off x="639764" y="2746657"/>
            <a:ext cx="1007656" cy="1016342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r>
              <a:rPr lang="ru-RU" sz="7200" b="1" dirty="0">
                <a:ln w="12700">
                  <a:noFill/>
                </a:ln>
                <a:solidFill>
                  <a:schemeClr val="accent2"/>
                </a:solidFill>
              </a:rPr>
              <a:t>0</a:t>
            </a:r>
            <a:r>
              <a:rPr lang="en-US" sz="7200" b="1" dirty="0">
                <a:ln w="12700">
                  <a:noFill/>
                </a:ln>
                <a:solidFill>
                  <a:schemeClr val="accent2"/>
                </a:solidFill>
              </a:rPr>
              <a:t>2</a:t>
            </a:r>
            <a:endParaRPr lang="ru-RU" sz="7200" b="1" dirty="0">
              <a:ln w="12700">
                <a:noFill/>
              </a:ln>
              <a:solidFill>
                <a:schemeClr val="accent2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6AB7489-57DE-F42D-E82B-6DBD2A13472C}"/>
              </a:ext>
            </a:extLst>
          </p:cNvPr>
          <p:cNvSpPr txBox="1"/>
          <p:nvPr/>
        </p:nvSpPr>
        <p:spPr>
          <a:xfrm>
            <a:off x="2082287" y="2929335"/>
            <a:ext cx="8841527" cy="1018328"/>
          </a:xfrm>
          <a:prstGeom prst="rect">
            <a:avLst/>
          </a:prstGeom>
          <a:noFill/>
        </p:spPr>
        <p:txBody>
          <a:bodyPr wrap="square" lIns="0" tIns="0" rIns="0" bIns="216000">
            <a:spAutoFit/>
          </a:bodyPr>
          <a:lstStyle>
            <a:defPPr>
              <a:defRPr lang="en-RU"/>
            </a:defPPr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Дополнительный </a:t>
            </a:r>
            <a:r>
              <a:rPr lang="en-GB" dirty="0"/>
              <a:t>RPS </a:t>
            </a:r>
            <a:r>
              <a:rPr lang="ru-RU" dirty="0"/>
              <a:t>сервисов второго уровня от </a:t>
            </a:r>
            <a:r>
              <a:rPr lang="en-US" dirty="0"/>
              <a:t>composer-api</a:t>
            </a:r>
            <a:endParaRPr lang="ru-RU" dirty="0"/>
          </a:p>
          <a:p>
            <a:r>
              <a:rPr lang="ru-RU" sz="1600" dirty="0"/>
              <a:t>Помимо конфига для текущего сервиса приходится доставать конфиги всех сервисов уровнем ниже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F162BEE-BCC4-8A51-F156-5DC69445A8F5}"/>
              </a:ext>
            </a:extLst>
          </p:cNvPr>
          <p:cNvSpPr txBox="1"/>
          <p:nvPr/>
        </p:nvSpPr>
        <p:spPr>
          <a:xfrm>
            <a:off x="639764" y="4110774"/>
            <a:ext cx="1007656" cy="1016342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r>
              <a:rPr lang="ru-RU" sz="7200" b="1" dirty="0">
                <a:ln w="12700">
                  <a:noFill/>
                </a:ln>
                <a:solidFill>
                  <a:schemeClr val="accent2"/>
                </a:solidFill>
              </a:rPr>
              <a:t>03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5661C2B-9848-2590-EC7F-2C900B7E61C8}"/>
              </a:ext>
            </a:extLst>
          </p:cNvPr>
          <p:cNvSpPr txBox="1"/>
          <p:nvPr/>
        </p:nvSpPr>
        <p:spPr>
          <a:xfrm>
            <a:off x="2082287" y="4293452"/>
            <a:ext cx="8841527" cy="833663"/>
          </a:xfrm>
          <a:prstGeom prst="rect">
            <a:avLst/>
          </a:prstGeom>
          <a:noFill/>
        </p:spPr>
        <p:txBody>
          <a:bodyPr wrap="square" lIns="0" tIns="0" rIns="0" bIns="216000">
            <a:spAutoFit/>
          </a:bodyPr>
          <a:lstStyle/>
          <a:p>
            <a:r>
              <a:rPr lang="ru-RU" sz="2000" dirty="0">
                <a:solidFill>
                  <a:srgbClr val="FFFFFF"/>
                </a:solidFill>
                <a:effectLst/>
                <a:latin typeface="Arial" panose="020B0604020202020204" pitchFamily="34" charset="0"/>
              </a:rPr>
              <a:t>Нельзя сделать кэш на уровне клиентов, так</a:t>
            </a:r>
            <a:r>
              <a:rPr lang="en-US" sz="2000" dirty="0">
                <a:solidFill>
                  <a:srgbClr val="FFFFF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ru-RU" sz="2000" dirty="0">
                <a:solidFill>
                  <a:srgbClr val="FFFFFF"/>
                </a:solidFill>
                <a:effectLst/>
                <a:latin typeface="Arial" panose="020B0604020202020204" pitchFamily="34" charset="0"/>
              </a:rPr>
              <a:t>как </a:t>
            </a:r>
            <a:r>
              <a:rPr lang="en-GB" sz="2000" b="1" dirty="0" err="1">
                <a:solidFill>
                  <a:srgbClr val="FFFFFF"/>
                </a:solidFill>
                <a:effectLst/>
                <a:latin typeface="Helvetica" pitchFamily="2" charset="0"/>
              </a:rPr>
              <a:t>cache_key</a:t>
            </a:r>
            <a:r>
              <a:rPr lang="en-GB" sz="2000" b="1" dirty="0">
                <a:solidFill>
                  <a:srgbClr val="FFFFFF"/>
                </a:solidFill>
                <a:effectLst/>
                <a:latin typeface="Helvetica" pitchFamily="2" charset="0"/>
              </a:rPr>
              <a:t> </a:t>
            </a:r>
            <a:r>
              <a:rPr lang="ru-RU" sz="2000" dirty="0">
                <a:solidFill>
                  <a:srgbClr val="FFFFFF"/>
                </a:solidFill>
                <a:effectLst/>
                <a:latin typeface="Arial" panose="020B0604020202020204" pitchFamily="34" charset="0"/>
              </a:rPr>
              <a:t>сделан как </a:t>
            </a:r>
            <a:r>
              <a:rPr lang="en-GB" sz="2000" b="1" dirty="0">
                <a:solidFill>
                  <a:srgbClr val="FFFFFF"/>
                </a:solidFill>
                <a:effectLst/>
                <a:latin typeface="Helvetica" pitchFamily="2" charset="0"/>
              </a:rPr>
              <a:t>UUID</a:t>
            </a:r>
            <a:endParaRPr lang="en-GB" sz="2000" dirty="0">
              <a:solidFill>
                <a:srgbClr val="FFFFFF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311869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ABB1509-115A-67F1-17CA-949752F5A9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>
            <a:extLst>
              <a:ext uri="{FF2B5EF4-FFF2-40B4-BE49-F238E27FC236}">
                <a16:creationId xmlns:a16="http://schemas.microsoft.com/office/drawing/2014/main" id="{AC8509C6-DE01-0736-6C5F-79D69A7B0CB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/>
              <a:t>0</a:t>
            </a:r>
            <a:r>
              <a:rPr lang="en-US" dirty="0"/>
              <a:t>3</a:t>
            </a:r>
            <a:endParaRPr lang="ru-RU" dirty="0"/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19A438B8-3968-97B0-17AA-3CEDBDF98FF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58321" y="2580370"/>
            <a:ext cx="6784279" cy="1412510"/>
          </a:xfrm>
        </p:spPr>
        <p:txBody>
          <a:bodyPr/>
          <a:lstStyle/>
          <a:p>
            <a:r>
              <a:rPr lang="ru-RU" dirty="0"/>
              <a:t>Бинарный протокол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D25D167-983D-EE21-8518-91AD612A0E13}"/>
              </a:ext>
            </a:extLst>
          </p:cNvPr>
          <p:cNvSpPr txBox="1"/>
          <p:nvPr/>
        </p:nvSpPr>
        <p:spPr>
          <a:xfrm>
            <a:off x="4281489" y="4340904"/>
            <a:ext cx="4625444" cy="17310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Бинарный протокол в понимании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/B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латформы</a:t>
            </a: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Клиенты 2-го уровня от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poser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1400" dirty="0">
                <a:solidFill>
                  <a:srgbClr val="FFFFFF"/>
                </a:solidFill>
                <a:latin typeface="Arial"/>
              </a:rPr>
              <a:t>Структура бинарного протокола</a:t>
            </a: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1400" dirty="0">
                <a:solidFill>
                  <a:srgbClr val="FFFFFF"/>
                </a:solidFill>
                <a:latin typeface="Arial"/>
              </a:rPr>
              <a:t>Декодинг бинарного </a:t>
            </a:r>
            <a:r>
              <a:rPr lang="ru-RU" sz="1400" dirty="0" err="1">
                <a:solidFill>
                  <a:srgbClr val="FFFFFF"/>
                </a:solidFill>
                <a:latin typeface="Arial"/>
              </a:rPr>
              <a:t>клюса</a:t>
            </a:r>
            <a:endParaRPr lang="ru-RU" sz="1400" dirty="0">
              <a:solidFill>
                <a:srgbClr val="FFFFFF"/>
              </a:solidFill>
              <a:latin typeface="Arial"/>
            </a:endParaRP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Как сервис получает конфиги</a:t>
            </a:r>
          </a:p>
        </p:txBody>
      </p:sp>
    </p:spTree>
    <p:extLst>
      <p:ext uri="{BB962C8B-B14F-4D97-AF65-F5344CB8AC3E}">
        <p14:creationId xmlns:p14="http://schemas.microsoft.com/office/powerpoint/2010/main" val="55695424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D857304-06B8-E424-D161-813C2B3DAF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5249F5-0093-48B0-B996-C4E44A87EAFB}" type="slidenum">
              <a:rPr lang="ru-RU" smtClean="0"/>
              <a:pPr/>
              <a:t>19</a:t>
            </a:fld>
            <a:endParaRPr lang="ru-RU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E0BF92B-D1BB-F9AB-B538-DAEC121500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Для кого делали бинарный протокол</a:t>
            </a:r>
            <a:endParaRPr lang="en-RU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AEF2639-3AE2-0962-6044-3885AC6A07C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9764" y="1407116"/>
            <a:ext cx="11882236" cy="4711766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3CD2343A-3D6A-3DF3-3946-A698824E4332}"/>
              </a:ext>
            </a:extLst>
          </p:cNvPr>
          <p:cNvSpPr txBox="1"/>
          <p:nvPr/>
        </p:nvSpPr>
        <p:spPr>
          <a:xfrm>
            <a:off x="572032" y="957923"/>
            <a:ext cx="669236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400" spc="-30" dirty="0">
                <a:ea typeface="+mj-ea"/>
                <a:cs typeface="+mj-cs"/>
              </a:rPr>
              <a:t>Сервисы 2-го уровня от </a:t>
            </a:r>
            <a:r>
              <a:rPr lang="en-US" sz="1400" spc="-30" dirty="0">
                <a:ea typeface="+mj-ea"/>
                <a:cs typeface="+mj-cs"/>
              </a:rPr>
              <a:t>composer-</a:t>
            </a:r>
            <a:r>
              <a:rPr lang="en-US" sz="1400" spc="-30" dirty="0" err="1">
                <a:ea typeface="+mj-ea"/>
                <a:cs typeface="+mj-cs"/>
              </a:rPr>
              <a:t>api</a:t>
            </a:r>
            <a:endParaRPr lang="en-RU" sz="3200" spc="-30" dirty="0"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50788335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54EC5F3F-B545-28C1-7756-E71182975EB8}"/>
              </a:ext>
            </a:extLst>
          </p:cNvPr>
          <p:cNvSpPr txBox="1"/>
          <p:nvPr/>
        </p:nvSpPr>
        <p:spPr>
          <a:xfrm>
            <a:off x="639763" y="274743"/>
            <a:ext cx="6579184" cy="82297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0" i="0" u="none" strike="noStrike" kern="1200" cap="none" spc="0" normalizeH="0" baseline="0" noProof="0" dirty="0">
                <a:ln>
                  <a:noFill/>
                </a:ln>
                <a:solidFill>
                  <a:srgbClr val="0E1114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GENDA</a:t>
            </a:r>
            <a:endParaRPr kumimoji="0" lang="ru-RU" sz="5400" b="0" i="0" u="none" strike="noStrike" kern="1200" cap="none" spc="0" normalizeH="0" baseline="0" noProof="0" dirty="0">
              <a:ln>
                <a:noFill/>
              </a:ln>
              <a:solidFill>
                <a:srgbClr val="0E1114">
                  <a:lumMod val="50000"/>
                  <a:lumOff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1666A9D3-829D-BF7F-AC59-E545CC433B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5249F5-0093-48B0-B996-C4E44A87EAF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96A3AE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96A3AE">
                  <a:lumMod val="60000"/>
                  <a:lumOff val="4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" name="Группа 18">
            <a:extLst>
              <a:ext uri="{FF2B5EF4-FFF2-40B4-BE49-F238E27FC236}">
                <a16:creationId xmlns:a16="http://schemas.microsoft.com/office/drawing/2014/main" id="{62B0109B-378C-0B44-982A-7F74D7962C2D}"/>
              </a:ext>
            </a:extLst>
          </p:cNvPr>
          <p:cNvGrpSpPr/>
          <p:nvPr/>
        </p:nvGrpSpPr>
        <p:grpSpPr>
          <a:xfrm>
            <a:off x="647520" y="1999415"/>
            <a:ext cx="10458630" cy="955792"/>
            <a:chOff x="647520" y="1714837"/>
            <a:chExt cx="4811571" cy="955792"/>
          </a:xfrm>
        </p:grpSpPr>
        <p:sp>
          <p:nvSpPr>
            <p:cNvPr id="10" name="Скругленный прямоугольник 76">
              <a:extLst>
                <a:ext uri="{FF2B5EF4-FFF2-40B4-BE49-F238E27FC236}">
                  <a16:creationId xmlns:a16="http://schemas.microsoft.com/office/drawing/2014/main" id="{FF04792C-054B-F195-7C89-73E2CC277597}"/>
                </a:ext>
              </a:extLst>
            </p:cNvPr>
            <p:cNvSpPr/>
            <p:nvPr/>
          </p:nvSpPr>
          <p:spPr>
            <a:xfrm>
              <a:off x="647520" y="1714837"/>
              <a:ext cx="4811571" cy="955792"/>
            </a:xfrm>
            <a:prstGeom prst="roundRect">
              <a:avLst>
                <a:gd name="adj" fmla="val 13152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96A3AE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Объект 1">
              <a:extLst>
                <a:ext uri="{FF2B5EF4-FFF2-40B4-BE49-F238E27FC236}">
                  <a16:creationId xmlns:a16="http://schemas.microsoft.com/office/drawing/2014/main" id="{75B2AC59-59A1-30B5-AB0B-9842E7B8C5A6}"/>
                </a:ext>
              </a:extLst>
            </p:cNvPr>
            <p:cNvSpPr txBox="1">
              <a:spLocks/>
            </p:cNvSpPr>
            <p:nvPr/>
          </p:nvSpPr>
          <p:spPr>
            <a:xfrm>
              <a:off x="760374" y="1844296"/>
              <a:ext cx="493335" cy="601258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77800" indent="-17780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  <a:defRPr lang="en-US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69875" indent="-269875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Font typeface="+mj-lt"/>
                <a:buAutoNum type="arabicPeriod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446088" indent="-176213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  <a:defRPr lang="en-US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350"/>
                </a:spcAft>
                <a:buFont typeface="Arial" panose="020B0604020202020204" pitchFamily="34" charset="0"/>
                <a:buNone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08000" indent="-12600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350"/>
                </a:spcAft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77800" indent="-17780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350"/>
                </a:spcAft>
                <a:buFont typeface="+mj-lt"/>
                <a:buAutoNum type="arabicPeriod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6000" indent="-12600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350"/>
                </a:spcAft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ru-RU" sz="5000" b="0" i="0" u="none" strike="noStrike" kern="1200" cap="none" spc="0" normalizeH="0" baseline="0" noProof="0" dirty="0">
                  <a:ln w="38100">
                    <a:noFill/>
                  </a:ln>
                  <a:solidFill>
                    <a:srgbClr val="3ADE6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1</a:t>
              </a:r>
            </a:p>
          </p:txBody>
        </p:sp>
        <p:sp>
          <p:nvSpPr>
            <p:cNvPr id="14" name="Объект 1">
              <a:extLst>
                <a:ext uri="{FF2B5EF4-FFF2-40B4-BE49-F238E27FC236}">
                  <a16:creationId xmlns:a16="http://schemas.microsoft.com/office/drawing/2014/main" id="{227E7D49-8753-B76E-3103-AF61A78865AD}"/>
                </a:ext>
              </a:extLst>
            </p:cNvPr>
            <p:cNvSpPr txBox="1">
              <a:spLocks/>
            </p:cNvSpPr>
            <p:nvPr/>
          </p:nvSpPr>
          <p:spPr>
            <a:xfrm>
              <a:off x="1217192" y="1885120"/>
              <a:ext cx="3792796" cy="601258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77800" indent="-17780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  <a:defRPr lang="en-US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69875" indent="-269875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Font typeface="+mj-lt"/>
                <a:buAutoNum type="arabicPeriod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446088" indent="-176213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  <a:defRPr lang="en-US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350"/>
                </a:spcAft>
                <a:buFont typeface="Arial" panose="020B0604020202020204" pitchFamily="34" charset="0"/>
                <a:buNone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08000" indent="-12600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350"/>
                </a:spcAft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77800" indent="-17780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350"/>
                </a:spcAft>
                <a:buFont typeface="+mj-lt"/>
                <a:buAutoNum type="arabicPeriod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6000" indent="-12600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350"/>
                </a:spcAft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Про </a:t>
              </a: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</a:t>
              </a: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/</a:t>
              </a: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B </a:t>
              </a:r>
              <a:r>
                <a:rPr lang="ru-RU" b="1" dirty="0">
                  <a:solidFill>
                    <a:srgbClr val="FFFFFF"/>
                  </a:solidFill>
                  <a:latin typeface="Arial"/>
                </a:rPr>
                <a:t>платформу</a:t>
              </a:r>
              <a:endPara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lvl="0">
                <a:lnSpc>
                  <a:spcPct val="100000"/>
                </a:lnSpc>
                <a:defRPr/>
              </a:pPr>
              <a:r>
                <a:rPr kumimoji="0" lang="ru-RU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Что такое 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/B</a:t>
              </a:r>
              <a:r>
                <a:rPr kumimoji="0" lang="ru-RU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тесты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, </a:t>
              </a:r>
              <a:r>
                <a:rPr kumimoji="0" lang="ru-RU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как они</a:t>
              </a:r>
              <a:r>
                <a:rPr lang="ru-RU" sz="1400" dirty="0">
                  <a:solidFill>
                    <a:srgbClr val="FFFFFF"/>
                  </a:solidFill>
                  <a:latin typeface="Arial"/>
                </a:rPr>
                <a:t> влияют на</a:t>
              </a:r>
              <a:r>
                <a:rPr lang="ru-RU" sz="1400" dirty="0">
                  <a:solidFill>
                    <a:srgbClr val="FFFFFF"/>
                  </a:solidFill>
                </a:rPr>
                <a:t> </a:t>
              </a:r>
              <a:r>
                <a:rPr lang="en-US" sz="1400" dirty="0">
                  <a:solidFill>
                    <a:srgbClr val="FFFFFF"/>
                  </a:solidFill>
                  <a:latin typeface="Arial"/>
                </a:rPr>
                <a:t>Ozon</a:t>
              </a:r>
              <a:r>
                <a:rPr lang="ru-RU" sz="1400" dirty="0">
                  <a:solidFill>
                    <a:srgbClr val="FFFFFF"/>
                  </a:solidFill>
                  <a:latin typeface="Arial"/>
                </a:rPr>
                <a:t>, чем занимается</a:t>
              </a:r>
              <a:r>
                <a:rPr lang="en-US" sz="1400" dirty="0">
                  <a:solidFill>
                    <a:srgbClr val="FFFFFF"/>
                  </a:solidFill>
                  <a:latin typeface="Arial"/>
                </a:rPr>
                <a:t> </a:t>
              </a:r>
              <a:r>
                <a:rPr lang="ru-RU" sz="1400" dirty="0">
                  <a:solidFill>
                    <a:srgbClr val="FFFFFF"/>
                  </a:solidFill>
                  <a:latin typeface="Arial"/>
                </a:rPr>
                <a:t>команда </a:t>
              </a:r>
              <a:r>
                <a:rPr lang="en-US" sz="1400" dirty="0">
                  <a:solidFill>
                    <a:srgbClr val="FFFFFF"/>
                  </a:solidFill>
                  <a:latin typeface="Arial"/>
                </a:rPr>
                <a:t>A</a:t>
              </a:r>
              <a:r>
                <a:rPr lang="ru-RU" sz="1400" dirty="0">
                  <a:solidFill>
                    <a:srgbClr val="FFFFFF"/>
                  </a:solidFill>
                  <a:latin typeface="Arial"/>
                </a:rPr>
                <a:t>/</a:t>
              </a:r>
              <a:r>
                <a:rPr lang="en-US" sz="1400" dirty="0">
                  <a:solidFill>
                    <a:srgbClr val="FFFFFF"/>
                  </a:solidFill>
                  <a:latin typeface="Arial"/>
                </a:rPr>
                <a:t>B </a:t>
              </a:r>
              <a:r>
                <a:rPr lang="ru-RU" sz="1400" dirty="0">
                  <a:solidFill>
                    <a:srgbClr val="FFFFFF"/>
                  </a:solidFill>
                  <a:latin typeface="Arial"/>
                </a:rPr>
                <a:t>платформы</a:t>
              </a:r>
              <a:endPara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5" name="Скругленный прямоугольник 76">
            <a:extLst>
              <a:ext uri="{FF2B5EF4-FFF2-40B4-BE49-F238E27FC236}">
                <a16:creationId xmlns:a16="http://schemas.microsoft.com/office/drawing/2014/main" id="{AE8C162A-C8AC-F00E-03E3-3FDEC3FD4CCA}"/>
              </a:ext>
            </a:extLst>
          </p:cNvPr>
          <p:cNvSpPr/>
          <p:nvPr/>
        </p:nvSpPr>
        <p:spPr>
          <a:xfrm>
            <a:off x="647520" y="3467039"/>
            <a:ext cx="10458630" cy="955792"/>
          </a:xfrm>
          <a:prstGeom prst="roundRect">
            <a:avLst>
              <a:gd name="adj" fmla="val 13152"/>
            </a:avLst>
          </a:prstGeom>
          <a:solidFill>
            <a:schemeClr val="tx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0" rIns="0" bIns="0" rtlCol="0" anchor="ctr"/>
          <a:lstStyle/>
          <a:p>
            <a:endParaRPr lang="ru-RU">
              <a:solidFill>
                <a:schemeClr val="accent6"/>
              </a:solidFill>
            </a:endParaRPr>
          </a:p>
        </p:txBody>
      </p:sp>
      <p:sp>
        <p:nvSpPr>
          <p:cNvPr id="16" name="Объект 1">
            <a:extLst>
              <a:ext uri="{FF2B5EF4-FFF2-40B4-BE49-F238E27FC236}">
                <a16:creationId xmlns:a16="http://schemas.microsoft.com/office/drawing/2014/main" id="{03532127-51A7-111E-16BE-2BE7835EFDE2}"/>
              </a:ext>
            </a:extLst>
          </p:cNvPr>
          <p:cNvSpPr txBox="1">
            <a:spLocks/>
          </p:cNvSpPr>
          <p:nvPr/>
        </p:nvSpPr>
        <p:spPr>
          <a:xfrm>
            <a:off x="892825" y="3663301"/>
            <a:ext cx="876427" cy="6012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7800" indent="-177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69875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46088" indent="-1762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5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" indent="-12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5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77800" indent="-177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50"/>
              </a:spcAft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000" indent="-12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5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5000" b="0" i="0" u="none" strike="noStrike" kern="1200" cap="none" spc="0" normalizeH="0" baseline="0" noProof="0" dirty="0">
                <a:ln w="38100">
                  <a:noFill/>
                </a:ln>
                <a:solidFill>
                  <a:srgbClr val="3ADE6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02</a:t>
            </a:r>
          </a:p>
        </p:txBody>
      </p:sp>
      <p:sp>
        <p:nvSpPr>
          <p:cNvPr id="18" name="Объект 1">
            <a:extLst>
              <a:ext uri="{FF2B5EF4-FFF2-40B4-BE49-F238E27FC236}">
                <a16:creationId xmlns:a16="http://schemas.microsoft.com/office/drawing/2014/main" id="{74F70080-82C8-1701-5A9C-1134476D0BD3}"/>
              </a:ext>
            </a:extLst>
          </p:cNvPr>
          <p:cNvSpPr txBox="1">
            <a:spLocks/>
          </p:cNvSpPr>
          <p:nvPr/>
        </p:nvSpPr>
        <p:spPr>
          <a:xfrm>
            <a:off x="1885782" y="3715565"/>
            <a:ext cx="7989738" cy="6012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7800" indent="-177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69875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46088" indent="-1762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5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" indent="-12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5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77800" indent="-177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50"/>
              </a:spcAft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000" indent="-12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5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>
                <a:solidFill>
                  <a:schemeClr val="accent6"/>
                </a:solidFill>
              </a:rPr>
              <a:t>История развития </a:t>
            </a:r>
            <a:r>
              <a:rPr lang="en-US" dirty="0">
                <a:solidFill>
                  <a:schemeClr val="accent6"/>
                </a:solidFill>
              </a:rPr>
              <a:t>A/B </a:t>
            </a:r>
            <a:r>
              <a:rPr lang="ru-RU" dirty="0">
                <a:solidFill>
                  <a:schemeClr val="accent6"/>
                </a:solidFill>
              </a:rPr>
              <a:t>платформ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1400" dirty="0">
                <a:solidFill>
                  <a:srgbClr val="96A3AE"/>
                </a:solidFill>
                <a:latin typeface="Arial"/>
              </a:rPr>
              <a:t>Из чего состоит </a:t>
            </a:r>
            <a:r>
              <a:rPr lang="en-US" sz="1400" dirty="0">
                <a:solidFill>
                  <a:srgbClr val="96A3AE"/>
                </a:solidFill>
                <a:latin typeface="Arial"/>
              </a:rPr>
              <a:t>A/B </a:t>
            </a:r>
            <a:r>
              <a:rPr lang="ru-RU" sz="1400" dirty="0">
                <a:solidFill>
                  <a:srgbClr val="96A3AE"/>
                </a:solidFill>
                <a:latin typeface="Arial"/>
              </a:rPr>
              <a:t>платформа, как остальные сервисы получают конфиги через </a:t>
            </a:r>
            <a:r>
              <a:rPr lang="en-US" sz="1400" dirty="0">
                <a:solidFill>
                  <a:srgbClr val="96A3AE"/>
                </a:solidFill>
                <a:latin typeface="Arial"/>
              </a:rPr>
              <a:t>header</a:t>
            </a:r>
            <a:endParaRPr lang="ru-RU" sz="1400" dirty="0">
              <a:solidFill>
                <a:srgbClr val="96A3AE"/>
              </a:solidFill>
              <a:latin typeface="Arial"/>
            </a:endParaRPr>
          </a:p>
        </p:txBody>
      </p:sp>
      <p:sp>
        <p:nvSpPr>
          <p:cNvPr id="19" name="Рисунок 20">
            <a:extLst>
              <a:ext uri="{FF2B5EF4-FFF2-40B4-BE49-F238E27FC236}">
                <a16:creationId xmlns:a16="http://schemas.microsoft.com/office/drawing/2014/main" id="{0C592E3F-ECA2-20EA-3E27-B4A76E17B56A}"/>
              </a:ext>
            </a:extLst>
          </p:cNvPr>
          <p:cNvSpPr/>
          <p:nvPr/>
        </p:nvSpPr>
        <p:spPr>
          <a:xfrm>
            <a:off x="10544464" y="3628850"/>
            <a:ext cx="310059" cy="68902"/>
          </a:xfrm>
          <a:custGeom>
            <a:avLst/>
            <a:gdLst>
              <a:gd name="connsiteX0" fmla="*/ 34451 w 310059"/>
              <a:gd name="connsiteY0" fmla="*/ 0 h 68902"/>
              <a:gd name="connsiteX1" fmla="*/ 68902 w 310059"/>
              <a:gd name="connsiteY1" fmla="*/ 34451 h 68902"/>
              <a:gd name="connsiteX2" fmla="*/ 34451 w 310059"/>
              <a:gd name="connsiteY2" fmla="*/ 68902 h 68902"/>
              <a:gd name="connsiteX3" fmla="*/ 0 w 310059"/>
              <a:gd name="connsiteY3" fmla="*/ 34451 h 68902"/>
              <a:gd name="connsiteX4" fmla="*/ 34451 w 310059"/>
              <a:gd name="connsiteY4" fmla="*/ 0 h 68902"/>
              <a:gd name="connsiteX5" fmla="*/ 275608 w 310059"/>
              <a:gd name="connsiteY5" fmla="*/ 0 h 68902"/>
              <a:gd name="connsiteX6" fmla="*/ 310059 w 310059"/>
              <a:gd name="connsiteY6" fmla="*/ 34451 h 68902"/>
              <a:gd name="connsiteX7" fmla="*/ 275608 w 310059"/>
              <a:gd name="connsiteY7" fmla="*/ 68902 h 68902"/>
              <a:gd name="connsiteX8" fmla="*/ 241157 w 310059"/>
              <a:gd name="connsiteY8" fmla="*/ 34451 h 68902"/>
              <a:gd name="connsiteX9" fmla="*/ 275608 w 310059"/>
              <a:gd name="connsiteY9" fmla="*/ 0 h 68902"/>
              <a:gd name="connsiteX10" fmla="*/ 189481 w 310059"/>
              <a:gd name="connsiteY10" fmla="*/ 34451 h 68902"/>
              <a:gd name="connsiteX11" fmla="*/ 155030 w 310059"/>
              <a:gd name="connsiteY11" fmla="*/ 0 h 68902"/>
              <a:gd name="connsiteX12" fmla="*/ 120579 w 310059"/>
              <a:gd name="connsiteY12" fmla="*/ 34451 h 68902"/>
              <a:gd name="connsiteX13" fmla="*/ 155030 w 310059"/>
              <a:gd name="connsiteY13" fmla="*/ 68902 h 68902"/>
              <a:gd name="connsiteX14" fmla="*/ 189481 w 310059"/>
              <a:gd name="connsiteY14" fmla="*/ 34451 h 68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310059" h="68902">
                <a:moveTo>
                  <a:pt x="34451" y="0"/>
                </a:moveTo>
                <a:cubicBezTo>
                  <a:pt x="53479" y="0"/>
                  <a:pt x="68902" y="15423"/>
                  <a:pt x="68902" y="34451"/>
                </a:cubicBezTo>
                <a:cubicBezTo>
                  <a:pt x="68902" y="53479"/>
                  <a:pt x="53479" y="68902"/>
                  <a:pt x="34451" y="68902"/>
                </a:cubicBezTo>
                <a:cubicBezTo>
                  <a:pt x="15423" y="68902"/>
                  <a:pt x="0" y="53479"/>
                  <a:pt x="0" y="34451"/>
                </a:cubicBezTo>
                <a:cubicBezTo>
                  <a:pt x="0" y="15423"/>
                  <a:pt x="15423" y="0"/>
                  <a:pt x="34451" y="0"/>
                </a:cubicBezTo>
                <a:close/>
                <a:moveTo>
                  <a:pt x="275608" y="0"/>
                </a:moveTo>
                <a:cubicBezTo>
                  <a:pt x="294635" y="0"/>
                  <a:pt x="310059" y="15423"/>
                  <a:pt x="310059" y="34451"/>
                </a:cubicBezTo>
                <a:cubicBezTo>
                  <a:pt x="310059" y="53479"/>
                  <a:pt x="294635" y="68902"/>
                  <a:pt x="275608" y="68902"/>
                </a:cubicBezTo>
                <a:cubicBezTo>
                  <a:pt x="256581" y="68902"/>
                  <a:pt x="241157" y="53479"/>
                  <a:pt x="241157" y="34451"/>
                </a:cubicBezTo>
                <a:cubicBezTo>
                  <a:pt x="241157" y="15423"/>
                  <a:pt x="256581" y="0"/>
                  <a:pt x="275608" y="0"/>
                </a:cubicBezTo>
                <a:close/>
                <a:moveTo>
                  <a:pt x="189481" y="34451"/>
                </a:moveTo>
                <a:cubicBezTo>
                  <a:pt x="189481" y="15423"/>
                  <a:pt x="174057" y="0"/>
                  <a:pt x="155030" y="0"/>
                </a:cubicBezTo>
                <a:cubicBezTo>
                  <a:pt x="136002" y="0"/>
                  <a:pt x="120579" y="15423"/>
                  <a:pt x="120579" y="34451"/>
                </a:cubicBezTo>
                <a:cubicBezTo>
                  <a:pt x="120579" y="53479"/>
                  <a:pt x="136002" y="68902"/>
                  <a:pt x="155030" y="68902"/>
                </a:cubicBezTo>
                <a:cubicBezTo>
                  <a:pt x="174057" y="68902"/>
                  <a:pt x="189481" y="53479"/>
                  <a:pt x="189481" y="34451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16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E111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Скругленный прямоугольник 76">
            <a:extLst>
              <a:ext uri="{FF2B5EF4-FFF2-40B4-BE49-F238E27FC236}">
                <a16:creationId xmlns:a16="http://schemas.microsoft.com/office/drawing/2014/main" id="{51885CA8-057D-15AE-646E-9B9E1010F97B}"/>
              </a:ext>
            </a:extLst>
          </p:cNvPr>
          <p:cNvSpPr/>
          <p:nvPr/>
        </p:nvSpPr>
        <p:spPr>
          <a:xfrm>
            <a:off x="647520" y="4934663"/>
            <a:ext cx="10458630" cy="955792"/>
          </a:xfrm>
          <a:prstGeom prst="roundRect">
            <a:avLst>
              <a:gd name="adj" fmla="val 13152"/>
            </a:avLst>
          </a:prstGeom>
          <a:solidFill>
            <a:schemeClr val="tx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0" rIns="0" bIns="0" rtlCol="0" anchor="ctr"/>
          <a:lstStyle/>
          <a:p>
            <a:endParaRPr lang="ru-RU" dirty="0">
              <a:solidFill>
                <a:schemeClr val="accent6"/>
              </a:solidFill>
            </a:endParaRPr>
          </a:p>
        </p:txBody>
      </p:sp>
      <p:sp>
        <p:nvSpPr>
          <p:cNvPr id="21" name="Объект 1">
            <a:extLst>
              <a:ext uri="{FF2B5EF4-FFF2-40B4-BE49-F238E27FC236}">
                <a16:creationId xmlns:a16="http://schemas.microsoft.com/office/drawing/2014/main" id="{EB079F89-FBAC-2FE0-3FBC-9DF2428406C4}"/>
              </a:ext>
            </a:extLst>
          </p:cNvPr>
          <p:cNvSpPr txBox="1">
            <a:spLocks/>
          </p:cNvSpPr>
          <p:nvPr/>
        </p:nvSpPr>
        <p:spPr>
          <a:xfrm>
            <a:off x="892824" y="5138090"/>
            <a:ext cx="876427" cy="6012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7800" indent="-177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69875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46088" indent="-1762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5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" indent="-12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5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77800" indent="-177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50"/>
              </a:spcAft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000" indent="-12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5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5000" b="0" i="0" u="none" strike="noStrike" kern="1200" cap="none" spc="0" normalizeH="0" baseline="0" noProof="0" dirty="0">
                <a:ln w="38100">
                  <a:noFill/>
                </a:ln>
                <a:solidFill>
                  <a:srgbClr val="3ADE6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03</a:t>
            </a:r>
          </a:p>
        </p:txBody>
      </p:sp>
      <p:sp>
        <p:nvSpPr>
          <p:cNvPr id="22" name="Рисунок 20">
            <a:extLst>
              <a:ext uri="{FF2B5EF4-FFF2-40B4-BE49-F238E27FC236}">
                <a16:creationId xmlns:a16="http://schemas.microsoft.com/office/drawing/2014/main" id="{13DE0D53-F001-F1AD-9114-AD8002680B81}"/>
              </a:ext>
            </a:extLst>
          </p:cNvPr>
          <p:cNvSpPr/>
          <p:nvPr/>
        </p:nvSpPr>
        <p:spPr>
          <a:xfrm>
            <a:off x="10544464" y="5103639"/>
            <a:ext cx="310059" cy="68902"/>
          </a:xfrm>
          <a:custGeom>
            <a:avLst/>
            <a:gdLst>
              <a:gd name="connsiteX0" fmla="*/ 34451 w 310059"/>
              <a:gd name="connsiteY0" fmla="*/ 0 h 68902"/>
              <a:gd name="connsiteX1" fmla="*/ 68902 w 310059"/>
              <a:gd name="connsiteY1" fmla="*/ 34451 h 68902"/>
              <a:gd name="connsiteX2" fmla="*/ 34451 w 310059"/>
              <a:gd name="connsiteY2" fmla="*/ 68902 h 68902"/>
              <a:gd name="connsiteX3" fmla="*/ 0 w 310059"/>
              <a:gd name="connsiteY3" fmla="*/ 34451 h 68902"/>
              <a:gd name="connsiteX4" fmla="*/ 34451 w 310059"/>
              <a:gd name="connsiteY4" fmla="*/ 0 h 68902"/>
              <a:gd name="connsiteX5" fmla="*/ 275608 w 310059"/>
              <a:gd name="connsiteY5" fmla="*/ 0 h 68902"/>
              <a:gd name="connsiteX6" fmla="*/ 310059 w 310059"/>
              <a:gd name="connsiteY6" fmla="*/ 34451 h 68902"/>
              <a:gd name="connsiteX7" fmla="*/ 275608 w 310059"/>
              <a:gd name="connsiteY7" fmla="*/ 68902 h 68902"/>
              <a:gd name="connsiteX8" fmla="*/ 241157 w 310059"/>
              <a:gd name="connsiteY8" fmla="*/ 34451 h 68902"/>
              <a:gd name="connsiteX9" fmla="*/ 275608 w 310059"/>
              <a:gd name="connsiteY9" fmla="*/ 0 h 68902"/>
              <a:gd name="connsiteX10" fmla="*/ 189481 w 310059"/>
              <a:gd name="connsiteY10" fmla="*/ 34451 h 68902"/>
              <a:gd name="connsiteX11" fmla="*/ 155030 w 310059"/>
              <a:gd name="connsiteY11" fmla="*/ 0 h 68902"/>
              <a:gd name="connsiteX12" fmla="*/ 120579 w 310059"/>
              <a:gd name="connsiteY12" fmla="*/ 34451 h 68902"/>
              <a:gd name="connsiteX13" fmla="*/ 155030 w 310059"/>
              <a:gd name="connsiteY13" fmla="*/ 68902 h 68902"/>
              <a:gd name="connsiteX14" fmla="*/ 189481 w 310059"/>
              <a:gd name="connsiteY14" fmla="*/ 34451 h 68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310059" h="68902">
                <a:moveTo>
                  <a:pt x="34451" y="0"/>
                </a:moveTo>
                <a:cubicBezTo>
                  <a:pt x="53479" y="0"/>
                  <a:pt x="68902" y="15423"/>
                  <a:pt x="68902" y="34451"/>
                </a:cubicBezTo>
                <a:cubicBezTo>
                  <a:pt x="68902" y="53479"/>
                  <a:pt x="53479" y="68902"/>
                  <a:pt x="34451" y="68902"/>
                </a:cubicBezTo>
                <a:cubicBezTo>
                  <a:pt x="15423" y="68902"/>
                  <a:pt x="0" y="53479"/>
                  <a:pt x="0" y="34451"/>
                </a:cubicBezTo>
                <a:cubicBezTo>
                  <a:pt x="0" y="15423"/>
                  <a:pt x="15423" y="0"/>
                  <a:pt x="34451" y="0"/>
                </a:cubicBezTo>
                <a:close/>
                <a:moveTo>
                  <a:pt x="275608" y="0"/>
                </a:moveTo>
                <a:cubicBezTo>
                  <a:pt x="294635" y="0"/>
                  <a:pt x="310059" y="15423"/>
                  <a:pt x="310059" y="34451"/>
                </a:cubicBezTo>
                <a:cubicBezTo>
                  <a:pt x="310059" y="53479"/>
                  <a:pt x="294635" y="68902"/>
                  <a:pt x="275608" y="68902"/>
                </a:cubicBezTo>
                <a:cubicBezTo>
                  <a:pt x="256581" y="68902"/>
                  <a:pt x="241157" y="53479"/>
                  <a:pt x="241157" y="34451"/>
                </a:cubicBezTo>
                <a:cubicBezTo>
                  <a:pt x="241157" y="15423"/>
                  <a:pt x="256581" y="0"/>
                  <a:pt x="275608" y="0"/>
                </a:cubicBezTo>
                <a:close/>
                <a:moveTo>
                  <a:pt x="189481" y="34451"/>
                </a:moveTo>
                <a:cubicBezTo>
                  <a:pt x="189481" y="15423"/>
                  <a:pt x="174057" y="0"/>
                  <a:pt x="155030" y="0"/>
                </a:cubicBezTo>
                <a:cubicBezTo>
                  <a:pt x="136002" y="0"/>
                  <a:pt x="120579" y="15423"/>
                  <a:pt x="120579" y="34451"/>
                </a:cubicBezTo>
                <a:cubicBezTo>
                  <a:pt x="120579" y="53479"/>
                  <a:pt x="136002" y="68902"/>
                  <a:pt x="155030" y="68902"/>
                </a:cubicBezTo>
                <a:cubicBezTo>
                  <a:pt x="174057" y="68902"/>
                  <a:pt x="189481" y="53479"/>
                  <a:pt x="189481" y="34451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1693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E111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5" name="Объект 1">
            <a:extLst>
              <a:ext uri="{FF2B5EF4-FFF2-40B4-BE49-F238E27FC236}">
                <a16:creationId xmlns:a16="http://schemas.microsoft.com/office/drawing/2014/main" id="{B2CC196F-C431-73C0-F786-B62DFC6BF6BB}"/>
              </a:ext>
            </a:extLst>
          </p:cNvPr>
          <p:cNvSpPr txBox="1">
            <a:spLocks/>
          </p:cNvSpPr>
          <p:nvPr/>
        </p:nvSpPr>
        <p:spPr>
          <a:xfrm>
            <a:off x="1885782" y="5152379"/>
            <a:ext cx="8771962" cy="6012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7800" indent="-177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69875" indent="-2698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46088" indent="-1762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5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" indent="-12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5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77800" indent="-177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50"/>
              </a:spcAft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000" indent="-12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5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>
                <a:solidFill>
                  <a:schemeClr val="accent6"/>
                </a:solidFill>
              </a:rPr>
              <a:t>Бинарный протокол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1400" dirty="0">
                <a:solidFill>
                  <a:srgbClr val="96A3AE"/>
                </a:solidFill>
                <a:latin typeface="Arial"/>
              </a:rPr>
              <a:t>Для каких сервисов он был сделан, что из себя представляет, как декодируется, планы по его улучшению </a:t>
            </a:r>
          </a:p>
        </p:txBody>
      </p:sp>
      <p:pic>
        <p:nvPicPr>
          <p:cNvPr id="36" name="Рисунок 29">
            <a:extLst>
              <a:ext uri="{FF2B5EF4-FFF2-40B4-BE49-F238E27FC236}">
                <a16:creationId xmlns:a16="http://schemas.microsoft.com/office/drawing/2014/main" id="{C0557A49-33AB-C8F0-7C79-ECEC35780EF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819285">
            <a:off x="10213238" y="1394110"/>
            <a:ext cx="1182675" cy="1182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747924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C442D3C-EA1D-C25C-24C5-5C4E3CCF57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FD34160C-B096-DCC5-A404-CD9452E5FC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5249F5-0093-48B0-B996-C4E44A87EAFB}" type="slidenum">
              <a:rPr lang="ru-RU" smtClean="0"/>
              <a:pPr/>
              <a:t>20</a:t>
            </a:fld>
            <a:endParaRPr lang="ru-RU"/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9685280E-F646-4B0C-A7FB-E7D8B745F3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9764" y="411163"/>
            <a:ext cx="10910888" cy="684465"/>
          </a:xfrm>
        </p:spPr>
        <p:txBody>
          <a:bodyPr/>
          <a:lstStyle/>
          <a:p>
            <a:r>
              <a:rPr lang="ru-RU" sz="4000" spc="0" dirty="0">
                <a:solidFill>
                  <a:srgbClr val="FFFFFF"/>
                </a:solidFill>
                <a:latin typeface="Arial"/>
                <a:ea typeface="+mn-ea"/>
                <a:cs typeface="+mn-cs"/>
              </a:rPr>
              <a:t>Как сервис получает конфиги</a:t>
            </a:r>
            <a:endParaRPr lang="ru-RU" dirty="0"/>
          </a:p>
        </p:txBody>
      </p:sp>
      <p:sp>
        <p:nvSpPr>
          <p:cNvPr id="2" name="Прямоугольник: скругленные углы 19">
            <a:extLst>
              <a:ext uri="{FF2B5EF4-FFF2-40B4-BE49-F238E27FC236}">
                <a16:creationId xmlns:a16="http://schemas.microsoft.com/office/drawing/2014/main" id="{7179F714-B392-0164-1EFF-D595B5541BDB}"/>
              </a:ext>
            </a:extLst>
          </p:cNvPr>
          <p:cNvSpPr/>
          <p:nvPr/>
        </p:nvSpPr>
        <p:spPr>
          <a:xfrm>
            <a:off x="639764" y="1620710"/>
            <a:ext cx="1758752" cy="684466"/>
          </a:xfrm>
          <a:prstGeom prst="roundRect">
            <a:avLst>
              <a:gd name="adj" fmla="val 14757"/>
            </a:avLst>
          </a:prstGeom>
          <a:solidFill>
            <a:srgbClr val="005A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0" rIns="0" bIns="0" rtlCol="0" anchor="ctr"/>
          <a:lstStyle/>
          <a:p>
            <a:pPr algn="ctr"/>
            <a:r>
              <a:rPr lang="en-US" sz="1600" dirty="0">
                <a:solidFill>
                  <a:srgbClr val="FFFFFF"/>
                </a:solidFill>
              </a:rPr>
              <a:t>composer-</a:t>
            </a:r>
            <a:r>
              <a:rPr lang="en-US" sz="1600" dirty="0" err="1">
                <a:solidFill>
                  <a:srgbClr val="FFFFFF"/>
                </a:solidFill>
              </a:rPr>
              <a:t>api</a:t>
            </a:r>
            <a:endParaRPr lang="ru-RU" sz="1600" dirty="0">
              <a:solidFill>
                <a:srgbClr val="FFFFFF"/>
              </a:solidFill>
            </a:endParaRPr>
          </a:p>
        </p:txBody>
      </p:sp>
      <p:sp>
        <p:nvSpPr>
          <p:cNvPr id="5" name="Прямоугольник: скругленные углы 19">
            <a:extLst>
              <a:ext uri="{FF2B5EF4-FFF2-40B4-BE49-F238E27FC236}">
                <a16:creationId xmlns:a16="http://schemas.microsoft.com/office/drawing/2014/main" id="{E6A5D24A-29E4-6F10-13BB-1AF24DB87A37}"/>
              </a:ext>
            </a:extLst>
          </p:cNvPr>
          <p:cNvSpPr/>
          <p:nvPr/>
        </p:nvSpPr>
        <p:spPr>
          <a:xfrm>
            <a:off x="4157268" y="1620710"/>
            <a:ext cx="1758752" cy="684466"/>
          </a:xfrm>
          <a:prstGeom prst="roundRect">
            <a:avLst>
              <a:gd name="adj" fmla="val 14757"/>
            </a:avLst>
          </a:prstGeom>
          <a:solidFill>
            <a:srgbClr val="005A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0" rIns="0" bIns="0" rtlCol="0" anchor="ctr"/>
          <a:lstStyle/>
          <a:p>
            <a:pPr algn="ctr"/>
            <a:r>
              <a:rPr lang="en-US" sz="1600" dirty="0">
                <a:solidFill>
                  <a:srgbClr val="FFFFFF"/>
                </a:solidFill>
              </a:rPr>
              <a:t>A/B-test-</a:t>
            </a:r>
            <a:r>
              <a:rPr lang="en-US" sz="1600" dirty="0" err="1">
                <a:solidFill>
                  <a:srgbClr val="FFFFFF"/>
                </a:solidFill>
              </a:rPr>
              <a:t>api</a:t>
            </a:r>
            <a:endParaRPr lang="ru-RU" sz="1600" dirty="0">
              <a:solidFill>
                <a:srgbClr val="FFFFFF"/>
              </a:solidFill>
            </a:endParaRP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3986BE57-A9E6-3035-0774-DFCC166D3DDD}"/>
              </a:ext>
            </a:extLst>
          </p:cNvPr>
          <p:cNvCxnSpPr>
            <a:cxnSpLocks/>
            <a:stCxn id="2" idx="3"/>
            <a:endCxn id="5" idx="1"/>
          </p:cNvCxnSpPr>
          <p:nvPr/>
        </p:nvCxnSpPr>
        <p:spPr>
          <a:xfrm>
            <a:off x="2398516" y="1962943"/>
            <a:ext cx="1758752" cy="0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7204295C-56FA-D57D-8F7D-015303B022D6}"/>
              </a:ext>
            </a:extLst>
          </p:cNvPr>
          <p:cNvSpPr txBox="1"/>
          <p:nvPr/>
        </p:nvSpPr>
        <p:spPr>
          <a:xfrm>
            <a:off x="2507846" y="1541154"/>
            <a:ext cx="175875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dirty="0">
                <a:solidFill>
                  <a:srgbClr val="F3F7FA"/>
                </a:solidFill>
              </a:rPr>
              <a:t>ResolveProcessV1</a:t>
            </a:r>
            <a:endParaRPr lang="en-RU" sz="1200" dirty="0">
              <a:solidFill>
                <a:srgbClr val="F3F7FA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E47EE48-EEAD-2367-8BDE-2458DAF70BC3}"/>
              </a:ext>
            </a:extLst>
          </p:cNvPr>
          <p:cNvSpPr txBox="1"/>
          <p:nvPr/>
        </p:nvSpPr>
        <p:spPr>
          <a:xfrm>
            <a:off x="2507846" y="2275997"/>
            <a:ext cx="1370673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200" dirty="0">
                <a:solidFill>
                  <a:srgbClr val="FFFFFF"/>
                </a:solidFill>
                <a:effectLst/>
                <a:latin typeface="Helvetica" pitchFamily="2" charset="0"/>
              </a:rPr>
              <a:t>binary-cache-key</a:t>
            </a:r>
          </a:p>
          <a:p>
            <a:endParaRPr lang="en-RU" sz="1200" dirty="0">
              <a:solidFill>
                <a:srgbClr val="F3F7FA"/>
              </a:solidFill>
            </a:endParaRP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3426CCCE-49DE-95AE-B572-B7D307F55B79}"/>
              </a:ext>
            </a:extLst>
          </p:cNvPr>
          <p:cNvCxnSpPr/>
          <p:nvPr/>
        </p:nvCxnSpPr>
        <p:spPr>
          <a:xfrm flipH="1">
            <a:off x="2398516" y="2107734"/>
            <a:ext cx="1758752" cy="0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Прямоугольник: скругленные углы 19">
            <a:extLst>
              <a:ext uri="{FF2B5EF4-FFF2-40B4-BE49-F238E27FC236}">
                <a16:creationId xmlns:a16="http://schemas.microsoft.com/office/drawing/2014/main" id="{2885AAB4-B265-741B-87CB-D5E9DD2721FD}"/>
              </a:ext>
            </a:extLst>
          </p:cNvPr>
          <p:cNvSpPr/>
          <p:nvPr/>
        </p:nvSpPr>
        <p:spPr>
          <a:xfrm>
            <a:off x="4657537" y="2506829"/>
            <a:ext cx="1758752" cy="684466"/>
          </a:xfrm>
          <a:prstGeom prst="roundRect">
            <a:avLst>
              <a:gd name="adj" fmla="val 14757"/>
            </a:avLst>
          </a:prstGeom>
          <a:solidFill>
            <a:srgbClr val="005A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0" rIns="0" bIns="0" rtlCol="0" anchor="ctr"/>
          <a:lstStyle/>
          <a:p>
            <a:pPr algn="ctr"/>
            <a:r>
              <a:rPr lang="en-US" sz="1600" dirty="0">
                <a:solidFill>
                  <a:srgbClr val="FFFFFF"/>
                </a:solidFill>
              </a:rPr>
              <a:t>pdp-api</a:t>
            </a:r>
            <a:endParaRPr lang="ru-RU" sz="1600" dirty="0">
              <a:solidFill>
                <a:srgbClr val="FFFFFF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99C8902-B203-A1B0-936D-ACED7A08D246}"/>
              </a:ext>
            </a:extLst>
          </p:cNvPr>
          <p:cNvSpPr txBox="1"/>
          <p:nvPr/>
        </p:nvSpPr>
        <p:spPr>
          <a:xfrm>
            <a:off x="1724893" y="2935102"/>
            <a:ext cx="2432375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200" dirty="0">
                <a:solidFill>
                  <a:srgbClr val="FFFFFF"/>
                </a:solidFill>
                <a:effectLst/>
                <a:latin typeface="Helvetica" pitchFamily="2" charset="0"/>
              </a:rPr>
              <a:t>metadata: x-o3-binary-cache-key</a:t>
            </a:r>
          </a:p>
        </p:txBody>
      </p:sp>
      <p:cxnSp>
        <p:nvCxnSpPr>
          <p:cNvPr id="19" name="Elbow Connector 18">
            <a:extLst>
              <a:ext uri="{FF2B5EF4-FFF2-40B4-BE49-F238E27FC236}">
                <a16:creationId xmlns:a16="http://schemas.microsoft.com/office/drawing/2014/main" id="{FC214321-771B-077B-3E52-78F4859E7878}"/>
              </a:ext>
            </a:extLst>
          </p:cNvPr>
          <p:cNvCxnSpPr>
            <a:stCxn id="2" idx="2"/>
            <a:endCxn id="15" idx="1"/>
          </p:cNvCxnSpPr>
          <p:nvPr/>
        </p:nvCxnSpPr>
        <p:spPr>
          <a:xfrm rot="16200000" flipH="1">
            <a:off x="2816395" y="1007920"/>
            <a:ext cx="543886" cy="3138397"/>
          </a:xfrm>
          <a:prstGeom prst="bentConnector2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Прямоугольник: скругленные углы 19">
            <a:extLst>
              <a:ext uri="{FF2B5EF4-FFF2-40B4-BE49-F238E27FC236}">
                <a16:creationId xmlns:a16="http://schemas.microsoft.com/office/drawing/2014/main" id="{D5A0E744-7D10-1A1D-1EB7-39707FADCDB6}"/>
              </a:ext>
            </a:extLst>
          </p:cNvPr>
          <p:cNvSpPr/>
          <p:nvPr/>
        </p:nvSpPr>
        <p:spPr>
          <a:xfrm>
            <a:off x="7039425" y="3553751"/>
            <a:ext cx="2611471" cy="684466"/>
          </a:xfrm>
          <a:prstGeom prst="roundRect">
            <a:avLst>
              <a:gd name="adj" fmla="val 14757"/>
            </a:avLst>
          </a:prstGeom>
          <a:solidFill>
            <a:srgbClr val="10C44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0" rIns="0" bIns="0" rtlCol="0" anchor="ctr"/>
          <a:lstStyle/>
          <a:p>
            <a:pPr algn="ctr"/>
            <a:r>
              <a:rPr lang="en-US" sz="1600" dirty="0">
                <a:solidFill>
                  <a:srgbClr val="FFFFFF"/>
                </a:solidFill>
              </a:rPr>
              <a:t>marketing-actions-</a:t>
            </a:r>
            <a:r>
              <a:rPr lang="en-US" sz="1600" dirty="0" err="1">
                <a:solidFill>
                  <a:srgbClr val="FFFFFF"/>
                </a:solidFill>
              </a:rPr>
              <a:t>api</a:t>
            </a:r>
            <a:endParaRPr lang="ru-RU" sz="1600" dirty="0">
              <a:solidFill>
                <a:srgbClr val="FFFFFF"/>
              </a:solidFill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A0FA27E-E933-961C-D47B-53E690A80318}"/>
              </a:ext>
            </a:extLst>
          </p:cNvPr>
          <p:cNvSpPr txBox="1"/>
          <p:nvPr/>
        </p:nvSpPr>
        <p:spPr>
          <a:xfrm>
            <a:off x="4320725" y="4008939"/>
            <a:ext cx="2432375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200" dirty="0">
                <a:solidFill>
                  <a:srgbClr val="FFFFFF"/>
                </a:solidFill>
                <a:effectLst/>
                <a:latin typeface="Helvetica" pitchFamily="2" charset="0"/>
              </a:rPr>
              <a:t>metadata: x-o3-binary-cache-key</a:t>
            </a:r>
          </a:p>
        </p:txBody>
      </p:sp>
      <p:cxnSp>
        <p:nvCxnSpPr>
          <p:cNvPr id="23" name="Elbow Connector 22">
            <a:extLst>
              <a:ext uri="{FF2B5EF4-FFF2-40B4-BE49-F238E27FC236}">
                <a16:creationId xmlns:a16="http://schemas.microsoft.com/office/drawing/2014/main" id="{34E0E64F-8808-341C-AD7E-0DD06B715464}"/>
              </a:ext>
            </a:extLst>
          </p:cNvPr>
          <p:cNvCxnSpPr>
            <a:stCxn id="15" idx="2"/>
            <a:endCxn id="20" idx="1"/>
          </p:cNvCxnSpPr>
          <p:nvPr/>
        </p:nvCxnSpPr>
        <p:spPr>
          <a:xfrm rot="16200000" flipH="1">
            <a:off x="5935825" y="2792383"/>
            <a:ext cx="704689" cy="1502512"/>
          </a:xfrm>
          <a:prstGeom prst="bentConnector2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Прямоугольник: скругленные углы 19">
            <a:extLst>
              <a:ext uri="{FF2B5EF4-FFF2-40B4-BE49-F238E27FC236}">
                <a16:creationId xmlns:a16="http://schemas.microsoft.com/office/drawing/2014/main" id="{268180C9-6B3F-04AF-9681-45BFAEFB8B6D}"/>
              </a:ext>
            </a:extLst>
          </p:cNvPr>
          <p:cNvSpPr/>
          <p:nvPr/>
        </p:nvSpPr>
        <p:spPr>
          <a:xfrm>
            <a:off x="9151253" y="4783837"/>
            <a:ext cx="2611471" cy="684466"/>
          </a:xfrm>
          <a:prstGeom prst="roundRect">
            <a:avLst>
              <a:gd name="adj" fmla="val 14757"/>
            </a:avLst>
          </a:prstGeom>
          <a:solidFill>
            <a:srgbClr val="10C44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0" rIns="0" bIns="0" rtlCol="0" anchor="ctr"/>
          <a:lstStyle/>
          <a:p>
            <a:pPr algn="ctr"/>
            <a:r>
              <a:rPr lang="en-US" sz="1600" dirty="0">
                <a:solidFill>
                  <a:srgbClr val="FFFFFF"/>
                </a:solidFill>
              </a:rPr>
              <a:t>margin-price</a:t>
            </a:r>
            <a:endParaRPr lang="ru-RU" sz="1600" dirty="0">
              <a:solidFill>
                <a:srgbClr val="FFFFFF"/>
              </a:solidFill>
            </a:endParaRPr>
          </a:p>
        </p:txBody>
      </p:sp>
      <p:cxnSp>
        <p:nvCxnSpPr>
          <p:cNvPr id="26" name="Elbow Connector 25">
            <a:extLst>
              <a:ext uri="{FF2B5EF4-FFF2-40B4-BE49-F238E27FC236}">
                <a16:creationId xmlns:a16="http://schemas.microsoft.com/office/drawing/2014/main" id="{B515C500-4018-2D7E-C89B-E3FAE753EC1D}"/>
              </a:ext>
            </a:extLst>
          </p:cNvPr>
          <p:cNvCxnSpPr>
            <a:stCxn id="20" idx="2"/>
            <a:endCxn id="24" idx="1"/>
          </p:cNvCxnSpPr>
          <p:nvPr/>
        </p:nvCxnSpPr>
        <p:spPr>
          <a:xfrm rot="16200000" flipH="1">
            <a:off x="8304281" y="4279097"/>
            <a:ext cx="887853" cy="806092"/>
          </a:xfrm>
          <a:prstGeom prst="bentConnector2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BB80D4EA-589D-53A7-BFD9-99DF6F493D6E}"/>
              </a:ext>
            </a:extLst>
          </p:cNvPr>
          <p:cNvSpPr txBox="1"/>
          <p:nvPr/>
        </p:nvSpPr>
        <p:spPr>
          <a:xfrm>
            <a:off x="6713090" y="5207613"/>
            <a:ext cx="2432375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200" dirty="0">
                <a:solidFill>
                  <a:srgbClr val="FFFFFF"/>
                </a:solidFill>
                <a:effectLst/>
                <a:latin typeface="Helvetica" pitchFamily="2" charset="0"/>
              </a:rPr>
              <a:t>metadata: x-o3-binary-cache-key</a:t>
            </a:r>
          </a:p>
        </p:txBody>
      </p:sp>
    </p:spTree>
    <p:extLst>
      <p:ext uri="{BB962C8B-B14F-4D97-AF65-F5344CB8AC3E}">
        <p14:creationId xmlns:p14="http://schemas.microsoft.com/office/powerpoint/2010/main" val="408367699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F7754EA-FB3B-EE6F-3C11-A451911586B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6B8AF147-6A2A-CBB7-A61C-249AADBB3E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5249F5-0093-48B0-B996-C4E44A87EAFB}" type="slidenum">
              <a:rPr lang="ru-RU" smtClean="0"/>
              <a:pPr/>
              <a:t>21</a:t>
            </a:fld>
            <a:endParaRPr lang="ru-RU"/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3E2560C3-1FF0-CD31-212D-A2E18A4F3E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9764" y="411163"/>
            <a:ext cx="10910888" cy="684465"/>
          </a:xfrm>
        </p:spPr>
        <p:txBody>
          <a:bodyPr/>
          <a:lstStyle/>
          <a:p>
            <a:r>
              <a:rPr lang="ru-RU" sz="4000" spc="0" dirty="0">
                <a:solidFill>
                  <a:srgbClr val="FFFFFF"/>
                </a:solidFill>
                <a:latin typeface="Arial"/>
                <a:ea typeface="+mn-ea"/>
                <a:cs typeface="+mn-cs"/>
              </a:rPr>
              <a:t>Как сервис получает конфиги</a:t>
            </a:r>
            <a:endParaRPr lang="ru-RU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87381907-0BFC-1344-2D98-CB9A354732C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17035" y="1175612"/>
            <a:ext cx="5356345" cy="5174774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BFA45757-3FB0-AD91-8AC1-8CF21471CE36}"/>
              </a:ext>
            </a:extLst>
          </p:cNvPr>
          <p:cNvSpPr txBox="1"/>
          <p:nvPr/>
        </p:nvSpPr>
        <p:spPr>
          <a:xfrm>
            <a:off x="605898" y="1248027"/>
            <a:ext cx="421796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UML sequence</a:t>
            </a:r>
            <a:endParaRPr lang="en-RU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010168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0EDEA74-9EAB-184A-75D8-EDA52EF4CA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5249F5-0093-48B0-B996-C4E44A87EAFB}" type="slidenum">
              <a:rPr lang="ru-RU" smtClean="0"/>
              <a:pPr/>
              <a:t>22</a:t>
            </a:fld>
            <a:endParaRPr lang="ru-RU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1F793FD-91F7-EB64-C2F5-FE2012F052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Бинарный протокол для клиентов 2-го уровня</a:t>
            </a:r>
            <a:endParaRPr lang="en-RU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9F1158D-FD0D-C502-C1EF-0E5BA60829F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4482" y="1396699"/>
            <a:ext cx="12067518" cy="370023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3AE4B4F3-FAFF-7417-8C58-DAB945E69E37}"/>
              </a:ext>
            </a:extLst>
          </p:cNvPr>
          <p:cNvSpPr txBox="1"/>
          <p:nvPr/>
        </p:nvSpPr>
        <p:spPr>
          <a:xfrm>
            <a:off x="1066800" y="5502042"/>
            <a:ext cx="6692369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400" spc="-30" dirty="0">
                <a:ea typeface="+mj-ea"/>
                <a:cs typeface="+mj-cs"/>
              </a:rPr>
              <a:t>Бинарный ключ сервисы 1-го уровня от </a:t>
            </a:r>
            <a:r>
              <a:rPr lang="en-US" sz="1400" spc="-30" dirty="0">
                <a:ea typeface="+mj-ea"/>
                <a:cs typeface="+mj-cs"/>
              </a:rPr>
              <a:t>composer </a:t>
            </a:r>
            <a:r>
              <a:rPr lang="ru-RU" sz="1400" spc="-30" dirty="0">
                <a:ea typeface="+mj-ea"/>
                <a:cs typeface="+mj-cs"/>
              </a:rPr>
              <a:t>прокидывают дальше до всех сервисов 2-го уровня, у которых есть интеграция с </a:t>
            </a:r>
            <a:r>
              <a:rPr lang="en-US" sz="1400" spc="-30" dirty="0">
                <a:ea typeface="+mj-ea"/>
                <a:cs typeface="+mj-cs"/>
              </a:rPr>
              <a:t>A/B </a:t>
            </a:r>
            <a:r>
              <a:rPr lang="ru-RU" sz="1400" spc="-30" dirty="0">
                <a:ea typeface="+mj-ea"/>
                <a:cs typeface="+mj-cs"/>
              </a:rPr>
              <a:t>платформой</a:t>
            </a:r>
            <a:endParaRPr lang="en-RU" sz="3200" spc="-30" dirty="0">
              <a:ea typeface="+mj-ea"/>
              <a:cs typeface="+mj-cs"/>
            </a:endParaRP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B86B0963-EFF6-98E1-9021-B5A1C50E199A}"/>
              </a:ext>
            </a:extLst>
          </p:cNvPr>
          <p:cNvCxnSpPr>
            <a:cxnSpLocks/>
          </p:cNvCxnSpPr>
          <p:nvPr/>
        </p:nvCxnSpPr>
        <p:spPr>
          <a:xfrm flipH="1" flipV="1">
            <a:off x="1507067" y="4978400"/>
            <a:ext cx="321733" cy="523642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4877250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F664A910-E3CE-3824-624A-2D1C65469C6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083" y="1043573"/>
            <a:ext cx="5450250" cy="529989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8FB2801-BDF6-BC8A-9253-6211CFE35D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Бинарный ключ</a:t>
            </a:r>
            <a:endParaRPr lang="en-RU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52B16BC-209B-272B-FBFF-4BC0F3E729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5249F5-0093-48B0-B996-C4E44A87EAFB}" type="slidenum">
              <a:rPr lang="ru-RU" smtClean="0"/>
              <a:pPr/>
              <a:t>23</a:t>
            </a:fld>
            <a:endParaRPr lang="ru-RU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3970D79-242E-F042-E278-5795A3DC4C92}"/>
              </a:ext>
            </a:extLst>
          </p:cNvPr>
          <p:cNvSpPr txBox="1"/>
          <p:nvPr/>
        </p:nvSpPr>
        <p:spPr>
          <a:xfrm>
            <a:off x="562761" y="1043573"/>
            <a:ext cx="5066769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Resolve param </a:t>
            </a:r>
            <a:r>
              <a:rPr lang="en-US" sz="1600" b="1" dirty="0">
                <a:solidFill>
                  <a:schemeClr val="bg1"/>
                </a:solidFill>
              </a:rPr>
              <a:t>A/</a:t>
            </a:r>
            <a:r>
              <a:rPr lang="en-US" sz="1600" b="1" dirty="0" err="1">
                <a:solidFill>
                  <a:schemeClr val="bg1"/>
                </a:solidFill>
              </a:rPr>
              <a:t>Bgroup.binary.cache.key</a:t>
            </a:r>
            <a:r>
              <a:rPr lang="en-US" sz="1600" b="1" dirty="0">
                <a:solidFill>
                  <a:schemeClr val="bg1"/>
                </a:solidFill>
              </a:rPr>
              <a:t> </a:t>
            </a:r>
            <a:endParaRPr lang="en-RU" sz="1600" b="1" dirty="0">
              <a:solidFill>
                <a:schemeClr val="bg1"/>
              </a:solidFill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A583486D-5B31-AAE8-0DE2-0D49D450BD3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95208" y="-58942"/>
            <a:ext cx="6051649" cy="6705312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C08CF179-ABA8-DF0D-C5DB-50E436EAD601}"/>
              </a:ext>
            </a:extLst>
          </p:cNvPr>
          <p:cNvSpPr txBox="1"/>
          <p:nvPr/>
        </p:nvSpPr>
        <p:spPr>
          <a:xfrm>
            <a:off x="5188501" y="3082374"/>
            <a:ext cx="2573071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</a:rPr>
              <a:t>Base64 decode</a:t>
            </a:r>
            <a:endParaRPr lang="en-RU" sz="1400" dirty="0">
              <a:solidFill>
                <a:schemeClr val="bg1"/>
              </a:solidFill>
            </a:endParaRPr>
          </a:p>
        </p:txBody>
      </p: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BF16DFFD-0A4F-1028-9B1F-DF9AB2A367E9}"/>
              </a:ext>
            </a:extLst>
          </p:cNvPr>
          <p:cNvCxnSpPr/>
          <p:nvPr/>
        </p:nvCxnSpPr>
        <p:spPr>
          <a:xfrm>
            <a:off x="5188501" y="3676650"/>
            <a:ext cx="1288499" cy="0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0155870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EAA2BDD-AC68-8C1E-0570-1C887B30959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F1F772C7-417B-E222-47B7-84FD3EFEA3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5249F5-0093-48B0-B996-C4E44A87EAFB}" type="slidenum">
              <a:rPr lang="ru-RU" smtClean="0"/>
              <a:pPr/>
              <a:t>24</a:t>
            </a:fld>
            <a:endParaRPr lang="ru-RU"/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7BE95C52-2A55-0224-ABA8-1389D97003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9764" y="411163"/>
            <a:ext cx="10910888" cy="684465"/>
          </a:xfrm>
        </p:spPr>
        <p:txBody>
          <a:bodyPr/>
          <a:lstStyle/>
          <a:p>
            <a:r>
              <a:rPr lang="ru-RU" sz="4000" spc="0" dirty="0">
                <a:solidFill>
                  <a:srgbClr val="FFFFFF"/>
                </a:solidFill>
                <a:latin typeface="Arial"/>
                <a:ea typeface="+mn-ea"/>
                <a:cs typeface="+mn-cs"/>
              </a:rPr>
              <a:t>Структура бинарного протокола</a:t>
            </a:r>
            <a:endParaRPr lang="ru-RU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D9C0DE9-D324-30D2-F266-458D6BB1D572}"/>
              </a:ext>
            </a:extLst>
          </p:cNvPr>
          <p:cNvSpPr txBox="1"/>
          <p:nvPr/>
        </p:nvSpPr>
        <p:spPr>
          <a:xfrm>
            <a:off x="548147" y="1242561"/>
            <a:ext cx="421796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dirty="0">
                <a:solidFill>
                  <a:schemeClr val="bg1"/>
                </a:solidFill>
              </a:rPr>
              <a:t>Один сервис с  4-мя экспериментами</a:t>
            </a:r>
            <a:endParaRPr lang="en-RU" dirty="0">
              <a:solidFill>
                <a:schemeClr val="bg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1691D72-9005-9CC6-1251-C432D36D58AD}"/>
              </a:ext>
            </a:extLst>
          </p:cNvPr>
          <p:cNvSpPr txBox="1"/>
          <p:nvPr/>
        </p:nvSpPr>
        <p:spPr>
          <a:xfrm>
            <a:off x="5194831" y="1942294"/>
            <a:ext cx="421796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</a:rPr>
              <a:t>BQGAjAA=</a:t>
            </a:r>
            <a:endParaRPr lang="en-RU" sz="2400" dirty="0">
              <a:solidFill>
                <a:schemeClr val="bg1"/>
              </a:solidFill>
            </a:endParaRPr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F2D61209-F630-FF3A-9DCC-A3C0BFC3E008}"/>
              </a:ext>
            </a:extLst>
          </p:cNvPr>
          <p:cNvCxnSpPr>
            <a:cxnSpLocks/>
          </p:cNvCxnSpPr>
          <p:nvPr/>
        </p:nvCxnSpPr>
        <p:spPr>
          <a:xfrm>
            <a:off x="5942808" y="2540001"/>
            <a:ext cx="0" cy="1134533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B57A24B0-BDF0-C5DE-E15A-C3A235CCD189}"/>
              </a:ext>
            </a:extLst>
          </p:cNvPr>
          <p:cNvSpPr txBox="1"/>
          <p:nvPr/>
        </p:nvSpPr>
        <p:spPr>
          <a:xfrm>
            <a:off x="1789239" y="4223210"/>
            <a:ext cx="251382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</a:rPr>
              <a:t>0000010100000</a:t>
            </a:r>
            <a:endParaRPr lang="en-RU" sz="2400" dirty="0">
              <a:solidFill>
                <a:schemeClr val="bg1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0324C45-D71E-67AE-FE0A-8BBBF81D5B36}"/>
              </a:ext>
            </a:extLst>
          </p:cNvPr>
          <p:cNvSpPr txBox="1"/>
          <p:nvPr/>
        </p:nvSpPr>
        <p:spPr>
          <a:xfrm>
            <a:off x="4607531" y="4223209"/>
            <a:ext cx="915399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</a:rPr>
              <a:t>0011</a:t>
            </a:r>
            <a:endParaRPr lang="en-RU" sz="2400" dirty="0">
              <a:solidFill>
                <a:schemeClr val="bg1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C40872C-0D44-D3CD-79D4-0D275D34F0A3}"/>
              </a:ext>
            </a:extLst>
          </p:cNvPr>
          <p:cNvSpPr txBox="1"/>
          <p:nvPr/>
        </p:nvSpPr>
        <p:spPr>
          <a:xfrm>
            <a:off x="5827402" y="4223209"/>
            <a:ext cx="206187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</a:rPr>
              <a:t>0000001000</a:t>
            </a:r>
            <a:endParaRPr lang="en-RU" sz="2400" dirty="0">
              <a:solidFill>
                <a:schemeClr val="bg1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A729A1C-82B3-03D9-D49A-4216CF3D607D}"/>
              </a:ext>
            </a:extLst>
          </p:cNvPr>
          <p:cNvSpPr txBox="1"/>
          <p:nvPr/>
        </p:nvSpPr>
        <p:spPr>
          <a:xfrm>
            <a:off x="8193749" y="4223209"/>
            <a:ext cx="206187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</a:rPr>
              <a:t>01100000</a:t>
            </a:r>
            <a:endParaRPr lang="en-RU" sz="2400" dirty="0">
              <a:solidFill>
                <a:schemeClr val="bg1"/>
              </a:solidFill>
            </a:endParaRPr>
          </a:p>
        </p:txBody>
      </p:sp>
      <p:sp>
        <p:nvSpPr>
          <p:cNvPr id="14" name="Left Brace 13">
            <a:extLst>
              <a:ext uri="{FF2B5EF4-FFF2-40B4-BE49-F238E27FC236}">
                <a16:creationId xmlns:a16="http://schemas.microsoft.com/office/drawing/2014/main" id="{6B50A111-C4EB-A91C-A5EB-3E8AAEB0556C}"/>
              </a:ext>
            </a:extLst>
          </p:cNvPr>
          <p:cNvSpPr/>
          <p:nvPr/>
        </p:nvSpPr>
        <p:spPr>
          <a:xfrm rot="5400000">
            <a:off x="2894794" y="2959985"/>
            <a:ext cx="161364" cy="2365084"/>
          </a:xfrm>
          <a:prstGeom prst="leftBrac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RU"/>
          </a:p>
        </p:txBody>
      </p:sp>
      <p:sp>
        <p:nvSpPr>
          <p:cNvPr id="15" name="Left Brace 14">
            <a:extLst>
              <a:ext uri="{FF2B5EF4-FFF2-40B4-BE49-F238E27FC236}">
                <a16:creationId xmlns:a16="http://schemas.microsoft.com/office/drawing/2014/main" id="{3889A741-8F63-D561-2BE6-4229D93C1EC2}"/>
              </a:ext>
            </a:extLst>
          </p:cNvPr>
          <p:cNvSpPr/>
          <p:nvPr/>
        </p:nvSpPr>
        <p:spPr>
          <a:xfrm rot="5400000">
            <a:off x="4938189" y="3768514"/>
            <a:ext cx="161364" cy="748023"/>
          </a:xfrm>
          <a:prstGeom prst="leftBrac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RU"/>
          </a:p>
        </p:txBody>
      </p:sp>
      <p:sp>
        <p:nvSpPr>
          <p:cNvPr id="17" name="Left Brace 16">
            <a:extLst>
              <a:ext uri="{FF2B5EF4-FFF2-40B4-BE49-F238E27FC236}">
                <a16:creationId xmlns:a16="http://schemas.microsoft.com/office/drawing/2014/main" id="{2FC2C5EC-DD9D-AC90-542B-1D82BF425166}"/>
              </a:ext>
            </a:extLst>
          </p:cNvPr>
          <p:cNvSpPr/>
          <p:nvPr/>
        </p:nvSpPr>
        <p:spPr>
          <a:xfrm rot="5400000">
            <a:off x="6669977" y="3266258"/>
            <a:ext cx="161364" cy="1752535"/>
          </a:xfrm>
          <a:prstGeom prst="leftBrac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RU"/>
          </a:p>
        </p:txBody>
      </p:sp>
      <p:sp>
        <p:nvSpPr>
          <p:cNvPr id="19" name="Left Brace 18">
            <a:extLst>
              <a:ext uri="{FF2B5EF4-FFF2-40B4-BE49-F238E27FC236}">
                <a16:creationId xmlns:a16="http://schemas.microsoft.com/office/drawing/2014/main" id="{403F9AD2-88C0-349E-E6B5-75F5C963E4A8}"/>
              </a:ext>
            </a:extLst>
          </p:cNvPr>
          <p:cNvSpPr/>
          <p:nvPr/>
        </p:nvSpPr>
        <p:spPr>
          <a:xfrm rot="5400000">
            <a:off x="8849513" y="3453069"/>
            <a:ext cx="161364" cy="1378913"/>
          </a:xfrm>
          <a:prstGeom prst="leftBrac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RU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790FBF70-04E6-AC07-167F-C131A00A9097}"/>
              </a:ext>
            </a:extLst>
          </p:cNvPr>
          <p:cNvSpPr txBox="1"/>
          <p:nvPr/>
        </p:nvSpPr>
        <p:spPr>
          <a:xfrm>
            <a:off x="2623770" y="3555863"/>
            <a:ext cx="84475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</a:rPr>
              <a:t>13 </a:t>
            </a:r>
            <a:r>
              <a:rPr lang="ru-RU" sz="1400" dirty="0">
                <a:solidFill>
                  <a:schemeClr val="bg1"/>
                </a:solidFill>
              </a:rPr>
              <a:t>бит</a:t>
            </a:r>
            <a:endParaRPr lang="en-RU" sz="1400" dirty="0">
              <a:solidFill>
                <a:schemeClr val="bg1"/>
              </a:solidFill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29D472A-5FCD-FEB0-EE38-69AED04FE010}"/>
              </a:ext>
            </a:extLst>
          </p:cNvPr>
          <p:cNvSpPr txBox="1"/>
          <p:nvPr/>
        </p:nvSpPr>
        <p:spPr>
          <a:xfrm>
            <a:off x="4659925" y="3558586"/>
            <a:ext cx="84475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bg1"/>
                </a:solidFill>
              </a:rPr>
              <a:t>4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ru-RU" sz="1400" dirty="0">
                <a:solidFill>
                  <a:schemeClr val="bg1"/>
                </a:solidFill>
              </a:rPr>
              <a:t>бита</a:t>
            </a:r>
            <a:endParaRPr lang="en-RU" sz="1400" dirty="0">
              <a:solidFill>
                <a:schemeClr val="bg1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E185741-2F1E-9AD1-5CB3-20C89F3EFAEF}"/>
              </a:ext>
            </a:extLst>
          </p:cNvPr>
          <p:cNvSpPr txBox="1"/>
          <p:nvPr/>
        </p:nvSpPr>
        <p:spPr>
          <a:xfrm>
            <a:off x="6366638" y="3558585"/>
            <a:ext cx="84475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bg1"/>
                </a:solidFill>
              </a:rPr>
              <a:t>10 бит</a:t>
            </a:r>
            <a:endParaRPr lang="en-RU" sz="1400" dirty="0">
              <a:solidFill>
                <a:schemeClr val="bg1"/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C138A47-131F-A4CE-8400-ED4395793C5E}"/>
              </a:ext>
            </a:extLst>
          </p:cNvPr>
          <p:cNvSpPr txBox="1"/>
          <p:nvPr/>
        </p:nvSpPr>
        <p:spPr>
          <a:xfrm>
            <a:off x="8632847" y="3555863"/>
            <a:ext cx="84475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</a:rPr>
              <a:t>n</a:t>
            </a:r>
            <a:r>
              <a:rPr lang="ru-RU" sz="1400" dirty="0">
                <a:solidFill>
                  <a:schemeClr val="bg1"/>
                </a:solidFill>
              </a:rPr>
              <a:t> бит</a:t>
            </a:r>
            <a:endParaRPr lang="en-RU" sz="1400" dirty="0">
              <a:solidFill>
                <a:schemeClr val="bg1"/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3B65727C-11EA-3992-EBB9-42ADDC6DCC28}"/>
              </a:ext>
            </a:extLst>
          </p:cNvPr>
          <p:cNvSpPr txBox="1"/>
          <p:nvPr/>
        </p:nvSpPr>
        <p:spPr>
          <a:xfrm>
            <a:off x="2457450" y="5092219"/>
            <a:ext cx="108464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</a:rPr>
              <a:t>ID </a:t>
            </a:r>
            <a:r>
              <a:rPr lang="ru-RU" sz="1400" dirty="0">
                <a:solidFill>
                  <a:schemeClr val="bg1"/>
                </a:solidFill>
              </a:rPr>
              <a:t>сервиса</a:t>
            </a:r>
            <a:endParaRPr lang="en-RU" sz="1400" dirty="0">
              <a:solidFill>
                <a:schemeClr val="bg1"/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77A721F1-3205-79A0-A94E-55324C4C7EDE}"/>
              </a:ext>
            </a:extLst>
          </p:cNvPr>
          <p:cNvSpPr txBox="1"/>
          <p:nvPr/>
        </p:nvSpPr>
        <p:spPr>
          <a:xfrm>
            <a:off x="4322937" y="5092219"/>
            <a:ext cx="139186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400" dirty="0">
                <a:solidFill>
                  <a:schemeClr val="bg1"/>
                </a:solidFill>
              </a:rPr>
              <a:t>Номер ревизии</a:t>
            </a:r>
            <a:endParaRPr lang="en-RU" sz="1400" dirty="0">
              <a:solidFill>
                <a:schemeClr val="bg1"/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8E1D12DF-09D3-370F-3BBE-B5489145A39D}"/>
              </a:ext>
            </a:extLst>
          </p:cNvPr>
          <p:cNvSpPr txBox="1"/>
          <p:nvPr/>
        </p:nvSpPr>
        <p:spPr>
          <a:xfrm>
            <a:off x="5889254" y="5092219"/>
            <a:ext cx="1799525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400" dirty="0">
                <a:solidFill>
                  <a:schemeClr val="bg1"/>
                </a:solidFill>
              </a:rPr>
              <a:t>Количество вариантов на сервис</a:t>
            </a:r>
            <a:endParaRPr lang="en-RU" sz="1400" dirty="0">
              <a:solidFill>
                <a:schemeClr val="bg1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14EB69D-7B72-5E5F-51F7-D51254952BC8}"/>
              </a:ext>
            </a:extLst>
          </p:cNvPr>
          <p:cNvSpPr txBox="1"/>
          <p:nvPr/>
        </p:nvSpPr>
        <p:spPr>
          <a:xfrm>
            <a:off x="8134025" y="5092219"/>
            <a:ext cx="1600525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400" dirty="0">
                <a:solidFill>
                  <a:schemeClr val="bg1"/>
                </a:solidFill>
              </a:rPr>
              <a:t>Варианты, </a:t>
            </a:r>
          </a:p>
          <a:p>
            <a:pPr algn="ctr"/>
            <a:r>
              <a:rPr lang="ru-RU" sz="1400" dirty="0">
                <a:solidFill>
                  <a:schemeClr val="bg1"/>
                </a:solidFill>
              </a:rPr>
              <a:t>в которые попал пользователь</a:t>
            </a:r>
            <a:endParaRPr lang="en-RU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218719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7EA72C0-5154-1A33-A46F-A796A580B83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975B3F33-1EC4-82A9-0A57-F5BAEA4068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5249F5-0093-48B0-B996-C4E44A87EAFB}" type="slidenum">
              <a:rPr lang="ru-RU" smtClean="0"/>
              <a:pPr/>
              <a:t>25</a:t>
            </a:fld>
            <a:endParaRPr lang="ru-RU"/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B383C586-D158-A783-DB6D-6A684413EE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9764" y="411163"/>
            <a:ext cx="10910888" cy="684465"/>
          </a:xfrm>
        </p:spPr>
        <p:txBody>
          <a:bodyPr/>
          <a:lstStyle/>
          <a:p>
            <a:r>
              <a:rPr lang="ru-RU" sz="4000" spc="0" dirty="0">
                <a:solidFill>
                  <a:srgbClr val="FFFFFF"/>
                </a:solidFill>
                <a:latin typeface="Arial"/>
                <a:ea typeface="+mn-ea"/>
                <a:cs typeface="+mn-cs"/>
              </a:rPr>
              <a:t>Декодинг бинарного ключа</a:t>
            </a:r>
            <a:endParaRPr lang="ru-RU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F2BFDA8-39CD-D107-0942-0D8F2A0DA255}"/>
              </a:ext>
            </a:extLst>
          </p:cNvPr>
          <p:cNvSpPr txBox="1"/>
          <p:nvPr/>
        </p:nvSpPr>
        <p:spPr>
          <a:xfrm>
            <a:off x="5518522" y="1193533"/>
            <a:ext cx="6118421" cy="458587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2800" b="1" dirty="0">
                <a:solidFill>
                  <a:schemeClr val="accent2"/>
                </a:solidFill>
                <a:effectLst/>
              </a:rPr>
              <a:t>00000</a:t>
            </a:r>
            <a:r>
              <a:rPr lang="ru-RU" sz="2800" b="1" dirty="0">
                <a:solidFill>
                  <a:schemeClr val="accent2"/>
                </a:solidFill>
                <a:effectLst/>
              </a:rPr>
              <a:t>0</a:t>
            </a:r>
            <a:r>
              <a:rPr lang="en-GB" sz="2800" b="1" dirty="0">
                <a:solidFill>
                  <a:schemeClr val="accent2"/>
                </a:solidFill>
                <a:effectLst/>
              </a:rPr>
              <a:t>0</a:t>
            </a:r>
            <a:r>
              <a:rPr lang="ru-RU" sz="2800" b="1" dirty="0">
                <a:solidFill>
                  <a:schemeClr val="accent2"/>
                </a:solidFill>
                <a:effectLst/>
              </a:rPr>
              <a:t>0</a:t>
            </a:r>
            <a:r>
              <a:rPr lang="en-GB" sz="2800" b="1" dirty="0">
                <a:solidFill>
                  <a:schemeClr val="accent2"/>
                </a:solidFill>
                <a:effectLst/>
              </a:rPr>
              <a:t>0000</a:t>
            </a:r>
            <a:r>
              <a:rPr lang="ru-RU" sz="2800" b="1" dirty="0">
                <a:solidFill>
                  <a:schemeClr val="accent2"/>
                </a:solidFill>
                <a:effectLst/>
              </a:rPr>
              <a:t>1</a:t>
            </a:r>
            <a:r>
              <a:rPr lang="en-GB" sz="2800" dirty="0">
                <a:solidFill>
                  <a:srgbClr val="FEE359"/>
                </a:solidFill>
                <a:effectLst/>
              </a:rPr>
              <a:t> </a:t>
            </a:r>
            <a:r>
              <a:rPr lang="ru-RU" sz="2800" dirty="0">
                <a:solidFill>
                  <a:srgbClr val="FFFFFF"/>
                </a:solidFill>
              </a:rPr>
              <a:t>- </a:t>
            </a:r>
            <a:r>
              <a:rPr lang="en-US" sz="2800" dirty="0">
                <a:solidFill>
                  <a:schemeClr val="accent2"/>
                </a:solidFill>
              </a:rPr>
              <a:t>IDBinary</a:t>
            </a:r>
            <a:endParaRPr lang="ru-RU" sz="2800" dirty="0">
              <a:solidFill>
                <a:schemeClr val="accent2"/>
              </a:solidFill>
            </a:endParaRPr>
          </a:p>
          <a:p>
            <a:r>
              <a:rPr lang="en-GB" sz="2000" dirty="0">
                <a:solidFill>
                  <a:srgbClr val="FFFFFF"/>
                </a:solidFill>
                <a:effectLst/>
              </a:rPr>
              <a:t>1 - </a:t>
            </a:r>
            <a:r>
              <a:rPr lang="ru-RU" sz="2000" dirty="0">
                <a:solidFill>
                  <a:srgbClr val="FFFFFF"/>
                </a:solidFill>
                <a:effectLst/>
              </a:rPr>
              <a:t>идентификатор сервиса в </a:t>
            </a:r>
            <a:r>
              <a:rPr lang="en-GB" sz="2000" dirty="0">
                <a:solidFill>
                  <a:srgbClr val="FFFFFF"/>
                </a:solidFill>
                <a:effectLst/>
              </a:rPr>
              <a:t>A/B </a:t>
            </a:r>
            <a:r>
              <a:rPr lang="ru-RU" sz="2000" dirty="0">
                <a:solidFill>
                  <a:srgbClr val="FFFFFF"/>
                </a:solidFill>
                <a:effectLst/>
              </a:rPr>
              <a:t>платформе</a:t>
            </a:r>
            <a:br>
              <a:rPr lang="en-US" sz="2000" dirty="0">
                <a:solidFill>
                  <a:srgbClr val="FFFFFF"/>
                </a:solidFill>
                <a:effectLst/>
              </a:rPr>
            </a:br>
            <a:endParaRPr lang="ru-RU" sz="2000" dirty="0">
              <a:solidFill>
                <a:srgbClr val="FFFFFF"/>
              </a:solidFill>
              <a:effectLst/>
            </a:endParaRPr>
          </a:p>
          <a:p>
            <a:r>
              <a:rPr lang="en-GB" sz="2800" b="1" dirty="0">
                <a:solidFill>
                  <a:schemeClr val="accent2"/>
                </a:solidFill>
                <a:effectLst/>
              </a:rPr>
              <a:t>001</a:t>
            </a:r>
            <a:r>
              <a:rPr lang="ru-RU" sz="2800" b="1" dirty="0">
                <a:solidFill>
                  <a:schemeClr val="accent2"/>
                </a:solidFill>
                <a:effectLst/>
              </a:rPr>
              <a:t>0</a:t>
            </a:r>
            <a:r>
              <a:rPr lang="en-GB" sz="2800" b="1" dirty="0">
                <a:solidFill>
                  <a:schemeClr val="accent2"/>
                </a:solidFill>
                <a:effectLst/>
              </a:rPr>
              <a:t> </a:t>
            </a:r>
            <a:r>
              <a:rPr lang="en-GB" sz="2800" dirty="0">
                <a:solidFill>
                  <a:schemeClr val="bg1"/>
                </a:solidFill>
                <a:effectLst/>
              </a:rPr>
              <a:t>- </a:t>
            </a:r>
            <a:r>
              <a:rPr lang="en-GB" sz="2800" dirty="0">
                <a:solidFill>
                  <a:schemeClr val="accent2"/>
                </a:solidFill>
                <a:effectLst/>
              </a:rPr>
              <a:t>revisionBinary</a:t>
            </a:r>
            <a:endParaRPr lang="ru-RU" sz="2800" dirty="0">
              <a:solidFill>
                <a:schemeClr val="accent2"/>
              </a:solidFill>
            </a:endParaRPr>
          </a:p>
          <a:p>
            <a:r>
              <a:rPr lang="ru-RU" sz="2000" dirty="0">
                <a:solidFill>
                  <a:srgbClr val="FFFFFF"/>
                </a:solidFill>
              </a:rPr>
              <a:t>2</a:t>
            </a:r>
            <a:r>
              <a:rPr lang="en-GB" sz="2000" dirty="0">
                <a:solidFill>
                  <a:srgbClr val="FFFFFF"/>
                </a:solidFill>
                <a:effectLst/>
              </a:rPr>
              <a:t> - </a:t>
            </a:r>
            <a:r>
              <a:rPr lang="ru-RU" sz="2000" dirty="0">
                <a:solidFill>
                  <a:srgbClr val="FFFFFF"/>
                </a:solidFill>
                <a:effectLst/>
              </a:rPr>
              <a:t>цикличный номер ревизии</a:t>
            </a:r>
            <a:br>
              <a:rPr lang="en-US" sz="2000" dirty="0">
                <a:solidFill>
                  <a:srgbClr val="FFFFFF"/>
                </a:solidFill>
                <a:effectLst/>
              </a:rPr>
            </a:br>
            <a:endParaRPr lang="ru-RU" sz="2000" dirty="0">
              <a:solidFill>
                <a:srgbClr val="FFFFFF"/>
              </a:solidFill>
              <a:effectLst/>
            </a:endParaRPr>
          </a:p>
          <a:p>
            <a:r>
              <a:rPr lang="en-US" sz="2800" b="1" dirty="0">
                <a:solidFill>
                  <a:schemeClr val="accent2"/>
                </a:solidFill>
              </a:rPr>
              <a:t>0001111001</a:t>
            </a:r>
            <a:r>
              <a:rPr lang="en-GB" sz="2800" dirty="0">
                <a:solidFill>
                  <a:schemeClr val="accent2"/>
                </a:solidFill>
                <a:effectLst/>
              </a:rPr>
              <a:t> </a:t>
            </a:r>
            <a:r>
              <a:rPr lang="en-GB" sz="2800" dirty="0">
                <a:solidFill>
                  <a:srgbClr val="FFFFFF"/>
                </a:solidFill>
              </a:rPr>
              <a:t>- </a:t>
            </a:r>
            <a:r>
              <a:rPr lang="en-GB" sz="2800" dirty="0">
                <a:solidFill>
                  <a:schemeClr val="accent2"/>
                </a:solidFill>
              </a:rPr>
              <a:t>variantsCountBinary</a:t>
            </a:r>
            <a:br>
              <a:rPr lang="en-GB" sz="2800" dirty="0">
                <a:solidFill>
                  <a:srgbClr val="FFFFFF"/>
                </a:solidFill>
                <a:effectLst/>
              </a:rPr>
            </a:br>
            <a:r>
              <a:rPr lang="en-GB" sz="2000" dirty="0">
                <a:solidFill>
                  <a:srgbClr val="FFFFFF"/>
                </a:solidFill>
                <a:effectLst/>
              </a:rPr>
              <a:t>121 - </a:t>
            </a:r>
            <a:r>
              <a:rPr lang="ru-RU" sz="2000" dirty="0">
                <a:solidFill>
                  <a:srgbClr val="FFFFFF"/>
                </a:solidFill>
                <a:effectLst/>
              </a:rPr>
              <a:t>количество вариантов экспериментов, которые заведены на сервис</a:t>
            </a:r>
            <a:br>
              <a:rPr lang="en-US" sz="2000" dirty="0">
                <a:solidFill>
                  <a:srgbClr val="FFFFFF"/>
                </a:solidFill>
                <a:effectLst/>
              </a:rPr>
            </a:br>
            <a:endParaRPr lang="ru-RU" sz="2000" dirty="0">
              <a:solidFill>
                <a:srgbClr val="FFFFFF"/>
              </a:solidFill>
              <a:effectLst/>
            </a:endParaRPr>
          </a:p>
          <a:p>
            <a:r>
              <a:rPr lang="en-US" sz="2800" dirty="0" err="1">
                <a:solidFill>
                  <a:schemeClr val="accent2"/>
                </a:solidFill>
                <a:effectLst/>
              </a:rPr>
              <a:t>bitmapVariantsBinary</a:t>
            </a:r>
            <a:br>
              <a:rPr lang="en-GB" sz="2800" dirty="0">
                <a:solidFill>
                  <a:srgbClr val="FFFFFF"/>
                </a:solidFill>
                <a:effectLst/>
              </a:rPr>
            </a:br>
            <a:r>
              <a:rPr lang="ru-RU" sz="2000" dirty="0">
                <a:solidFill>
                  <a:srgbClr val="FFFFFF"/>
                </a:solidFill>
              </a:rPr>
              <a:t>Битовая </a:t>
            </a:r>
            <a:r>
              <a:rPr lang="ru-RU" sz="2000" dirty="0">
                <a:solidFill>
                  <a:srgbClr val="FFFFFF"/>
                </a:solidFill>
                <a:effectLst/>
              </a:rPr>
              <a:t>карта. взведённый бит означает, что в данный вариант попал пользователь</a:t>
            </a:r>
            <a:endParaRPr lang="ru-RU" sz="2800" dirty="0">
              <a:solidFill>
                <a:srgbClr val="FFFFFF"/>
              </a:solidFill>
              <a:effectLst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DF2EBE5-3403-DDCE-8781-919D7BD8A5F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3038" y="750771"/>
            <a:ext cx="5320871" cy="5895599"/>
          </a:xfrm>
          <a:prstGeom prst="rect">
            <a:avLst/>
          </a:prstGeom>
        </p:spPr>
      </p:pic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5EEB778C-091D-98C4-C940-ED4287AE0D70}"/>
              </a:ext>
            </a:extLst>
          </p:cNvPr>
          <p:cNvCxnSpPr/>
          <p:nvPr/>
        </p:nvCxnSpPr>
        <p:spPr>
          <a:xfrm flipH="1" flipV="1">
            <a:off x="4945224" y="4777273"/>
            <a:ext cx="488685" cy="130629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1735022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CF3CE9D-C7BC-D1E5-FED6-C732137DFDE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3F235B50-A4D7-4B9E-27A3-83202D8B3A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5249F5-0093-48B0-B996-C4E44A87EAFB}" type="slidenum">
              <a:rPr lang="ru-RU" smtClean="0"/>
              <a:pPr/>
              <a:t>26</a:t>
            </a:fld>
            <a:endParaRPr lang="ru-RU"/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1BE7E1DB-03EA-A4CF-2366-41D54C58BC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9764" y="411163"/>
            <a:ext cx="10910888" cy="684465"/>
          </a:xfrm>
        </p:spPr>
        <p:txBody>
          <a:bodyPr/>
          <a:lstStyle/>
          <a:p>
            <a:r>
              <a:rPr lang="ru-RU" sz="4000" spc="0" dirty="0">
                <a:solidFill>
                  <a:srgbClr val="FFFFFF"/>
                </a:solidFill>
                <a:latin typeface="Arial"/>
                <a:ea typeface="+mn-ea"/>
                <a:cs typeface="+mn-cs"/>
              </a:rPr>
              <a:t>Какие проблемы остались</a:t>
            </a:r>
            <a:endParaRPr lang="ru-RU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F0486B7-67D8-F323-DF43-EC6D94C8EC4E}"/>
              </a:ext>
            </a:extLst>
          </p:cNvPr>
          <p:cNvSpPr txBox="1"/>
          <p:nvPr/>
        </p:nvSpPr>
        <p:spPr>
          <a:xfrm>
            <a:off x="639764" y="1788197"/>
            <a:ext cx="1007656" cy="1016342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r>
              <a:rPr lang="ru-RU" sz="7200" b="1" dirty="0">
                <a:ln w="12700">
                  <a:noFill/>
                </a:ln>
                <a:solidFill>
                  <a:schemeClr val="accent2"/>
                </a:solidFill>
              </a:rPr>
              <a:t>01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74FFC6F-5CA3-0ABB-A201-9CDD2A7BF469}"/>
              </a:ext>
            </a:extLst>
          </p:cNvPr>
          <p:cNvSpPr txBox="1"/>
          <p:nvPr/>
        </p:nvSpPr>
        <p:spPr>
          <a:xfrm>
            <a:off x="2082287" y="1906207"/>
            <a:ext cx="8416984" cy="1756992"/>
          </a:xfrm>
          <a:prstGeom prst="rect">
            <a:avLst/>
          </a:prstGeom>
          <a:noFill/>
        </p:spPr>
        <p:txBody>
          <a:bodyPr wrap="square" lIns="0" tIns="0" rIns="0" bIns="216000">
            <a:spAutoFit/>
          </a:bodyPr>
          <a:lstStyle/>
          <a:p>
            <a:r>
              <a:rPr lang="ru-RU" sz="2000" dirty="0">
                <a:solidFill>
                  <a:srgbClr val="FFFFFF"/>
                </a:solidFill>
                <a:effectLst/>
                <a:latin typeface="Arial" panose="020B0604020202020204" pitchFamily="34" charset="0"/>
              </a:rPr>
              <a:t>Ограниченное количество битов под каждый тип</a:t>
            </a:r>
          </a:p>
          <a:p>
            <a:r>
              <a:rPr lang="ru-RU" sz="2000" dirty="0">
                <a:solidFill>
                  <a:srgbClr val="FFFFFF"/>
                </a:solidFill>
                <a:effectLst/>
                <a:latin typeface="Arial" panose="020B0604020202020204" pitchFamily="34" charset="0"/>
              </a:rPr>
              <a:t>закодированных данных. </a:t>
            </a:r>
          </a:p>
          <a:p>
            <a:r>
              <a:rPr lang="ru-RU" sz="2000" dirty="0">
                <a:solidFill>
                  <a:srgbClr val="FFFFFF"/>
                </a:solidFill>
                <a:effectLst/>
                <a:latin typeface="Arial" panose="020B0604020202020204" pitchFamily="34" charset="0"/>
              </a:rPr>
              <a:t>Максимально в бинарный протокол помещается 8191 сервис, </a:t>
            </a:r>
          </a:p>
          <a:p>
            <a:r>
              <a:rPr lang="ru-RU" sz="2000" dirty="0">
                <a:solidFill>
                  <a:srgbClr val="FFFFFF"/>
                </a:solidFill>
                <a:effectLst/>
                <a:latin typeface="Arial" panose="020B0604020202020204" pitchFamily="34" charset="0"/>
              </a:rPr>
              <a:t>1023 активных варианта на один сервис</a:t>
            </a:r>
          </a:p>
          <a:p>
            <a:endParaRPr lang="ru-RU" sz="2000" dirty="0">
              <a:solidFill>
                <a:schemeClr val="bg1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67964C9-372E-BCE3-94EB-C75F9F10A44D}"/>
              </a:ext>
            </a:extLst>
          </p:cNvPr>
          <p:cNvSpPr txBox="1"/>
          <p:nvPr/>
        </p:nvSpPr>
        <p:spPr>
          <a:xfrm>
            <a:off x="639764" y="3794999"/>
            <a:ext cx="1007656" cy="1016342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r>
              <a:rPr lang="ru-RU" sz="7200" b="1" dirty="0">
                <a:ln w="12700">
                  <a:noFill/>
                </a:ln>
                <a:solidFill>
                  <a:schemeClr val="accent2"/>
                </a:solidFill>
              </a:rPr>
              <a:t>0</a:t>
            </a:r>
            <a:r>
              <a:rPr lang="en-US" sz="7200" b="1" dirty="0">
                <a:ln w="12700">
                  <a:noFill/>
                </a:ln>
                <a:solidFill>
                  <a:schemeClr val="accent2"/>
                </a:solidFill>
              </a:rPr>
              <a:t>2</a:t>
            </a:r>
            <a:endParaRPr lang="ru-RU" sz="7200" b="1" dirty="0">
              <a:ln w="12700">
                <a:noFill/>
              </a:ln>
              <a:solidFill>
                <a:schemeClr val="accent2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89AEC64-8400-660F-CE39-BE519C0A1B36}"/>
              </a:ext>
            </a:extLst>
          </p:cNvPr>
          <p:cNvSpPr txBox="1"/>
          <p:nvPr/>
        </p:nvSpPr>
        <p:spPr>
          <a:xfrm>
            <a:off x="2082287" y="3970976"/>
            <a:ext cx="8841527" cy="833663"/>
          </a:xfrm>
          <a:prstGeom prst="rect">
            <a:avLst/>
          </a:prstGeom>
          <a:noFill/>
        </p:spPr>
        <p:txBody>
          <a:bodyPr wrap="square" lIns="0" tIns="0" rIns="0" bIns="216000">
            <a:spAutoFit/>
          </a:bodyPr>
          <a:lstStyle/>
          <a:p>
            <a:r>
              <a:rPr lang="ru-RU" sz="2000" dirty="0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Все сервисы 2</a:t>
            </a:r>
            <a:r>
              <a:rPr lang="ru-RU" sz="2000" dirty="0">
                <a:solidFill>
                  <a:schemeClr val="bg1"/>
                </a:solidFill>
                <a:effectLst/>
                <a:latin typeface="Helvetica" pitchFamily="2" charset="0"/>
              </a:rPr>
              <a:t>-</a:t>
            </a:r>
            <a:r>
              <a:rPr lang="ru-RU" sz="2000" dirty="0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го уровня попадают в бинарный ключ,</a:t>
            </a:r>
            <a:r>
              <a:rPr lang="ru-RU" sz="2000" dirty="0">
                <a:solidFill>
                  <a:srgbClr val="FFFFFF"/>
                </a:solidFill>
                <a:effectLst/>
                <a:latin typeface="Arial" panose="020B0604020202020204" pitchFamily="34" charset="0"/>
              </a:rPr>
              <a:t> даже</a:t>
            </a:r>
            <a:endParaRPr lang="ru-RU" sz="2000" dirty="0">
              <a:solidFill>
                <a:srgbClr val="F7807F"/>
              </a:solidFill>
              <a:effectLst/>
              <a:latin typeface="Arial" panose="020B0604020202020204" pitchFamily="34" charset="0"/>
            </a:endParaRPr>
          </a:p>
          <a:p>
            <a:r>
              <a:rPr lang="ru-RU" sz="2000" dirty="0">
                <a:solidFill>
                  <a:srgbClr val="FFFFFF"/>
                </a:solidFill>
                <a:effectLst/>
                <a:latin typeface="Arial" panose="020B0604020202020204" pitchFamily="34" charset="0"/>
              </a:rPr>
              <a:t>если в них нет никаких экспериментов</a:t>
            </a:r>
          </a:p>
        </p:txBody>
      </p:sp>
    </p:spTree>
    <p:extLst>
      <p:ext uri="{BB962C8B-B14F-4D97-AF65-F5344CB8AC3E}">
        <p14:creationId xmlns:p14="http://schemas.microsoft.com/office/powerpoint/2010/main" val="307966075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379953B-D874-5A13-FA22-7BDC1F81756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C45F2DF0-A77E-8FE2-9243-16DF01CE2E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5249F5-0093-48B0-B996-C4E44A87EAFB}" type="slidenum">
              <a:rPr lang="ru-RU" smtClean="0"/>
              <a:pPr/>
              <a:t>27</a:t>
            </a:fld>
            <a:endParaRPr lang="ru-RU"/>
          </a:p>
        </p:txBody>
      </p:sp>
      <p:sp>
        <p:nvSpPr>
          <p:cNvPr id="10" name="Номер слайда 2">
            <a:extLst>
              <a:ext uri="{FF2B5EF4-FFF2-40B4-BE49-F238E27FC236}">
                <a16:creationId xmlns:a16="http://schemas.microsoft.com/office/drawing/2014/main" id="{01E61F06-160A-551B-B2AE-F6855BF3E584}"/>
              </a:ext>
            </a:extLst>
          </p:cNvPr>
          <p:cNvSpPr txBox="1">
            <a:spLocks/>
          </p:cNvSpPr>
          <p:nvPr/>
        </p:nvSpPr>
        <p:spPr>
          <a:xfrm>
            <a:off x="10657744" y="6430370"/>
            <a:ext cx="908050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RU"/>
            </a:defPPr>
            <a:lvl1pPr marL="0" algn="r" defTabSz="914400" rtl="0" eaLnBrk="1" latinLnBrk="0" hangingPunct="1">
              <a:defRPr sz="1200" kern="120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B5249F5-0093-48B0-B996-C4E44A87EAFB}" type="slidenum">
              <a:rPr lang="ru-RU" smtClean="0"/>
              <a:pPr/>
              <a:t>27</a:t>
            </a:fld>
            <a:endParaRPr lang="ru-RU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F047EA73-649C-D8F6-0033-ACB38684CED3}"/>
              </a:ext>
            </a:extLst>
          </p:cNvPr>
          <p:cNvSpPr txBox="1">
            <a:spLocks/>
          </p:cNvSpPr>
          <p:nvPr/>
        </p:nvSpPr>
        <p:spPr>
          <a:xfrm>
            <a:off x="639764" y="411163"/>
            <a:ext cx="10910888" cy="68446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4400" b="0" kern="1200" spc="-30" baseline="0">
                <a:solidFill>
                  <a:schemeClr val="bg2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ru-RU" sz="4000" spc="0" dirty="0">
                <a:solidFill>
                  <a:srgbClr val="FFFFFF"/>
                </a:solidFill>
                <a:latin typeface="Arial"/>
                <a:ea typeface="+mn-ea"/>
                <a:cs typeface="+mn-cs"/>
              </a:rPr>
              <a:t>Инцидент </a:t>
            </a:r>
            <a:r>
              <a:rPr lang="en-US" sz="4000" spc="0" dirty="0">
                <a:solidFill>
                  <a:srgbClr val="FFFFFF"/>
                </a:solidFill>
                <a:latin typeface="Arial"/>
                <a:ea typeface="+mn-ea"/>
                <a:cs typeface="+mn-cs"/>
              </a:rPr>
              <a:t>P1</a:t>
            </a:r>
            <a:endParaRPr lang="ru-RU" dirty="0"/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104B438F-2337-2E5E-2E28-03B8E973F826}"/>
              </a:ext>
            </a:extLst>
          </p:cNvPr>
          <p:cNvCxnSpPr>
            <a:cxnSpLocks/>
          </p:cNvCxnSpPr>
          <p:nvPr/>
        </p:nvCxnSpPr>
        <p:spPr>
          <a:xfrm flipV="1">
            <a:off x="2455817" y="1620806"/>
            <a:ext cx="0" cy="4138191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CAF05188-003B-AC6F-8C0F-6444E8C2BDD8}"/>
              </a:ext>
            </a:extLst>
          </p:cNvPr>
          <p:cNvCxnSpPr>
            <a:cxnSpLocks/>
          </p:cNvCxnSpPr>
          <p:nvPr/>
        </p:nvCxnSpPr>
        <p:spPr>
          <a:xfrm>
            <a:off x="2449801" y="5758997"/>
            <a:ext cx="8049527" cy="0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153BFA4C-A859-E983-4974-BA0A2C644DB0}"/>
              </a:ext>
            </a:extLst>
          </p:cNvPr>
          <p:cNvSpPr txBox="1"/>
          <p:nvPr/>
        </p:nvSpPr>
        <p:spPr>
          <a:xfrm>
            <a:off x="1438111" y="4531098"/>
            <a:ext cx="81179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dirty="0">
                <a:solidFill>
                  <a:schemeClr val="bg1"/>
                </a:solidFill>
              </a:rPr>
              <a:t>760</a:t>
            </a:r>
            <a:endParaRPr lang="en-RU" dirty="0">
              <a:solidFill>
                <a:schemeClr val="bg1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5444EAA-2FAB-5DC0-AA4B-3E24DBAC5400}"/>
              </a:ext>
            </a:extLst>
          </p:cNvPr>
          <p:cNvSpPr txBox="1"/>
          <p:nvPr/>
        </p:nvSpPr>
        <p:spPr>
          <a:xfrm>
            <a:off x="1438111" y="2727114"/>
            <a:ext cx="81179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dirty="0">
                <a:solidFill>
                  <a:schemeClr val="bg1"/>
                </a:solidFill>
              </a:rPr>
              <a:t>940</a:t>
            </a:r>
            <a:endParaRPr lang="en-RU" dirty="0">
              <a:solidFill>
                <a:schemeClr val="bg1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AD05E3A-D443-A995-3EAB-8CDEBBEE55D2}"/>
              </a:ext>
            </a:extLst>
          </p:cNvPr>
          <p:cNvSpPr txBox="1"/>
          <p:nvPr/>
        </p:nvSpPr>
        <p:spPr>
          <a:xfrm>
            <a:off x="1438111" y="3629106"/>
            <a:ext cx="81179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dirty="0">
                <a:solidFill>
                  <a:schemeClr val="bg1"/>
                </a:solidFill>
              </a:rPr>
              <a:t>834</a:t>
            </a:r>
            <a:endParaRPr lang="en-RU" dirty="0">
              <a:solidFill>
                <a:schemeClr val="bg1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6C813DB-7E03-DA13-77B0-7CC78C7CE53A}"/>
              </a:ext>
            </a:extLst>
          </p:cNvPr>
          <p:cNvSpPr txBox="1"/>
          <p:nvPr/>
        </p:nvSpPr>
        <p:spPr>
          <a:xfrm>
            <a:off x="1438111" y="1825122"/>
            <a:ext cx="81179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ru-RU" dirty="0">
                <a:solidFill>
                  <a:schemeClr val="bg1"/>
                </a:solidFill>
              </a:rPr>
              <a:t>1024</a:t>
            </a:r>
            <a:endParaRPr lang="en-RU" dirty="0">
              <a:solidFill>
                <a:schemeClr val="bg1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8471575-0951-2EAD-3566-D87BA8F133E4}"/>
              </a:ext>
            </a:extLst>
          </p:cNvPr>
          <p:cNvSpPr txBox="1"/>
          <p:nvPr/>
        </p:nvSpPr>
        <p:spPr>
          <a:xfrm>
            <a:off x="1438111" y="5433091"/>
            <a:ext cx="81179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ru-RU" dirty="0">
                <a:solidFill>
                  <a:schemeClr val="bg1"/>
                </a:solidFill>
              </a:rPr>
              <a:t>0</a:t>
            </a:r>
            <a:endParaRPr lang="en-RU" dirty="0">
              <a:solidFill>
                <a:schemeClr val="bg1"/>
              </a:solidFill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9E578B84-F41B-2727-B1A2-FBE660A44F89}"/>
              </a:ext>
            </a:extLst>
          </p:cNvPr>
          <p:cNvCxnSpPr/>
          <p:nvPr/>
        </p:nvCxnSpPr>
        <p:spPr>
          <a:xfrm>
            <a:off x="2449801" y="2009788"/>
            <a:ext cx="7778720" cy="0"/>
          </a:xfrm>
          <a:prstGeom prst="line">
            <a:avLst/>
          </a:prstGeom>
          <a:ln w="12700">
            <a:solidFill>
              <a:srgbClr val="F53C1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F35FEF9D-C2F1-1EA2-174A-B3782354559A}"/>
              </a:ext>
            </a:extLst>
          </p:cNvPr>
          <p:cNvSpPr txBox="1"/>
          <p:nvPr/>
        </p:nvSpPr>
        <p:spPr>
          <a:xfrm>
            <a:off x="2763703" y="6044309"/>
            <a:ext cx="149774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dirty="0">
                <a:solidFill>
                  <a:schemeClr val="bg1"/>
                </a:solidFill>
              </a:rPr>
              <a:t>June, 2024</a:t>
            </a:r>
            <a:endParaRPr lang="en-RU" dirty="0">
              <a:solidFill>
                <a:schemeClr val="bg1"/>
              </a:solidFill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A0C8072F-A3AB-B067-F556-EE00F8160026}"/>
              </a:ext>
            </a:extLst>
          </p:cNvPr>
          <p:cNvSpPr txBox="1"/>
          <p:nvPr/>
        </p:nvSpPr>
        <p:spPr>
          <a:xfrm>
            <a:off x="4422725" y="6044309"/>
            <a:ext cx="149774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dirty="0">
                <a:solidFill>
                  <a:schemeClr val="bg1"/>
                </a:solidFill>
              </a:rPr>
              <a:t>July, 2024</a:t>
            </a:r>
            <a:endParaRPr lang="en-RU" dirty="0">
              <a:solidFill>
                <a:schemeClr val="bg1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B420ED1-1DD8-F154-BB35-FB00668A3BC6}"/>
              </a:ext>
            </a:extLst>
          </p:cNvPr>
          <p:cNvSpPr txBox="1"/>
          <p:nvPr/>
        </p:nvSpPr>
        <p:spPr>
          <a:xfrm>
            <a:off x="6081747" y="6044309"/>
            <a:ext cx="149774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dirty="0">
                <a:solidFill>
                  <a:schemeClr val="bg1"/>
                </a:solidFill>
              </a:rPr>
              <a:t>Aug, 2024</a:t>
            </a:r>
            <a:endParaRPr lang="en-RU" dirty="0">
              <a:solidFill>
                <a:schemeClr val="bg1"/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921D34FE-73E0-E8DD-541D-F38D05CC73D7}"/>
              </a:ext>
            </a:extLst>
          </p:cNvPr>
          <p:cNvSpPr txBox="1"/>
          <p:nvPr/>
        </p:nvSpPr>
        <p:spPr>
          <a:xfrm>
            <a:off x="7740769" y="6044309"/>
            <a:ext cx="149774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dirty="0">
                <a:solidFill>
                  <a:schemeClr val="bg1"/>
                </a:solidFill>
              </a:rPr>
              <a:t>Sep, 2024</a:t>
            </a:r>
            <a:endParaRPr lang="en-RU" dirty="0">
              <a:solidFill>
                <a:schemeClr val="bg1"/>
              </a:solidFill>
            </a:endParaRP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69013BF1-7E60-FDEC-F9EE-3F401A10B47E}"/>
              </a:ext>
            </a:extLst>
          </p:cNvPr>
          <p:cNvCxnSpPr>
            <a:cxnSpLocks/>
          </p:cNvCxnSpPr>
          <p:nvPr/>
        </p:nvCxnSpPr>
        <p:spPr>
          <a:xfrm flipV="1">
            <a:off x="3512576" y="3998438"/>
            <a:ext cx="910149" cy="789902"/>
          </a:xfrm>
          <a:prstGeom prst="line">
            <a:avLst/>
          </a:prstGeom>
          <a:ln w="1270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19E11207-7026-CA5F-3CBD-85D753BB43BB}"/>
              </a:ext>
            </a:extLst>
          </p:cNvPr>
          <p:cNvCxnSpPr>
            <a:cxnSpLocks/>
          </p:cNvCxnSpPr>
          <p:nvPr/>
        </p:nvCxnSpPr>
        <p:spPr>
          <a:xfrm flipV="1">
            <a:off x="6358722" y="2009788"/>
            <a:ext cx="2727771" cy="914161"/>
          </a:xfrm>
          <a:prstGeom prst="line">
            <a:avLst/>
          </a:prstGeom>
          <a:ln w="1270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6C654780-D529-B95D-1580-2EA5BC398AE3}"/>
              </a:ext>
            </a:extLst>
          </p:cNvPr>
          <p:cNvSpPr txBox="1"/>
          <p:nvPr/>
        </p:nvSpPr>
        <p:spPr>
          <a:xfrm>
            <a:off x="7258361" y="1211510"/>
            <a:ext cx="3495527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ru-RU" sz="1400" dirty="0">
                <a:solidFill>
                  <a:schemeClr val="bg1"/>
                </a:solidFill>
              </a:rPr>
              <a:t>Перестали обрабатываться конфиги всех сервисов после </a:t>
            </a:r>
            <a:r>
              <a:rPr lang="en-US" sz="1400" dirty="0">
                <a:solidFill>
                  <a:schemeClr val="bg1"/>
                </a:solidFill>
              </a:rPr>
              <a:t>account</a:t>
            </a:r>
            <a:endParaRPr lang="en-RU" sz="1400" dirty="0">
              <a:solidFill>
                <a:schemeClr val="bg1"/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6CA5456E-A79F-E24C-F507-4D46FC7AE6FA}"/>
              </a:ext>
            </a:extLst>
          </p:cNvPr>
          <p:cNvSpPr txBox="1"/>
          <p:nvPr/>
        </p:nvSpPr>
        <p:spPr>
          <a:xfrm>
            <a:off x="539015" y="948136"/>
            <a:ext cx="4727287" cy="6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dirty="0">
                <a:solidFill>
                  <a:schemeClr val="bg1"/>
                </a:solidFill>
              </a:rPr>
              <a:t>Количество активных вариантов</a:t>
            </a:r>
          </a:p>
          <a:p>
            <a:r>
              <a:rPr lang="ru-RU" dirty="0">
                <a:solidFill>
                  <a:schemeClr val="bg1"/>
                </a:solidFill>
              </a:rPr>
              <a:t>сервиса </a:t>
            </a:r>
            <a:r>
              <a:rPr lang="en-US" dirty="0">
                <a:solidFill>
                  <a:schemeClr val="bg1"/>
                </a:solidFill>
              </a:rPr>
              <a:t>account</a:t>
            </a: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41BD5E26-8F92-73B0-76AD-B4DA5D0E9A18}"/>
              </a:ext>
            </a:extLst>
          </p:cNvPr>
          <p:cNvCxnSpPr>
            <a:cxnSpLocks/>
          </p:cNvCxnSpPr>
          <p:nvPr/>
        </p:nvCxnSpPr>
        <p:spPr>
          <a:xfrm flipV="1">
            <a:off x="4442286" y="2923949"/>
            <a:ext cx="1896875" cy="1074489"/>
          </a:xfrm>
          <a:prstGeom prst="line">
            <a:avLst/>
          </a:prstGeom>
          <a:ln w="1270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3172694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3BD1075-5458-D981-FD4E-107F0A92EAB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584F78E0-64BA-1C14-FC7D-665CD34A85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5249F5-0093-48B0-B996-C4E44A87EAFB}" type="slidenum">
              <a:rPr lang="ru-RU" smtClean="0"/>
              <a:pPr/>
              <a:t>28</a:t>
            </a:fld>
            <a:endParaRPr lang="ru-RU"/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3D885E47-404C-3373-F6BC-6501A7FF2C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9764" y="411163"/>
            <a:ext cx="10910888" cy="684465"/>
          </a:xfrm>
        </p:spPr>
        <p:txBody>
          <a:bodyPr/>
          <a:lstStyle/>
          <a:p>
            <a:r>
              <a:rPr lang="ru-RU" sz="4000" spc="0" dirty="0">
                <a:solidFill>
                  <a:srgbClr val="FFFFFF"/>
                </a:solidFill>
                <a:latin typeface="Arial"/>
                <a:ea typeface="+mn-ea"/>
                <a:cs typeface="+mn-cs"/>
              </a:rPr>
              <a:t>Какие шаги мы предприняли</a:t>
            </a:r>
            <a:endParaRPr lang="ru-RU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07C5520-6C6A-831B-8504-1ED02F86CF1A}"/>
              </a:ext>
            </a:extLst>
          </p:cNvPr>
          <p:cNvSpPr txBox="1"/>
          <p:nvPr/>
        </p:nvSpPr>
        <p:spPr>
          <a:xfrm>
            <a:off x="639764" y="1281539"/>
            <a:ext cx="8416984" cy="525886"/>
          </a:xfrm>
          <a:prstGeom prst="rect">
            <a:avLst/>
          </a:prstGeom>
          <a:noFill/>
        </p:spPr>
        <p:txBody>
          <a:bodyPr wrap="square" lIns="0" tIns="0" rIns="0" bIns="216000">
            <a:spAutoFit/>
          </a:bodyPr>
          <a:lstStyle/>
          <a:p>
            <a:r>
              <a:rPr lang="ru-RU" sz="2000" dirty="0">
                <a:solidFill>
                  <a:srgbClr val="FFFFFF"/>
                </a:solidFill>
                <a:effectLst/>
                <a:latin typeface="Arial" panose="020B0604020202020204" pitchFamily="34" charset="0"/>
              </a:rPr>
              <a:t>Алерты на переполнение разрядов бинарного ключа</a:t>
            </a:r>
            <a:endParaRPr lang="ru-RU" sz="2000" dirty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8B77E60-995A-C79F-E685-557F2F6B2922}"/>
              </a:ext>
            </a:extLst>
          </p:cNvPr>
          <p:cNvSpPr txBox="1"/>
          <p:nvPr/>
        </p:nvSpPr>
        <p:spPr>
          <a:xfrm>
            <a:off x="1789239" y="4223210"/>
            <a:ext cx="251382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</a:rPr>
              <a:t>0000010100000</a:t>
            </a:r>
            <a:endParaRPr lang="en-RU" sz="2400" dirty="0">
              <a:solidFill>
                <a:schemeClr val="bg1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ADE8CDA-3A79-2120-BAE1-AE67DC38F185}"/>
              </a:ext>
            </a:extLst>
          </p:cNvPr>
          <p:cNvSpPr txBox="1"/>
          <p:nvPr/>
        </p:nvSpPr>
        <p:spPr>
          <a:xfrm>
            <a:off x="4607531" y="4223209"/>
            <a:ext cx="915399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</a:rPr>
              <a:t>0011</a:t>
            </a:r>
            <a:endParaRPr lang="en-RU" sz="2400" dirty="0">
              <a:solidFill>
                <a:schemeClr val="bg1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B563EB7-5733-89DB-6699-8E8E9CEAB7ED}"/>
              </a:ext>
            </a:extLst>
          </p:cNvPr>
          <p:cNvSpPr txBox="1"/>
          <p:nvPr/>
        </p:nvSpPr>
        <p:spPr>
          <a:xfrm>
            <a:off x="5827402" y="4223209"/>
            <a:ext cx="206187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</a:rPr>
              <a:t>0000001000</a:t>
            </a:r>
            <a:endParaRPr lang="en-RU" sz="2400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7D28C78-8AA5-4B4C-A72E-59A0A91921AE}"/>
              </a:ext>
            </a:extLst>
          </p:cNvPr>
          <p:cNvSpPr txBox="1"/>
          <p:nvPr/>
        </p:nvSpPr>
        <p:spPr>
          <a:xfrm>
            <a:off x="8193749" y="4223209"/>
            <a:ext cx="206187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</a:rPr>
              <a:t>01100000</a:t>
            </a:r>
            <a:endParaRPr lang="en-RU" sz="2400" dirty="0">
              <a:solidFill>
                <a:schemeClr val="bg1"/>
              </a:solidFill>
            </a:endParaRPr>
          </a:p>
        </p:txBody>
      </p:sp>
      <p:sp>
        <p:nvSpPr>
          <p:cNvPr id="12" name="Left Brace 11">
            <a:extLst>
              <a:ext uri="{FF2B5EF4-FFF2-40B4-BE49-F238E27FC236}">
                <a16:creationId xmlns:a16="http://schemas.microsoft.com/office/drawing/2014/main" id="{86338655-6429-2B38-3F0B-F6F7F74A566A}"/>
              </a:ext>
            </a:extLst>
          </p:cNvPr>
          <p:cNvSpPr/>
          <p:nvPr/>
        </p:nvSpPr>
        <p:spPr>
          <a:xfrm rot="5400000">
            <a:off x="2894794" y="2959985"/>
            <a:ext cx="161364" cy="2365084"/>
          </a:xfrm>
          <a:prstGeom prst="leftBrac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RU"/>
          </a:p>
        </p:txBody>
      </p:sp>
      <p:sp>
        <p:nvSpPr>
          <p:cNvPr id="13" name="Left Brace 12">
            <a:extLst>
              <a:ext uri="{FF2B5EF4-FFF2-40B4-BE49-F238E27FC236}">
                <a16:creationId xmlns:a16="http://schemas.microsoft.com/office/drawing/2014/main" id="{0CBAE5A4-28D3-AB1F-323B-E0C626C87386}"/>
              </a:ext>
            </a:extLst>
          </p:cNvPr>
          <p:cNvSpPr/>
          <p:nvPr/>
        </p:nvSpPr>
        <p:spPr>
          <a:xfrm rot="5400000">
            <a:off x="4938189" y="3768514"/>
            <a:ext cx="161364" cy="748023"/>
          </a:xfrm>
          <a:prstGeom prst="leftBrac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RU"/>
          </a:p>
        </p:txBody>
      </p:sp>
      <p:sp>
        <p:nvSpPr>
          <p:cNvPr id="14" name="Left Brace 13">
            <a:extLst>
              <a:ext uri="{FF2B5EF4-FFF2-40B4-BE49-F238E27FC236}">
                <a16:creationId xmlns:a16="http://schemas.microsoft.com/office/drawing/2014/main" id="{736F6BB3-9023-D36E-2BA7-ADADB9E454B5}"/>
              </a:ext>
            </a:extLst>
          </p:cNvPr>
          <p:cNvSpPr/>
          <p:nvPr/>
        </p:nvSpPr>
        <p:spPr>
          <a:xfrm rot="5400000">
            <a:off x="6669977" y="3266258"/>
            <a:ext cx="161364" cy="1752535"/>
          </a:xfrm>
          <a:prstGeom prst="leftBrac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RU"/>
          </a:p>
        </p:txBody>
      </p:sp>
      <p:sp>
        <p:nvSpPr>
          <p:cNvPr id="15" name="Left Brace 14">
            <a:extLst>
              <a:ext uri="{FF2B5EF4-FFF2-40B4-BE49-F238E27FC236}">
                <a16:creationId xmlns:a16="http://schemas.microsoft.com/office/drawing/2014/main" id="{86CB8AB6-9780-A6BB-0272-C11272338D01}"/>
              </a:ext>
            </a:extLst>
          </p:cNvPr>
          <p:cNvSpPr/>
          <p:nvPr/>
        </p:nvSpPr>
        <p:spPr>
          <a:xfrm rot="5400000">
            <a:off x="8849513" y="3453069"/>
            <a:ext cx="161364" cy="1378913"/>
          </a:xfrm>
          <a:prstGeom prst="leftBrac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RU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2AAA99A-B330-A5E1-6466-1430E1CCFB64}"/>
              </a:ext>
            </a:extLst>
          </p:cNvPr>
          <p:cNvSpPr txBox="1"/>
          <p:nvPr/>
        </p:nvSpPr>
        <p:spPr>
          <a:xfrm>
            <a:off x="2553097" y="3555863"/>
            <a:ext cx="84475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</a:rPr>
              <a:t>13 </a:t>
            </a:r>
            <a:r>
              <a:rPr lang="ru-RU" sz="1400" dirty="0">
                <a:solidFill>
                  <a:schemeClr val="bg1"/>
                </a:solidFill>
              </a:rPr>
              <a:t>бит</a:t>
            </a:r>
            <a:endParaRPr lang="en-RU" sz="1400" dirty="0">
              <a:solidFill>
                <a:schemeClr val="bg1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5BBF86C-B459-0DCB-FF71-4ABA362B8EF8}"/>
              </a:ext>
            </a:extLst>
          </p:cNvPr>
          <p:cNvSpPr txBox="1"/>
          <p:nvPr/>
        </p:nvSpPr>
        <p:spPr>
          <a:xfrm>
            <a:off x="4678172" y="3555863"/>
            <a:ext cx="84475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bg1"/>
                </a:solidFill>
              </a:rPr>
              <a:t>4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ru-RU" sz="1400" dirty="0">
                <a:solidFill>
                  <a:schemeClr val="bg1"/>
                </a:solidFill>
              </a:rPr>
              <a:t>бита</a:t>
            </a:r>
            <a:endParaRPr lang="en-RU" sz="1400" dirty="0">
              <a:solidFill>
                <a:schemeClr val="bg1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0B13734-7A73-5C85-D787-79F4C1BBE095}"/>
              </a:ext>
            </a:extLst>
          </p:cNvPr>
          <p:cNvSpPr txBox="1"/>
          <p:nvPr/>
        </p:nvSpPr>
        <p:spPr>
          <a:xfrm>
            <a:off x="6427323" y="3558587"/>
            <a:ext cx="84475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bg1"/>
                </a:solidFill>
              </a:rPr>
              <a:t>10 бит</a:t>
            </a:r>
            <a:endParaRPr lang="en-RU" sz="1400" dirty="0">
              <a:solidFill>
                <a:schemeClr val="bg1"/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DBD3EB6-1FC7-341F-59AE-C6513794DBEF}"/>
              </a:ext>
            </a:extLst>
          </p:cNvPr>
          <p:cNvSpPr txBox="1"/>
          <p:nvPr/>
        </p:nvSpPr>
        <p:spPr>
          <a:xfrm>
            <a:off x="8632847" y="3555863"/>
            <a:ext cx="84475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</a:rPr>
              <a:t>n</a:t>
            </a:r>
            <a:r>
              <a:rPr lang="ru-RU" sz="1400" dirty="0">
                <a:solidFill>
                  <a:schemeClr val="bg1"/>
                </a:solidFill>
              </a:rPr>
              <a:t> бит</a:t>
            </a:r>
            <a:endParaRPr lang="en-RU" sz="1400" dirty="0">
              <a:solidFill>
                <a:schemeClr val="bg1"/>
              </a:solidFill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2280740-4BDD-2C92-F6F9-58BAD5599470}"/>
              </a:ext>
            </a:extLst>
          </p:cNvPr>
          <p:cNvSpPr txBox="1"/>
          <p:nvPr/>
        </p:nvSpPr>
        <p:spPr>
          <a:xfrm>
            <a:off x="2092094" y="4865582"/>
            <a:ext cx="176676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FF0000"/>
                </a:solidFill>
              </a:rPr>
              <a:t>Нужен алерт</a:t>
            </a:r>
            <a:endParaRPr lang="en-RU" dirty="0">
              <a:solidFill>
                <a:srgbClr val="FF0000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580B699A-59BB-9735-BB29-0FB75646777F}"/>
              </a:ext>
            </a:extLst>
          </p:cNvPr>
          <p:cNvSpPr txBox="1"/>
          <p:nvPr/>
        </p:nvSpPr>
        <p:spPr>
          <a:xfrm>
            <a:off x="5924674" y="4896080"/>
            <a:ext cx="165196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FF0000"/>
                </a:solidFill>
              </a:rPr>
              <a:t>Нужен алерт</a:t>
            </a:r>
            <a:endParaRPr lang="en-RU" dirty="0">
              <a:solidFill>
                <a:srgbClr val="FF0000"/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B68B40A-A83B-56E0-5AEA-6A603A9ABF32}"/>
              </a:ext>
            </a:extLst>
          </p:cNvPr>
          <p:cNvSpPr txBox="1"/>
          <p:nvPr/>
        </p:nvSpPr>
        <p:spPr>
          <a:xfrm>
            <a:off x="2416319" y="2449798"/>
            <a:ext cx="111831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</a:rPr>
              <a:t>ID </a:t>
            </a:r>
            <a:r>
              <a:rPr lang="ru-RU" sz="1400" dirty="0">
                <a:solidFill>
                  <a:schemeClr val="bg1"/>
                </a:solidFill>
              </a:rPr>
              <a:t>сервиса</a:t>
            </a:r>
            <a:endParaRPr lang="en-RU" sz="1400" dirty="0">
              <a:solidFill>
                <a:schemeClr val="bg1"/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E515A40F-4DCF-D52B-0564-193EB7975332}"/>
              </a:ext>
            </a:extLst>
          </p:cNvPr>
          <p:cNvSpPr txBox="1"/>
          <p:nvPr/>
        </p:nvSpPr>
        <p:spPr>
          <a:xfrm>
            <a:off x="4369296" y="2419423"/>
            <a:ext cx="139186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400" dirty="0">
                <a:solidFill>
                  <a:schemeClr val="bg1"/>
                </a:solidFill>
              </a:rPr>
              <a:t>Номер ревизии</a:t>
            </a:r>
            <a:endParaRPr lang="en-RU" sz="1400" dirty="0">
              <a:solidFill>
                <a:schemeClr val="bg1"/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677CA07-8C44-7813-63A5-ACD6D2B2BDE3}"/>
              </a:ext>
            </a:extLst>
          </p:cNvPr>
          <p:cNvSpPr txBox="1"/>
          <p:nvPr/>
        </p:nvSpPr>
        <p:spPr>
          <a:xfrm>
            <a:off x="6054725" y="2419423"/>
            <a:ext cx="1391868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400" dirty="0">
                <a:solidFill>
                  <a:schemeClr val="bg1"/>
                </a:solidFill>
              </a:rPr>
              <a:t>Количество вариантов на сервис</a:t>
            </a:r>
            <a:endParaRPr lang="en-RU" sz="1400" dirty="0">
              <a:solidFill>
                <a:schemeClr val="bg1"/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5A531DAA-068C-AEE0-158B-4394B22F6627}"/>
              </a:ext>
            </a:extLst>
          </p:cNvPr>
          <p:cNvSpPr txBox="1"/>
          <p:nvPr/>
        </p:nvSpPr>
        <p:spPr>
          <a:xfrm>
            <a:off x="8234261" y="2419423"/>
            <a:ext cx="1391868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400" dirty="0">
                <a:solidFill>
                  <a:schemeClr val="bg1"/>
                </a:solidFill>
              </a:rPr>
              <a:t>Варианты, </a:t>
            </a:r>
          </a:p>
          <a:p>
            <a:pPr algn="ctr"/>
            <a:r>
              <a:rPr lang="ru-RU" sz="1400" dirty="0">
                <a:solidFill>
                  <a:schemeClr val="bg1"/>
                </a:solidFill>
              </a:rPr>
              <a:t>в которые попал пользователь</a:t>
            </a:r>
            <a:endParaRPr lang="en-RU" sz="1400" dirty="0">
              <a:solidFill>
                <a:schemeClr val="bg1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7D25A80C-A7C2-4DC8-B7D0-083918F1F0E8}"/>
              </a:ext>
            </a:extLst>
          </p:cNvPr>
          <p:cNvSpPr txBox="1"/>
          <p:nvPr/>
        </p:nvSpPr>
        <p:spPr>
          <a:xfrm>
            <a:off x="1952867" y="5474248"/>
            <a:ext cx="251382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bg1"/>
                </a:solidFill>
              </a:rPr>
              <a:t>Не более 8191 сервиса</a:t>
            </a:r>
            <a:endParaRPr lang="en-RU" sz="1400" dirty="0">
              <a:solidFill>
                <a:schemeClr val="bg1"/>
              </a:solidFill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3358276A-67FC-360F-25E2-3B19BF9A97F1}"/>
              </a:ext>
            </a:extLst>
          </p:cNvPr>
          <p:cNvSpPr txBox="1"/>
          <p:nvPr/>
        </p:nvSpPr>
        <p:spPr>
          <a:xfrm>
            <a:off x="5827402" y="5501455"/>
            <a:ext cx="251382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bg1"/>
                </a:solidFill>
              </a:rPr>
              <a:t>Не более 1023 варианта</a:t>
            </a:r>
            <a:endParaRPr lang="en-RU" sz="1400" dirty="0">
              <a:solidFill>
                <a:schemeClr val="bg1"/>
              </a:solidFill>
            </a:endParaRPr>
          </a:p>
        </p:txBody>
      </p: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D6D6B265-D42E-6627-3231-B68829E567AD}"/>
              </a:ext>
            </a:extLst>
          </p:cNvPr>
          <p:cNvCxnSpPr/>
          <p:nvPr/>
        </p:nvCxnSpPr>
        <p:spPr>
          <a:xfrm>
            <a:off x="2975474" y="5234914"/>
            <a:ext cx="0" cy="233904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9FCAC74A-7A54-FDE1-996F-5A25F085BAA7}"/>
              </a:ext>
            </a:extLst>
          </p:cNvPr>
          <p:cNvCxnSpPr>
            <a:cxnSpLocks/>
          </p:cNvCxnSpPr>
          <p:nvPr/>
        </p:nvCxnSpPr>
        <p:spPr>
          <a:xfrm flipH="1">
            <a:off x="6750658" y="5265412"/>
            <a:ext cx="1" cy="208836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950964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9A17BF2-2005-637E-25D5-25A0DB473B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FBD3F8F7-3E90-3180-6AA0-36B555EC2F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5249F5-0093-48B0-B996-C4E44A87EAFB}" type="slidenum">
              <a:rPr lang="ru-RU" smtClean="0"/>
              <a:pPr/>
              <a:t>29</a:t>
            </a:fld>
            <a:endParaRPr lang="ru-RU"/>
          </a:p>
        </p:txBody>
      </p:sp>
      <p:sp>
        <p:nvSpPr>
          <p:cNvPr id="5" name="Прямоугольник: скругленные углы 1">
            <a:extLst>
              <a:ext uri="{FF2B5EF4-FFF2-40B4-BE49-F238E27FC236}">
                <a16:creationId xmlns:a16="http://schemas.microsoft.com/office/drawing/2014/main" id="{E5943125-D34D-5632-54B7-D76BF6AF6DCD}"/>
              </a:ext>
            </a:extLst>
          </p:cNvPr>
          <p:cNvSpPr/>
          <p:nvPr/>
        </p:nvSpPr>
        <p:spPr>
          <a:xfrm>
            <a:off x="4752392" y="814279"/>
            <a:ext cx="6813402" cy="1462988"/>
          </a:xfrm>
          <a:prstGeom prst="roundRect">
            <a:avLst>
              <a:gd name="adj" fmla="val 21552"/>
            </a:avLst>
          </a:prstGeom>
          <a:solidFill>
            <a:schemeClr val="tx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40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F8738D9-3A59-C6D2-AB7A-89A7BF5AB96C}"/>
              </a:ext>
            </a:extLst>
          </p:cNvPr>
          <p:cNvSpPr txBox="1"/>
          <p:nvPr/>
        </p:nvSpPr>
        <p:spPr>
          <a:xfrm>
            <a:off x="5145021" y="1037602"/>
            <a:ext cx="1007656" cy="1016342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r>
              <a:rPr lang="ru-RU" sz="7200" b="1" dirty="0">
                <a:ln w="12700">
                  <a:noFill/>
                </a:ln>
                <a:solidFill>
                  <a:schemeClr val="accent2"/>
                </a:solidFill>
              </a:rPr>
              <a:t>01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0A2DAC5-98EE-2715-C49F-A3D3BBCB6C64}"/>
              </a:ext>
            </a:extLst>
          </p:cNvPr>
          <p:cNvSpPr txBox="1"/>
          <p:nvPr/>
        </p:nvSpPr>
        <p:spPr>
          <a:xfrm>
            <a:off x="6587544" y="1103130"/>
            <a:ext cx="4273874" cy="772107"/>
          </a:xfrm>
          <a:prstGeom prst="rect">
            <a:avLst/>
          </a:prstGeom>
          <a:noFill/>
        </p:spPr>
        <p:txBody>
          <a:bodyPr wrap="square" lIns="0" tIns="0" rIns="0" bIns="216000">
            <a:spAutoFit/>
          </a:bodyPr>
          <a:lstStyle/>
          <a:p>
            <a:r>
              <a:rPr lang="ru-RU" sz="1800" dirty="0">
                <a:solidFill>
                  <a:schemeClr val="bg1"/>
                </a:solidFill>
              </a:rPr>
              <a:t>Больше алертов и логов – стабильнее система</a:t>
            </a:r>
          </a:p>
        </p:txBody>
      </p:sp>
      <p:sp>
        <p:nvSpPr>
          <p:cNvPr id="4" name="Рисунок 51">
            <a:extLst>
              <a:ext uri="{FF2B5EF4-FFF2-40B4-BE49-F238E27FC236}">
                <a16:creationId xmlns:a16="http://schemas.microsoft.com/office/drawing/2014/main" id="{50496160-7940-82F6-9459-E2F8A52CF154}"/>
              </a:ext>
            </a:extLst>
          </p:cNvPr>
          <p:cNvSpPr>
            <a:spLocks noChangeAspect="1"/>
          </p:cNvSpPr>
          <p:nvPr/>
        </p:nvSpPr>
        <p:spPr>
          <a:xfrm>
            <a:off x="11087606" y="967195"/>
            <a:ext cx="252000" cy="252000"/>
          </a:xfrm>
          <a:custGeom>
            <a:avLst/>
            <a:gdLst>
              <a:gd name="connsiteX0" fmla="*/ 85725 w 171450"/>
              <a:gd name="connsiteY0" fmla="*/ 171450 h 171450"/>
              <a:gd name="connsiteX1" fmla="*/ 171450 w 171450"/>
              <a:gd name="connsiteY1" fmla="*/ 85725 h 171450"/>
              <a:gd name="connsiteX2" fmla="*/ 85725 w 171450"/>
              <a:gd name="connsiteY2" fmla="*/ 0 h 171450"/>
              <a:gd name="connsiteX3" fmla="*/ 0 w 171450"/>
              <a:gd name="connsiteY3" fmla="*/ 85725 h 171450"/>
              <a:gd name="connsiteX4" fmla="*/ 85725 w 171450"/>
              <a:gd name="connsiteY4" fmla="*/ 171450 h 171450"/>
              <a:gd name="connsiteX5" fmla="*/ 130560 w 171450"/>
              <a:gd name="connsiteY5" fmla="*/ 73410 h 171450"/>
              <a:gd name="connsiteX6" fmla="*/ 82935 w 171450"/>
              <a:gd name="connsiteY6" fmla="*/ 121035 h 171450"/>
              <a:gd name="connsiteX7" fmla="*/ 69465 w 171450"/>
              <a:gd name="connsiteY7" fmla="*/ 121035 h 171450"/>
              <a:gd name="connsiteX8" fmla="*/ 40890 w 171450"/>
              <a:gd name="connsiteY8" fmla="*/ 92460 h 171450"/>
              <a:gd name="connsiteX9" fmla="*/ 40890 w 171450"/>
              <a:gd name="connsiteY9" fmla="*/ 78990 h 171450"/>
              <a:gd name="connsiteX10" fmla="*/ 54360 w 171450"/>
              <a:gd name="connsiteY10" fmla="*/ 78990 h 171450"/>
              <a:gd name="connsiteX11" fmla="*/ 76200 w 171450"/>
              <a:gd name="connsiteY11" fmla="*/ 100830 h 171450"/>
              <a:gd name="connsiteX12" fmla="*/ 117090 w 171450"/>
              <a:gd name="connsiteY12" fmla="*/ 59940 h 171450"/>
              <a:gd name="connsiteX13" fmla="*/ 130560 w 171450"/>
              <a:gd name="connsiteY13" fmla="*/ 59940 h 171450"/>
              <a:gd name="connsiteX14" fmla="*/ 130560 w 171450"/>
              <a:gd name="connsiteY14" fmla="*/ 73410 h 171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71450" h="171450">
                <a:moveTo>
                  <a:pt x="85725" y="171450"/>
                </a:moveTo>
                <a:cubicBezTo>
                  <a:pt x="138915" y="171450"/>
                  <a:pt x="171450" y="138915"/>
                  <a:pt x="171450" y="85725"/>
                </a:cubicBezTo>
                <a:cubicBezTo>
                  <a:pt x="171450" y="32535"/>
                  <a:pt x="138915" y="0"/>
                  <a:pt x="85725" y="0"/>
                </a:cubicBezTo>
                <a:cubicBezTo>
                  <a:pt x="32535" y="0"/>
                  <a:pt x="0" y="32535"/>
                  <a:pt x="0" y="85725"/>
                </a:cubicBezTo>
                <a:cubicBezTo>
                  <a:pt x="0" y="138915"/>
                  <a:pt x="32535" y="171450"/>
                  <a:pt x="85725" y="171450"/>
                </a:cubicBezTo>
                <a:close/>
                <a:moveTo>
                  <a:pt x="130560" y="73410"/>
                </a:moveTo>
                <a:lnTo>
                  <a:pt x="82935" y="121035"/>
                </a:lnTo>
                <a:cubicBezTo>
                  <a:pt x="79216" y="124755"/>
                  <a:pt x="73184" y="124755"/>
                  <a:pt x="69465" y="121035"/>
                </a:cubicBezTo>
                <a:lnTo>
                  <a:pt x="40890" y="92460"/>
                </a:lnTo>
                <a:cubicBezTo>
                  <a:pt x="37170" y="88741"/>
                  <a:pt x="37170" y="82709"/>
                  <a:pt x="40890" y="78990"/>
                </a:cubicBezTo>
                <a:cubicBezTo>
                  <a:pt x="44610" y="75270"/>
                  <a:pt x="50640" y="75270"/>
                  <a:pt x="54360" y="78990"/>
                </a:cubicBezTo>
                <a:lnTo>
                  <a:pt x="76200" y="100830"/>
                </a:lnTo>
                <a:lnTo>
                  <a:pt x="117090" y="59940"/>
                </a:lnTo>
                <a:cubicBezTo>
                  <a:pt x="120809" y="56220"/>
                  <a:pt x="126841" y="56220"/>
                  <a:pt x="130560" y="59940"/>
                </a:cubicBezTo>
                <a:cubicBezTo>
                  <a:pt x="134280" y="63660"/>
                  <a:pt x="134280" y="69691"/>
                  <a:pt x="130560" y="73410"/>
                </a:cubicBezTo>
                <a:close/>
              </a:path>
            </a:pathLst>
          </a:custGeom>
          <a:solidFill>
            <a:schemeClr val="accent6">
              <a:alpha val="71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>
              <a:solidFill>
                <a:schemeClr val="accent6">
                  <a:alpha val="65000"/>
                </a:schemeClr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F01B041-D593-3517-5172-CDFB77FD6A2C}"/>
              </a:ext>
            </a:extLst>
          </p:cNvPr>
          <p:cNvSpPr txBox="1"/>
          <p:nvPr/>
        </p:nvSpPr>
        <p:spPr>
          <a:xfrm>
            <a:off x="641351" y="3085344"/>
            <a:ext cx="4561743" cy="276446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lvl="0">
              <a:defRPr/>
            </a:pPr>
            <a:r>
              <a:rPr lang="ru-RU" sz="3200" dirty="0">
                <a:solidFill>
                  <a:schemeClr val="bg1"/>
                </a:solidFill>
                <a:latin typeface="+mj-lt"/>
              </a:rPr>
              <a:t>Выводы и планы</a:t>
            </a:r>
          </a:p>
        </p:txBody>
      </p:sp>
      <p:sp>
        <p:nvSpPr>
          <p:cNvPr id="18" name="Прямоугольник: скругленные углы 1">
            <a:extLst>
              <a:ext uri="{FF2B5EF4-FFF2-40B4-BE49-F238E27FC236}">
                <a16:creationId xmlns:a16="http://schemas.microsoft.com/office/drawing/2014/main" id="{995ED362-D302-ABD2-4D54-E6F14E6CFA5A}"/>
              </a:ext>
            </a:extLst>
          </p:cNvPr>
          <p:cNvSpPr/>
          <p:nvPr/>
        </p:nvSpPr>
        <p:spPr>
          <a:xfrm>
            <a:off x="4752392" y="2589916"/>
            <a:ext cx="6813402" cy="1462988"/>
          </a:xfrm>
          <a:prstGeom prst="roundRect">
            <a:avLst>
              <a:gd name="adj" fmla="val 21552"/>
            </a:avLst>
          </a:prstGeom>
          <a:solidFill>
            <a:schemeClr val="tx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40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EA00168-733A-ED4A-A21B-E24C28FEBD89}"/>
              </a:ext>
            </a:extLst>
          </p:cNvPr>
          <p:cNvSpPr txBox="1"/>
          <p:nvPr/>
        </p:nvSpPr>
        <p:spPr>
          <a:xfrm>
            <a:off x="5145021" y="2813239"/>
            <a:ext cx="1007656" cy="1016342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r>
              <a:rPr lang="ru-RU" sz="7200" b="1" dirty="0">
                <a:ln w="12700">
                  <a:noFill/>
                </a:ln>
                <a:solidFill>
                  <a:schemeClr val="accent2"/>
                </a:solidFill>
              </a:rPr>
              <a:t>02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85B3AC4-0211-7F7E-A9FA-777F251EB1C6}"/>
              </a:ext>
            </a:extLst>
          </p:cNvPr>
          <p:cNvSpPr txBox="1"/>
          <p:nvPr/>
        </p:nvSpPr>
        <p:spPr>
          <a:xfrm>
            <a:off x="6587544" y="2765947"/>
            <a:ext cx="4500062" cy="1326105"/>
          </a:xfrm>
          <a:prstGeom prst="rect">
            <a:avLst/>
          </a:prstGeom>
          <a:noFill/>
        </p:spPr>
        <p:txBody>
          <a:bodyPr wrap="square" lIns="0" tIns="0" rIns="0" bIns="216000">
            <a:spAutoFit/>
          </a:bodyPr>
          <a:lstStyle>
            <a:defPPr>
              <a:defRPr lang="en-RU"/>
            </a:defPPr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sz="1800" dirty="0">
                <a:solidFill>
                  <a:srgbClr val="FFFFFF"/>
                </a:solidFill>
                <a:effectLst/>
                <a:latin typeface="Arial" panose="020B0604020202020204" pitchFamily="34" charset="0"/>
              </a:rPr>
              <a:t>Реализация функционала </a:t>
            </a:r>
            <a:r>
              <a:rPr lang="en-US" sz="1800" dirty="0">
                <a:solidFill>
                  <a:srgbClr val="FFFFFF"/>
                </a:solidFill>
                <a:latin typeface="Arial" panose="020B0604020202020204" pitchFamily="34" charset="0"/>
              </a:rPr>
              <a:t>ETCD-</a:t>
            </a:r>
            <a:r>
              <a:rPr lang="ru-RU" sz="1800" dirty="0">
                <a:solidFill>
                  <a:srgbClr val="FFFFFF"/>
                </a:solidFill>
                <a:effectLst/>
                <a:latin typeface="Arial" panose="020B0604020202020204" pitchFamily="34" charset="0"/>
              </a:rPr>
              <a:t>снепшотов, который позволит откатиться до состояние </a:t>
            </a:r>
            <a:r>
              <a:rPr lang="en-US" sz="1800" dirty="0">
                <a:solidFill>
                  <a:srgbClr val="FFFFFF"/>
                </a:solidFill>
                <a:effectLst/>
                <a:latin typeface="Arial" panose="020B0604020202020204" pitchFamily="34" charset="0"/>
              </a:rPr>
              <a:t>A/B </a:t>
            </a:r>
            <a:r>
              <a:rPr lang="ru-RU" sz="1800" dirty="0">
                <a:solidFill>
                  <a:srgbClr val="FFFFFF"/>
                </a:solidFill>
                <a:effectLst/>
                <a:latin typeface="Arial" panose="020B0604020202020204" pitchFamily="34" charset="0"/>
              </a:rPr>
              <a:t>платформы до критических изменений</a:t>
            </a:r>
          </a:p>
        </p:txBody>
      </p:sp>
      <p:sp>
        <p:nvSpPr>
          <p:cNvPr id="25" name="Рисунок 51">
            <a:extLst>
              <a:ext uri="{FF2B5EF4-FFF2-40B4-BE49-F238E27FC236}">
                <a16:creationId xmlns:a16="http://schemas.microsoft.com/office/drawing/2014/main" id="{9499CD1A-1B7F-8DE2-77A5-F247B9349C4C}"/>
              </a:ext>
            </a:extLst>
          </p:cNvPr>
          <p:cNvSpPr>
            <a:spLocks noChangeAspect="1"/>
          </p:cNvSpPr>
          <p:nvPr/>
        </p:nvSpPr>
        <p:spPr>
          <a:xfrm>
            <a:off x="11087606" y="2742832"/>
            <a:ext cx="252000" cy="252000"/>
          </a:xfrm>
          <a:custGeom>
            <a:avLst/>
            <a:gdLst>
              <a:gd name="connsiteX0" fmla="*/ 85725 w 171450"/>
              <a:gd name="connsiteY0" fmla="*/ 171450 h 171450"/>
              <a:gd name="connsiteX1" fmla="*/ 171450 w 171450"/>
              <a:gd name="connsiteY1" fmla="*/ 85725 h 171450"/>
              <a:gd name="connsiteX2" fmla="*/ 85725 w 171450"/>
              <a:gd name="connsiteY2" fmla="*/ 0 h 171450"/>
              <a:gd name="connsiteX3" fmla="*/ 0 w 171450"/>
              <a:gd name="connsiteY3" fmla="*/ 85725 h 171450"/>
              <a:gd name="connsiteX4" fmla="*/ 85725 w 171450"/>
              <a:gd name="connsiteY4" fmla="*/ 171450 h 171450"/>
              <a:gd name="connsiteX5" fmla="*/ 130560 w 171450"/>
              <a:gd name="connsiteY5" fmla="*/ 73410 h 171450"/>
              <a:gd name="connsiteX6" fmla="*/ 82935 w 171450"/>
              <a:gd name="connsiteY6" fmla="*/ 121035 h 171450"/>
              <a:gd name="connsiteX7" fmla="*/ 69465 w 171450"/>
              <a:gd name="connsiteY7" fmla="*/ 121035 h 171450"/>
              <a:gd name="connsiteX8" fmla="*/ 40890 w 171450"/>
              <a:gd name="connsiteY8" fmla="*/ 92460 h 171450"/>
              <a:gd name="connsiteX9" fmla="*/ 40890 w 171450"/>
              <a:gd name="connsiteY9" fmla="*/ 78990 h 171450"/>
              <a:gd name="connsiteX10" fmla="*/ 54360 w 171450"/>
              <a:gd name="connsiteY10" fmla="*/ 78990 h 171450"/>
              <a:gd name="connsiteX11" fmla="*/ 76200 w 171450"/>
              <a:gd name="connsiteY11" fmla="*/ 100830 h 171450"/>
              <a:gd name="connsiteX12" fmla="*/ 117090 w 171450"/>
              <a:gd name="connsiteY12" fmla="*/ 59940 h 171450"/>
              <a:gd name="connsiteX13" fmla="*/ 130560 w 171450"/>
              <a:gd name="connsiteY13" fmla="*/ 59940 h 171450"/>
              <a:gd name="connsiteX14" fmla="*/ 130560 w 171450"/>
              <a:gd name="connsiteY14" fmla="*/ 73410 h 171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71450" h="171450">
                <a:moveTo>
                  <a:pt x="85725" y="171450"/>
                </a:moveTo>
                <a:cubicBezTo>
                  <a:pt x="138915" y="171450"/>
                  <a:pt x="171450" y="138915"/>
                  <a:pt x="171450" y="85725"/>
                </a:cubicBezTo>
                <a:cubicBezTo>
                  <a:pt x="171450" y="32535"/>
                  <a:pt x="138915" y="0"/>
                  <a:pt x="85725" y="0"/>
                </a:cubicBezTo>
                <a:cubicBezTo>
                  <a:pt x="32535" y="0"/>
                  <a:pt x="0" y="32535"/>
                  <a:pt x="0" y="85725"/>
                </a:cubicBezTo>
                <a:cubicBezTo>
                  <a:pt x="0" y="138915"/>
                  <a:pt x="32535" y="171450"/>
                  <a:pt x="85725" y="171450"/>
                </a:cubicBezTo>
                <a:close/>
                <a:moveTo>
                  <a:pt x="130560" y="73410"/>
                </a:moveTo>
                <a:lnTo>
                  <a:pt x="82935" y="121035"/>
                </a:lnTo>
                <a:cubicBezTo>
                  <a:pt x="79216" y="124755"/>
                  <a:pt x="73184" y="124755"/>
                  <a:pt x="69465" y="121035"/>
                </a:cubicBezTo>
                <a:lnTo>
                  <a:pt x="40890" y="92460"/>
                </a:lnTo>
                <a:cubicBezTo>
                  <a:pt x="37170" y="88741"/>
                  <a:pt x="37170" y="82709"/>
                  <a:pt x="40890" y="78990"/>
                </a:cubicBezTo>
                <a:cubicBezTo>
                  <a:pt x="44610" y="75270"/>
                  <a:pt x="50640" y="75270"/>
                  <a:pt x="54360" y="78990"/>
                </a:cubicBezTo>
                <a:lnTo>
                  <a:pt x="76200" y="100830"/>
                </a:lnTo>
                <a:lnTo>
                  <a:pt x="117090" y="59940"/>
                </a:lnTo>
                <a:cubicBezTo>
                  <a:pt x="120809" y="56220"/>
                  <a:pt x="126841" y="56220"/>
                  <a:pt x="130560" y="59940"/>
                </a:cubicBezTo>
                <a:cubicBezTo>
                  <a:pt x="134280" y="63660"/>
                  <a:pt x="134280" y="69691"/>
                  <a:pt x="130560" y="73410"/>
                </a:cubicBezTo>
                <a:close/>
              </a:path>
            </a:pathLst>
          </a:custGeom>
          <a:solidFill>
            <a:schemeClr val="accent6">
              <a:alpha val="71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>
              <a:solidFill>
                <a:schemeClr val="accent6">
                  <a:alpha val="65000"/>
                </a:schemeClr>
              </a:solidFill>
            </a:endParaRPr>
          </a:p>
        </p:txBody>
      </p:sp>
      <p:sp>
        <p:nvSpPr>
          <p:cNvPr id="26" name="Прямоугольник: скругленные углы 1">
            <a:extLst>
              <a:ext uri="{FF2B5EF4-FFF2-40B4-BE49-F238E27FC236}">
                <a16:creationId xmlns:a16="http://schemas.microsoft.com/office/drawing/2014/main" id="{57B8BF4A-DEAE-D443-EC1F-4E3C3B357CA6}"/>
              </a:ext>
            </a:extLst>
          </p:cNvPr>
          <p:cNvSpPr/>
          <p:nvPr/>
        </p:nvSpPr>
        <p:spPr>
          <a:xfrm>
            <a:off x="4752392" y="4386820"/>
            <a:ext cx="6813402" cy="1462988"/>
          </a:xfrm>
          <a:prstGeom prst="roundRect">
            <a:avLst>
              <a:gd name="adj" fmla="val 21552"/>
            </a:avLst>
          </a:prstGeom>
          <a:solidFill>
            <a:schemeClr val="tx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40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98A180C8-8298-B722-8CA5-605682C4C307}"/>
              </a:ext>
            </a:extLst>
          </p:cNvPr>
          <p:cNvSpPr txBox="1"/>
          <p:nvPr/>
        </p:nvSpPr>
        <p:spPr>
          <a:xfrm>
            <a:off x="5145021" y="4610143"/>
            <a:ext cx="1007656" cy="1016342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r>
              <a:rPr lang="ru-RU" sz="7200" b="1">
                <a:ln w="12700">
                  <a:noFill/>
                </a:ln>
                <a:solidFill>
                  <a:schemeClr val="accent2"/>
                </a:solidFill>
              </a:rPr>
              <a:t>03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A29D57B4-1B00-B3F8-ADD2-8208744E6ECB}"/>
              </a:ext>
            </a:extLst>
          </p:cNvPr>
          <p:cNvSpPr txBox="1"/>
          <p:nvPr/>
        </p:nvSpPr>
        <p:spPr>
          <a:xfrm>
            <a:off x="6587544" y="4675671"/>
            <a:ext cx="4273874" cy="1049106"/>
          </a:xfrm>
          <a:prstGeom prst="rect">
            <a:avLst/>
          </a:prstGeom>
          <a:noFill/>
        </p:spPr>
        <p:txBody>
          <a:bodyPr wrap="square" lIns="0" tIns="0" rIns="0" bIns="216000">
            <a:spAutoFit/>
          </a:bodyPr>
          <a:lstStyle/>
          <a:p>
            <a:r>
              <a:rPr lang="ru-RU" sz="1800" dirty="0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Планы по </a:t>
            </a:r>
            <a:r>
              <a:rPr lang="ru-RU" sz="1800" dirty="0">
                <a:solidFill>
                  <a:schemeClr val="bg1"/>
                </a:solidFill>
                <a:latin typeface="Arial" panose="020B0604020202020204" pitchFamily="34" charset="0"/>
              </a:rPr>
              <a:t>переводу всех сервисов</a:t>
            </a:r>
            <a:r>
              <a:rPr lang="ru-RU" sz="1800" dirty="0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 на бинарный протокол, отказ от других видов интеграций с </a:t>
            </a:r>
            <a:r>
              <a:rPr lang="en-US" sz="1800" dirty="0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A/B </a:t>
            </a:r>
            <a:r>
              <a:rPr lang="ru-RU" sz="1800" dirty="0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платформой</a:t>
            </a:r>
            <a:endParaRPr lang="ru-RU" sz="1800" dirty="0">
              <a:solidFill>
                <a:srgbClr val="FFFFFF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0" name="Рисунок 51">
            <a:extLst>
              <a:ext uri="{FF2B5EF4-FFF2-40B4-BE49-F238E27FC236}">
                <a16:creationId xmlns:a16="http://schemas.microsoft.com/office/drawing/2014/main" id="{A2925BE8-718F-760A-94F4-063165352E75}"/>
              </a:ext>
            </a:extLst>
          </p:cNvPr>
          <p:cNvSpPr>
            <a:spLocks noChangeAspect="1"/>
          </p:cNvSpPr>
          <p:nvPr/>
        </p:nvSpPr>
        <p:spPr>
          <a:xfrm>
            <a:off x="11087606" y="4539736"/>
            <a:ext cx="252000" cy="252000"/>
          </a:xfrm>
          <a:custGeom>
            <a:avLst/>
            <a:gdLst>
              <a:gd name="connsiteX0" fmla="*/ 85725 w 171450"/>
              <a:gd name="connsiteY0" fmla="*/ 171450 h 171450"/>
              <a:gd name="connsiteX1" fmla="*/ 171450 w 171450"/>
              <a:gd name="connsiteY1" fmla="*/ 85725 h 171450"/>
              <a:gd name="connsiteX2" fmla="*/ 85725 w 171450"/>
              <a:gd name="connsiteY2" fmla="*/ 0 h 171450"/>
              <a:gd name="connsiteX3" fmla="*/ 0 w 171450"/>
              <a:gd name="connsiteY3" fmla="*/ 85725 h 171450"/>
              <a:gd name="connsiteX4" fmla="*/ 85725 w 171450"/>
              <a:gd name="connsiteY4" fmla="*/ 171450 h 171450"/>
              <a:gd name="connsiteX5" fmla="*/ 130560 w 171450"/>
              <a:gd name="connsiteY5" fmla="*/ 73410 h 171450"/>
              <a:gd name="connsiteX6" fmla="*/ 82935 w 171450"/>
              <a:gd name="connsiteY6" fmla="*/ 121035 h 171450"/>
              <a:gd name="connsiteX7" fmla="*/ 69465 w 171450"/>
              <a:gd name="connsiteY7" fmla="*/ 121035 h 171450"/>
              <a:gd name="connsiteX8" fmla="*/ 40890 w 171450"/>
              <a:gd name="connsiteY8" fmla="*/ 92460 h 171450"/>
              <a:gd name="connsiteX9" fmla="*/ 40890 w 171450"/>
              <a:gd name="connsiteY9" fmla="*/ 78990 h 171450"/>
              <a:gd name="connsiteX10" fmla="*/ 54360 w 171450"/>
              <a:gd name="connsiteY10" fmla="*/ 78990 h 171450"/>
              <a:gd name="connsiteX11" fmla="*/ 76200 w 171450"/>
              <a:gd name="connsiteY11" fmla="*/ 100830 h 171450"/>
              <a:gd name="connsiteX12" fmla="*/ 117090 w 171450"/>
              <a:gd name="connsiteY12" fmla="*/ 59940 h 171450"/>
              <a:gd name="connsiteX13" fmla="*/ 130560 w 171450"/>
              <a:gd name="connsiteY13" fmla="*/ 59940 h 171450"/>
              <a:gd name="connsiteX14" fmla="*/ 130560 w 171450"/>
              <a:gd name="connsiteY14" fmla="*/ 73410 h 171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71450" h="171450">
                <a:moveTo>
                  <a:pt x="85725" y="171450"/>
                </a:moveTo>
                <a:cubicBezTo>
                  <a:pt x="138915" y="171450"/>
                  <a:pt x="171450" y="138915"/>
                  <a:pt x="171450" y="85725"/>
                </a:cubicBezTo>
                <a:cubicBezTo>
                  <a:pt x="171450" y="32535"/>
                  <a:pt x="138915" y="0"/>
                  <a:pt x="85725" y="0"/>
                </a:cubicBezTo>
                <a:cubicBezTo>
                  <a:pt x="32535" y="0"/>
                  <a:pt x="0" y="32535"/>
                  <a:pt x="0" y="85725"/>
                </a:cubicBezTo>
                <a:cubicBezTo>
                  <a:pt x="0" y="138915"/>
                  <a:pt x="32535" y="171450"/>
                  <a:pt x="85725" y="171450"/>
                </a:cubicBezTo>
                <a:close/>
                <a:moveTo>
                  <a:pt x="130560" y="73410"/>
                </a:moveTo>
                <a:lnTo>
                  <a:pt x="82935" y="121035"/>
                </a:lnTo>
                <a:cubicBezTo>
                  <a:pt x="79216" y="124755"/>
                  <a:pt x="73184" y="124755"/>
                  <a:pt x="69465" y="121035"/>
                </a:cubicBezTo>
                <a:lnTo>
                  <a:pt x="40890" y="92460"/>
                </a:lnTo>
                <a:cubicBezTo>
                  <a:pt x="37170" y="88741"/>
                  <a:pt x="37170" y="82709"/>
                  <a:pt x="40890" y="78990"/>
                </a:cubicBezTo>
                <a:cubicBezTo>
                  <a:pt x="44610" y="75270"/>
                  <a:pt x="50640" y="75270"/>
                  <a:pt x="54360" y="78990"/>
                </a:cubicBezTo>
                <a:lnTo>
                  <a:pt x="76200" y="100830"/>
                </a:lnTo>
                <a:lnTo>
                  <a:pt x="117090" y="59940"/>
                </a:lnTo>
                <a:cubicBezTo>
                  <a:pt x="120809" y="56220"/>
                  <a:pt x="126841" y="56220"/>
                  <a:pt x="130560" y="59940"/>
                </a:cubicBezTo>
                <a:cubicBezTo>
                  <a:pt x="134280" y="63660"/>
                  <a:pt x="134280" y="69691"/>
                  <a:pt x="130560" y="73410"/>
                </a:cubicBezTo>
                <a:close/>
              </a:path>
            </a:pathLst>
          </a:custGeom>
          <a:solidFill>
            <a:schemeClr val="accent6">
              <a:alpha val="71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>
              <a:solidFill>
                <a:schemeClr val="accent6">
                  <a:alpha val="65000"/>
                </a:schemeClr>
              </a:solidFill>
            </a:endParaRPr>
          </a:p>
        </p:txBody>
      </p:sp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E2FC9849-A011-F285-D161-3BC965E12A5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886" y="885835"/>
            <a:ext cx="2229714" cy="2229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980324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>
            <a:extLst>
              <a:ext uri="{FF2B5EF4-FFF2-40B4-BE49-F238E27FC236}">
                <a16:creationId xmlns:a16="http://schemas.microsoft.com/office/drawing/2014/main" id="{47C488E6-BA38-7443-9C1C-F5B931B5C36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/>
              <a:t>01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99B969B6-0772-4E49-9306-DA1168436F0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58321" y="2580370"/>
            <a:ext cx="6784279" cy="1412510"/>
          </a:xfrm>
        </p:spPr>
        <p:txBody>
          <a:bodyPr/>
          <a:lstStyle/>
          <a:p>
            <a:r>
              <a:rPr lang="ru-RU" dirty="0"/>
              <a:t>Кратко про </a:t>
            </a:r>
            <a:r>
              <a:rPr lang="en-US" dirty="0"/>
              <a:t>A/B </a:t>
            </a:r>
            <a:r>
              <a:rPr lang="ru-RU" dirty="0"/>
              <a:t>платформу</a:t>
            </a:r>
          </a:p>
          <a:p>
            <a:endParaRPr lang="ru-RU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63DF69B-9BBC-AB45-9568-7E9FD27EB934}"/>
              </a:ext>
            </a:extLst>
          </p:cNvPr>
          <p:cNvSpPr txBox="1"/>
          <p:nvPr/>
        </p:nvSpPr>
        <p:spPr>
          <a:xfrm>
            <a:off x="4281489" y="4340904"/>
            <a:ext cx="3083717" cy="17310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Что такое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/B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тесты</a:t>
            </a: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1400" dirty="0">
                <a:solidFill>
                  <a:srgbClr val="FFFFFF"/>
                </a:solidFill>
                <a:latin typeface="Arial"/>
              </a:rPr>
              <a:t>Зачем </a:t>
            </a:r>
            <a:r>
              <a:rPr lang="en-US" sz="1400" dirty="0">
                <a:solidFill>
                  <a:srgbClr val="FFFFFF"/>
                </a:solidFill>
                <a:latin typeface="Arial"/>
              </a:rPr>
              <a:t>A/B </a:t>
            </a:r>
            <a:r>
              <a:rPr lang="ru-RU" sz="1400" dirty="0">
                <a:solidFill>
                  <a:srgbClr val="FFFFFF"/>
                </a:solidFill>
                <a:latin typeface="Arial"/>
              </a:rPr>
              <a:t>тесты нужны в </a:t>
            </a:r>
            <a:r>
              <a:rPr lang="en-US" sz="1400" dirty="0">
                <a:solidFill>
                  <a:srgbClr val="FFFFFF"/>
                </a:solidFill>
                <a:latin typeface="Arial"/>
              </a:rPr>
              <a:t>Ozon</a:t>
            </a: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1400" dirty="0">
                <a:solidFill>
                  <a:srgbClr val="FFFFFF"/>
                </a:solidFill>
                <a:latin typeface="Arial"/>
              </a:rPr>
              <a:t>Про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/B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латформу в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zon</a:t>
            </a: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Как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/B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меняет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zon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9441054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oint.png" descr="point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19291828" flipH="1">
            <a:off x="4623305" y="3572993"/>
            <a:ext cx="4040137" cy="4040137"/>
          </a:xfrm>
          <a:prstGeom prst="rect">
            <a:avLst/>
          </a:prstGeom>
          <a:ln w="12700">
            <a:miter lim="400000"/>
          </a:ln>
        </p:spPr>
      </p:pic>
      <p:sp>
        <p:nvSpPr>
          <p:cNvPr id="6" name="Овал 5">
            <a:extLst>
              <a:ext uri="{FF2B5EF4-FFF2-40B4-BE49-F238E27FC236}">
                <a16:creationId xmlns:a16="http://schemas.microsoft.com/office/drawing/2014/main" id="{05721443-C937-33AE-9B63-4200E4D05EB9}"/>
              </a:ext>
            </a:extLst>
          </p:cNvPr>
          <p:cNvSpPr/>
          <p:nvPr/>
        </p:nvSpPr>
        <p:spPr>
          <a:xfrm>
            <a:off x="1555808" y="5107077"/>
            <a:ext cx="719040" cy="719040"/>
          </a:xfrm>
          <a:prstGeom prst="ellipse">
            <a:avLst/>
          </a:prstGeom>
          <a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0F51924-EBD5-8C42-AA67-2F0C79DEDC4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55808" y="1931435"/>
            <a:ext cx="5587942" cy="2123348"/>
          </a:xfrm>
        </p:spPr>
        <p:txBody>
          <a:bodyPr/>
          <a:lstStyle/>
          <a:p>
            <a:r>
              <a:rPr lang="ru-RU" dirty="0"/>
              <a:t>Задавайте свои вопросы здесь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1F26341A-D3AF-362E-407E-56234EA207C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429417" y="5194112"/>
            <a:ext cx="3867020" cy="590868"/>
          </a:xfrm>
        </p:spPr>
        <p:txBody>
          <a:bodyPr/>
          <a:lstStyle/>
          <a:p>
            <a:r>
              <a:rPr lang="ru-RU" b="1" dirty="0"/>
              <a:t>Марина Ржевская</a:t>
            </a:r>
            <a:br>
              <a:rPr lang="ru-RU" dirty="0"/>
            </a:br>
            <a:r>
              <a:rPr lang="en-US" dirty="0" err="1"/>
              <a:t>mrzhevskaya@ozon.ru</a:t>
            </a:r>
            <a:endParaRPr lang="ru-RU" dirty="0"/>
          </a:p>
        </p:txBody>
      </p:sp>
      <p:sp>
        <p:nvSpPr>
          <p:cNvPr id="7" name="Прямоугольник: скругленные углы 6">
            <a:extLst>
              <a:ext uri="{FF2B5EF4-FFF2-40B4-BE49-F238E27FC236}">
                <a16:creationId xmlns:a16="http://schemas.microsoft.com/office/drawing/2014/main" id="{813F7FBB-EE2C-5DDB-8E59-8C2DC4019270}"/>
              </a:ext>
            </a:extLst>
          </p:cNvPr>
          <p:cNvSpPr/>
          <p:nvPr/>
        </p:nvSpPr>
        <p:spPr>
          <a:xfrm>
            <a:off x="7913688" y="1734413"/>
            <a:ext cx="3280785" cy="3280785"/>
          </a:xfrm>
          <a:prstGeom prst="roundRect">
            <a:avLst>
              <a:gd name="adj" fmla="val 15213"/>
            </a:avLst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Если нужно, размести </a:t>
            </a:r>
            <a:br>
              <a:rPr kumimoji="0" lang="ru-RU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ru-RU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тут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R</a:t>
            </a:r>
            <a:r>
              <a:rPr kumimoji="0" lang="ru-RU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код или удали </a:t>
            </a:r>
            <a:br>
              <a:rPr kumimoji="0" lang="ru-RU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ru-RU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эту фигуру</a:t>
            </a:r>
          </a:p>
        </p:txBody>
      </p:sp>
      <p:grpSp>
        <p:nvGrpSpPr>
          <p:cNvPr id="13" name="Группа 12">
            <a:extLst>
              <a:ext uri="{FF2B5EF4-FFF2-40B4-BE49-F238E27FC236}">
                <a16:creationId xmlns:a16="http://schemas.microsoft.com/office/drawing/2014/main" id="{BF922C9C-A057-9840-8C1B-D5C1E2727F6A}"/>
              </a:ext>
            </a:extLst>
          </p:cNvPr>
          <p:cNvGrpSpPr/>
          <p:nvPr/>
        </p:nvGrpSpPr>
        <p:grpSpPr>
          <a:xfrm>
            <a:off x="-2133600" y="4842932"/>
            <a:ext cx="1921934" cy="2116381"/>
            <a:chOff x="-2133600" y="4842932"/>
            <a:chExt cx="1921934" cy="2116381"/>
          </a:xfrm>
        </p:grpSpPr>
        <p:sp>
          <p:nvSpPr>
            <p:cNvPr id="14" name="Прямоугольник: скругленные углы 127">
              <a:extLst>
                <a:ext uri="{FF2B5EF4-FFF2-40B4-BE49-F238E27FC236}">
                  <a16:creationId xmlns:a16="http://schemas.microsoft.com/office/drawing/2014/main" id="{C08E9B7D-765A-5447-AB69-50A61D34B1C4}"/>
                </a:ext>
              </a:extLst>
            </p:cNvPr>
            <p:cNvSpPr/>
            <p:nvPr/>
          </p:nvSpPr>
          <p:spPr>
            <a:xfrm>
              <a:off x="-2133600" y="4842932"/>
              <a:ext cx="1921934" cy="2015067"/>
            </a:xfrm>
            <a:prstGeom prst="roundRect">
              <a:avLst>
                <a:gd name="adj" fmla="val 6904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623E3B7-4B46-C246-8ABB-19B699B1CB7B}"/>
                </a:ext>
              </a:extLst>
            </p:cNvPr>
            <p:cNvSpPr txBox="1"/>
            <p:nvPr/>
          </p:nvSpPr>
          <p:spPr>
            <a:xfrm>
              <a:off x="-1903233" y="5466597"/>
              <a:ext cx="1476890" cy="149271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E111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Для создания </a:t>
              </a:r>
              <a:r>
                <a:rPr kumimoji="0" lang="en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E111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QR </a:t>
              </a:r>
              <a:r>
                <a:rPr kumimoji="0" lang="ru-RU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E111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кода, используй эту ссылку: </a:t>
              </a:r>
              <a:endParaRPr kumimoji="0" lang="ru-RU" sz="1200" b="0" i="0" u="sng" strike="noStrike" kern="1200" cap="none" spc="0" normalizeH="0" baseline="0" noProof="0" dirty="0">
                <a:ln>
                  <a:noFill/>
                </a:ln>
                <a:solidFill>
                  <a:srgbClr val="0E111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E111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hlinkClick r:id="rId5"/>
                </a:rPr>
                <a:t>https://url-minifier-admin.t.o3.ru/qr</a:t>
              </a:r>
              <a:endParaRPr kumimoji="0" lang="ru-RU" sz="1200" b="0" i="0" u="sng" strike="noStrike" kern="1200" cap="none" spc="0" normalizeH="0" baseline="0" noProof="0" dirty="0">
                <a:ln>
                  <a:noFill/>
                </a:ln>
                <a:solidFill>
                  <a:srgbClr val="0E111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sng" strike="noStrike" kern="1200" cap="none" spc="0" normalizeH="0" baseline="0" noProof="0" dirty="0">
                <a:ln>
                  <a:noFill/>
                </a:ln>
                <a:solidFill>
                  <a:srgbClr val="0E111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000" b="0" i="0" u="sng" strike="noStrike" kern="1200" cap="none" spc="0" normalizeH="0" baseline="0" noProof="0" dirty="0">
                <a:ln>
                  <a:noFill/>
                </a:ln>
                <a:solidFill>
                  <a:srgbClr val="0E111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" name="Рисунок 69">
              <a:extLst>
                <a:ext uri="{FF2B5EF4-FFF2-40B4-BE49-F238E27FC236}">
                  <a16:creationId xmlns:a16="http://schemas.microsoft.com/office/drawing/2014/main" id="{B2FD0FF6-3D5C-A041-9D96-FBFE1D5B71F8}"/>
                </a:ext>
              </a:extLst>
            </p:cNvPr>
            <p:cNvSpPr/>
            <p:nvPr/>
          </p:nvSpPr>
          <p:spPr>
            <a:xfrm>
              <a:off x="-1903233" y="5257402"/>
              <a:ext cx="171450" cy="171450"/>
            </a:xfrm>
            <a:custGeom>
              <a:avLst/>
              <a:gdLst>
                <a:gd name="connsiteX0" fmla="*/ 85725 w 171450"/>
                <a:gd name="connsiteY0" fmla="*/ 171450 h 171450"/>
                <a:gd name="connsiteX1" fmla="*/ 171450 w 171450"/>
                <a:gd name="connsiteY1" fmla="*/ 85725 h 171450"/>
                <a:gd name="connsiteX2" fmla="*/ 85725 w 171450"/>
                <a:gd name="connsiteY2" fmla="*/ 0 h 171450"/>
                <a:gd name="connsiteX3" fmla="*/ 0 w 171450"/>
                <a:gd name="connsiteY3" fmla="*/ 85725 h 171450"/>
                <a:gd name="connsiteX4" fmla="*/ 85725 w 171450"/>
                <a:gd name="connsiteY4" fmla="*/ 171450 h 171450"/>
                <a:gd name="connsiteX5" fmla="*/ 95250 w 171450"/>
                <a:gd name="connsiteY5" fmla="*/ 47625 h 171450"/>
                <a:gd name="connsiteX6" fmla="*/ 85725 w 171450"/>
                <a:gd name="connsiteY6" fmla="*/ 57150 h 171450"/>
                <a:gd name="connsiteX7" fmla="*/ 76200 w 171450"/>
                <a:gd name="connsiteY7" fmla="*/ 47625 h 171450"/>
                <a:gd name="connsiteX8" fmla="*/ 85725 w 171450"/>
                <a:gd name="connsiteY8" fmla="*/ 38100 h 171450"/>
                <a:gd name="connsiteX9" fmla="*/ 95250 w 171450"/>
                <a:gd name="connsiteY9" fmla="*/ 47625 h 171450"/>
                <a:gd name="connsiteX10" fmla="*/ 76200 w 171450"/>
                <a:gd name="connsiteY10" fmla="*/ 85725 h 171450"/>
                <a:gd name="connsiteX11" fmla="*/ 85725 w 171450"/>
                <a:gd name="connsiteY11" fmla="*/ 76200 h 171450"/>
                <a:gd name="connsiteX12" fmla="*/ 95250 w 171450"/>
                <a:gd name="connsiteY12" fmla="*/ 85725 h 171450"/>
                <a:gd name="connsiteX13" fmla="*/ 95250 w 171450"/>
                <a:gd name="connsiteY13" fmla="*/ 123825 h 171450"/>
                <a:gd name="connsiteX14" fmla="*/ 85725 w 171450"/>
                <a:gd name="connsiteY14" fmla="*/ 133350 h 171450"/>
                <a:gd name="connsiteX15" fmla="*/ 76200 w 171450"/>
                <a:gd name="connsiteY15" fmla="*/ 123825 h 171450"/>
                <a:gd name="connsiteX16" fmla="*/ 76200 w 171450"/>
                <a:gd name="connsiteY16" fmla="*/ 85725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71450" h="171450">
                  <a:moveTo>
                    <a:pt x="85725" y="171450"/>
                  </a:moveTo>
                  <a:cubicBezTo>
                    <a:pt x="138915" y="171450"/>
                    <a:pt x="171450" y="138915"/>
                    <a:pt x="171450" y="85725"/>
                  </a:cubicBezTo>
                  <a:cubicBezTo>
                    <a:pt x="171450" y="32535"/>
                    <a:pt x="138915" y="0"/>
                    <a:pt x="85725" y="0"/>
                  </a:cubicBezTo>
                  <a:cubicBezTo>
                    <a:pt x="32535" y="0"/>
                    <a:pt x="0" y="32535"/>
                    <a:pt x="0" y="85725"/>
                  </a:cubicBezTo>
                  <a:cubicBezTo>
                    <a:pt x="0" y="138915"/>
                    <a:pt x="32535" y="171450"/>
                    <a:pt x="85725" y="171450"/>
                  </a:cubicBezTo>
                  <a:close/>
                  <a:moveTo>
                    <a:pt x="95250" y="47625"/>
                  </a:moveTo>
                  <a:cubicBezTo>
                    <a:pt x="95250" y="52885"/>
                    <a:pt x="90986" y="57150"/>
                    <a:pt x="85725" y="57150"/>
                  </a:cubicBezTo>
                  <a:cubicBezTo>
                    <a:pt x="80464" y="57150"/>
                    <a:pt x="76200" y="52885"/>
                    <a:pt x="76200" y="47625"/>
                  </a:cubicBezTo>
                  <a:cubicBezTo>
                    <a:pt x="76200" y="42364"/>
                    <a:pt x="80464" y="38100"/>
                    <a:pt x="85725" y="38100"/>
                  </a:cubicBezTo>
                  <a:cubicBezTo>
                    <a:pt x="90986" y="38100"/>
                    <a:pt x="95250" y="42364"/>
                    <a:pt x="95250" y="47625"/>
                  </a:cubicBezTo>
                  <a:close/>
                  <a:moveTo>
                    <a:pt x="76200" y="85725"/>
                  </a:moveTo>
                  <a:cubicBezTo>
                    <a:pt x="76200" y="80464"/>
                    <a:pt x="80464" y="76200"/>
                    <a:pt x="85725" y="76200"/>
                  </a:cubicBezTo>
                  <a:cubicBezTo>
                    <a:pt x="90986" y="76200"/>
                    <a:pt x="95250" y="80464"/>
                    <a:pt x="95250" y="85725"/>
                  </a:cubicBezTo>
                  <a:lnTo>
                    <a:pt x="95250" y="123825"/>
                  </a:lnTo>
                  <a:cubicBezTo>
                    <a:pt x="95250" y="129086"/>
                    <a:pt x="90986" y="133350"/>
                    <a:pt x="85725" y="133350"/>
                  </a:cubicBezTo>
                  <a:cubicBezTo>
                    <a:pt x="80464" y="133350"/>
                    <a:pt x="76200" y="129086"/>
                    <a:pt x="76200" y="123825"/>
                  </a:cubicBezTo>
                  <a:lnTo>
                    <a:pt x="76200" y="85725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E111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B0E1A5D0-760B-8115-EAD5-36BC44EF5BA5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8438" t="34165" r="18643" b="37537"/>
          <a:stretch/>
        </p:blipFill>
        <p:spPr>
          <a:xfrm>
            <a:off x="8080164" y="1993324"/>
            <a:ext cx="2947831" cy="2871351"/>
          </a:xfrm>
          <a:prstGeom prst="roundRect">
            <a:avLst/>
          </a:prstGeom>
        </p:spPr>
      </p:pic>
      <p:pic>
        <p:nvPicPr>
          <p:cNvPr id="37890" name="Picture 2" descr="photo">
            <a:extLst>
              <a:ext uri="{FF2B5EF4-FFF2-40B4-BE49-F238E27FC236}">
                <a16:creationId xmlns:a16="http://schemas.microsoft.com/office/drawing/2014/main" id="{A57936E7-CDEC-4926-B4FE-90B90C115BD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66174" y="5107077"/>
            <a:ext cx="718810" cy="7188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5935457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рямоугольник: скругленные углы 5">
            <a:extLst>
              <a:ext uri="{FF2B5EF4-FFF2-40B4-BE49-F238E27FC236}">
                <a16:creationId xmlns:a16="http://schemas.microsoft.com/office/drawing/2014/main" id="{3E823995-0EAC-46AA-8FDB-DF287A95C844}"/>
              </a:ext>
            </a:extLst>
          </p:cNvPr>
          <p:cNvSpPr/>
          <p:nvPr/>
        </p:nvSpPr>
        <p:spPr>
          <a:xfrm>
            <a:off x="639764" y="2687156"/>
            <a:ext cx="10625960" cy="2330137"/>
          </a:xfrm>
          <a:prstGeom prst="roundRect">
            <a:avLst>
              <a:gd name="adj" fmla="val 15364"/>
            </a:avLst>
          </a:prstGeom>
          <a:solidFill>
            <a:schemeClr val="accent3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88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32" name="Freeform 31">
            <a:extLst>
              <a:ext uri="{FF2B5EF4-FFF2-40B4-BE49-F238E27FC236}">
                <a16:creationId xmlns:a16="http://schemas.microsoft.com/office/drawing/2014/main" id="{F73661EA-8700-C743-8DAC-6C9AB036626E}"/>
              </a:ext>
            </a:extLst>
          </p:cNvPr>
          <p:cNvSpPr/>
          <p:nvPr/>
        </p:nvSpPr>
        <p:spPr>
          <a:xfrm>
            <a:off x="639764" y="2672377"/>
            <a:ext cx="10625960" cy="684465"/>
          </a:xfrm>
          <a:custGeom>
            <a:avLst/>
            <a:gdLst>
              <a:gd name="connsiteX0" fmla="*/ 358002 w 10625960"/>
              <a:gd name="connsiteY0" fmla="*/ 0 h 575007"/>
              <a:gd name="connsiteX1" fmla="*/ 10267958 w 10625960"/>
              <a:gd name="connsiteY1" fmla="*/ 0 h 575007"/>
              <a:gd name="connsiteX2" fmla="*/ 10625960 w 10625960"/>
              <a:gd name="connsiteY2" fmla="*/ 358002 h 575007"/>
              <a:gd name="connsiteX3" fmla="*/ 10625960 w 10625960"/>
              <a:gd name="connsiteY3" fmla="*/ 575007 h 575007"/>
              <a:gd name="connsiteX4" fmla="*/ 0 w 10625960"/>
              <a:gd name="connsiteY4" fmla="*/ 575007 h 575007"/>
              <a:gd name="connsiteX5" fmla="*/ 0 w 10625960"/>
              <a:gd name="connsiteY5" fmla="*/ 358002 h 575007"/>
              <a:gd name="connsiteX6" fmla="*/ 358002 w 10625960"/>
              <a:gd name="connsiteY6" fmla="*/ 0 h 575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625960" h="575007">
                <a:moveTo>
                  <a:pt x="358002" y="0"/>
                </a:moveTo>
                <a:lnTo>
                  <a:pt x="10267958" y="0"/>
                </a:lnTo>
                <a:cubicBezTo>
                  <a:pt x="10465677" y="0"/>
                  <a:pt x="10625960" y="160283"/>
                  <a:pt x="10625960" y="358002"/>
                </a:cubicBezTo>
                <a:lnTo>
                  <a:pt x="10625960" y="575007"/>
                </a:lnTo>
                <a:lnTo>
                  <a:pt x="0" y="575007"/>
                </a:lnTo>
                <a:lnTo>
                  <a:pt x="0" y="358002"/>
                </a:lnTo>
                <a:cubicBezTo>
                  <a:pt x="0" y="160283"/>
                  <a:pt x="160283" y="0"/>
                  <a:pt x="358002" y="0"/>
                </a:cubicBezTo>
                <a:close/>
              </a:path>
            </a:pathLst>
          </a:custGeom>
          <a:solidFill>
            <a:schemeClr val="accent2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ru-RU" sz="1688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8678AB1-2EF3-AE2D-58F3-E90EE46D9436}"/>
              </a:ext>
            </a:extLst>
          </p:cNvPr>
          <p:cNvSpPr txBox="1"/>
          <p:nvPr/>
        </p:nvSpPr>
        <p:spPr>
          <a:xfrm>
            <a:off x="926276" y="2864361"/>
            <a:ext cx="6145084" cy="525886"/>
          </a:xfrm>
          <a:prstGeom prst="rect">
            <a:avLst/>
          </a:prstGeom>
          <a:noFill/>
        </p:spPr>
        <p:txBody>
          <a:bodyPr wrap="square" lIns="0" tIns="0" rIns="0" bIns="216000">
            <a:spAutoFit/>
          </a:bodyPr>
          <a:lstStyle/>
          <a:p>
            <a:r>
              <a:rPr lang="ru-RU" sz="2000" b="1" dirty="0"/>
              <a:t>Ключевые механизмы </a:t>
            </a:r>
            <a:r>
              <a:rPr lang="en-US" sz="2000" b="1" dirty="0"/>
              <a:t>A/B </a:t>
            </a:r>
            <a:r>
              <a:rPr lang="ru-RU" sz="2000" b="1" dirty="0"/>
              <a:t>тестирования</a:t>
            </a:r>
            <a:endParaRPr lang="en-US" sz="2000" b="1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C7DEEB6-C870-D585-1A23-745B5944B993}"/>
              </a:ext>
            </a:extLst>
          </p:cNvPr>
          <p:cNvSpPr txBox="1"/>
          <p:nvPr/>
        </p:nvSpPr>
        <p:spPr>
          <a:xfrm>
            <a:off x="1289146" y="3676752"/>
            <a:ext cx="8873163" cy="710552"/>
          </a:xfrm>
          <a:prstGeom prst="rect">
            <a:avLst/>
          </a:prstGeom>
          <a:noFill/>
        </p:spPr>
        <p:txBody>
          <a:bodyPr wrap="square" lIns="0" tIns="0" rIns="0" bIns="216000">
            <a:spAutoFit/>
          </a:bodyPr>
          <a:lstStyle/>
          <a:p>
            <a:r>
              <a:rPr lang="ru-RU" sz="1600" dirty="0">
                <a:solidFill>
                  <a:schemeClr val="bg1"/>
                </a:solidFill>
              </a:rPr>
              <a:t>Случайный выбор – так как мы не можем достоверно измерить внешние факторы</a:t>
            </a:r>
            <a:endParaRPr lang="en-US" sz="16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600" dirty="0">
              <a:solidFill>
                <a:schemeClr val="bg1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6732EF1-A66C-76BC-AE85-51D13BDAE42D}"/>
              </a:ext>
            </a:extLst>
          </p:cNvPr>
          <p:cNvSpPr txBox="1"/>
          <p:nvPr/>
        </p:nvSpPr>
        <p:spPr>
          <a:xfrm>
            <a:off x="926276" y="3698055"/>
            <a:ext cx="1298764" cy="26412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85000"/>
              </a:lnSpc>
            </a:pPr>
            <a:r>
              <a:rPr lang="en-US" sz="2000" b="1" dirty="0">
                <a:solidFill>
                  <a:schemeClr val="accent2"/>
                </a:solidFill>
              </a:rPr>
              <a:t>+</a:t>
            </a:r>
            <a:endParaRPr lang="ru-RU" sz="2000" b="1" dirty="0">
              <a:solidFill>
                <a:schemeClr val="accent2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AC6CEF8-23C3-6FCC-D6A4-3A66695C538D}"/>
              </a:ext>
            </a:extLst>
          </p:cNvPr>
          <p:cNvSpPr txBox="1"/>
          <p:nvPr/>
        </p:nvSpPr>
        <p:spPr>
          <a:xfrm>
            <a:off x="1289146" y="4266542"/>
            <a:ext cx="9613708" cy="710552"/>
          </a:xfrm>
          <a:prstGeom prst="rect">
            <a:avLst/>
          </a:prstGeom>
          <a:noFill/>
        </p:spPr>
        <p:txBody>
          <a:bodyPr wrap="square" lIns="0" tIns="0" rIns="0" bIns="216000">
            <a:spAutoFit/>
          </a:bodyPr>
          <a:lstStyle/>
          <a:p>
            <a:r>
              <a:rPr lang="ru-RU" sz="1600" dirty="0">
                <a:solidFill>
                  <a:schemeClr val="bg1"/>
                </a:solidFill>
              </a:rPr>
              <a:t>Статистическая значимость – чтобы проверить, была ли разница между вариантами случайной</a:t>
            </a:r>
            <a:endParaRPr lang="en-US" sz="16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600" dirty="0">
              <a:solidFill>
                <a:schemeClr val="bg1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3001225-11D2-4E7F-7D5F-AC01AE431649}"/>
              </a:ext>
            </a:extLst>
          </p:cNvPr>
          <p:cNvSpPr txBox="1"/>
          <p:nvPr/>
        </p:nvSpPr>
        <p:spPr>
          <a:xfrm>
            <a:off x="926276" y="4287845"/>
            <a:ext cx="1298764" cy="26412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85000"/>
              </a:lnSpc>
            </a:pPr>
            <a:r>
              <a:rPr lang="en-US" sz="2000" b="1" dirty="0">
                <a:solidFill>
                  <a:schemeClr val="accent2"/>
                </a:solidFill>
              </a:rPr>
              <a:t>+</a:t>
            </a:r>
            <a:endParaRPr lang="ru-RU" sz="2000" b="1" dirty="0">
              <a:solidFill>
                <a:schemeClr val="accent2"/>
              </a:solidFill>
            </a:endParaRPr>
          </a:p>
        </p:txBody>
      </p:sp>
      <p:sp>
        <p:nvSpPr>
          <p:cNvPr id="16" name="Номер слайда 2">
            <a:extLst>
              <a:ext uri="{FF2B5EF4-FFF2-40B4-BE49-F238E27FC236}">
                <a16:creationId xmlns:a16="http://schemas.microsoft.com/office/drawing/2014/main" id="{C2C24910-3105-4CAB-AAFB-416B8AD900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5249F5-0093-48B0-B996-C4E44A87EAFB}" type="slidenum">
              <a:rPr lang="ru-RU" smtClean="0"/>
              <a:pPr/>
              <a:t>4</a:t>
            </a:fld>
            <a:endParaRPr lang="ru-RU"/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E1ACC762-44E1-BA1E-E93C-75BB14D4B5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9764" y="411163"/>
            <a:ext cx="10910888" cy="684465"/>
          </a:xfrm>
        </p:spPr>
        <p:txBody>
          <a:bodyPr/>
          <a:lstStyle/>
          <a:p>
            <a:r>
              <a:rPr lang="ru-RU" sz="4000" spc="0" dirty="0">
                <a:solidFill>
                  <a:srgbClr val="FFFFFF"/>
                </a:solidFill>
                <a:latin typeface="Arial"/>
                <a:ea typeface="+mn-ea"/>
                <a:cs typeface="+mn-cs"/>
              </a:rPr>
              <a:t>Зачем нужны </a:t>
            </a:r>
            <a:r>
              <a:rPr lang="en-US" sz="4000" spc="0" dirty="0">
                <a:solidFill>
                  <a:srgbClr val="FFFFFF"/>
                </a:solidFill>
                <a:latin typeface="Arial"/>
                <a:ea typeface="+mn-ea"/>
                <a:cs typeface="+mn-cs"/>
              </a:rPr>
              <a:t>A/B </a:t>
            </a:r>
            <a:r>
              <a:rPr lang="ru-RU" sz="4000" spc="0" dirty="0">
                <a:solidFill>
                  <a:srgbClr val="FFFFFF"/>
                </a:solidFill>
                <a:latin typeface="Arial"/>
                <a:ea typeface="+mn-ea"/>
                <a:cs typeface="+mn-cs"/>
              </a:rPr>
              <a:t>тесты</a:t>
            </a:r>
            <a:endParaRPr lang="ru-RU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A1026C9-12B6-7AF9-8223-2EF39CAB8522}"/>
              </a:ext>
            </a:extLst>
          </p:cNvPr>
          <p:cNvSpPr txBox="1"/>
          <p:nvPr/>
        </p:nvSpPr>
        <p:spPr>
          <a:xfrm>
            <a:off x="639764" y="1384890"/>
            <a:ext cx="1298764" cy="26412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85000"/>
              </a:lnSpc>
            </a:pPr>
            <a:r>
              <a:rPr lang="en-US" sz="2000" b="1" dirty="0">
                <a:solidFill>
                  <a:schemeClr val="accent2"/>
                </a:solidFill>
              </a:rPr>
              <a:t>+</a:t>
            </a:r>
            <a:endParaRPr lang="ru-RU" sz="2000" b="1" dirty="0">
              <a:solidFill>
                <a:schemeClr val="accent2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215F2AE-9211-4D96-2E93-10E7F9D4453E}"/>
              </a:ext>
            </a:extLst>
          </p:cNvPr>
          <p:cNvSpPr txBox="1"/>
          <p:nvPr/>
        </p:nvSpPr>
        <p:spPr>
          <a:xfrm>
            <a:off x="926276" y="1375584"/>
            <a:ext cx="7059484" cy="833663"/>
          </a:xfrm>
          <a:prstGeom prst="rect">
            <a:avLst/>
          </a:prstGeom>
          <a:noFill/>
        </p:spPr>
        <p:txBody>
          <a:bodyPr wrap="square" lIns="0" tIns="0" rIns="0" bIns="216000">
            <a:spAutoFit/>
          </a:bodyPr>
          <a:lstStyle/>
          <a:p>
            <a:r>
              <a:rPr lang="ru-RU" sz="2000" dirty="0">
                <a:solidFill>
                  <a:schemeClr val="bg1"/>
                </a:solidFill>
              </a:rPr>
              <a:t>Один из способов принять продуктовое решение</a:t>
            </a:r>
            <a:endParaRPr lang="en-US" sz="20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2000" dirty="0">
              <a:solidFill>
                <a:schemeClr val="bg1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C9D4951-4AC9-03BC-FE0A-6C163576C2BD}"/>
              </a:ext>
            </a:extLst>
          </p:cNvPr>
          <p:cNvSpPr txBox="1"/>
          <p:nvPr/>
        </p:nvSpPr>
        <p:spPr>
          <a:xfrm>
            <a:off x="639764" y="1959897"/>
            <a:ext cx="1298764" cy="26412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85000"/>
              </a:lnSpc>
            </a:pPr>
            <a:r>
              <a:rPr lang="en-US" sz="2000" b="1" dirty="0">
                <a:solidFill>
                  <a:schemeClr val="accent2"/>
                </a:solidFill>
              </a:rPr>
              <a:t>+</a:t>
            </a:r>
            <a:endParaRPr lang="ru-RU" sz="2000" b="1" dirty="0">
              <a:solidFill>
                <a:schemeClr val="accent2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A8DBFC7-D9DC-B7D2-534D-312E62A23CF7}"/>
              </a:ext>
            </a:extLst>
          </p:cNvPr>
          <p:cNvSpPr txBox="1"/>
          <p:nvPr/>
        </p:nvSpPr>
        <p:spPr>
          <a:xfrm>
            <a:off x="926276" y="1950591"/>
            <a:ext cx="6332144" cy="833663"/>
          </a:xfrm>
          <a:prstGeom prst="rect">
            <a:avLst/>
          </a:prstGeom>
          <a:noFill/>
        </p:spPr>
        <p:txBody>
          <a:bodyPr wrap="square" lIns="0" tIns="0" rIns="0" bIns="216000">
            <a:spAutoFit/>
          </a:bodyPr>
          <a:lstStyle/>
          <a:p>
            <a:r>
              <a:rPr lang="ru-RU" sz="2000" dirty="0">
                <a:solidFill>
                  <a:schemeClr val="bg1"/>
                </a:solidFill>
              </a:rPr>
              <a:t>Инструмент для развития продукта</a:t>
            </a:r>
            <a:endParaRPr lang="en-US" sz="20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2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651951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627AEE98-19F4-534A-8C6D-26DC6431062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grpSp>
        <p:nvGrpSpPr>
          <p:cNvPr id="8" name="Группа 7">
            <a:extLst>
              <a:ext uri="{FF2B5EF4-FFF2-40B4-BE49-F238E27FC236}">
                <a16:creationId xmlns:a16="http://schemas.microsoft.com/office/drawing/2014/main" id="{98F7C656-A460-BB4E-8EA2-5DA4994B7628}"/>
              </a:ext>
            </a:extLst>
          </p:cNvPr>
          <p:cNvGrpSpPr>
            <a:grpSpLocks noChangeAspect="1"/>
          </p:cNvGrpSpPr>
          <p:nvPr/>
        </p:nvGrpSpPr>
        <p:grpSpPr>
          <a:xfrm>
            <a:off x="641985" y="6415289"/>
            <a:ext cx="1044575" cy="231716"/>
            <a:chOff x="8489504" y="910877"/>
            <a:chExt cx="2734509" cy="606592"/>
          </a:xfrm>
          <a:solidFill>
            <a:schemeClr val="bg1"/>
          </a:solidFill>
        </p:grpSpPr>
        <p:sp>
          <p:nvSpPr>
            <p:cNvPr id="9" name="Полилиния 8">
              <a:extLst>
                <a:ext uri="{FF2B5EF4-FFF2-40B4-BE49-F238E27FC236}">
                  <a16:creationId xmlns:a16="http://schemas.microsoft.com/office/drawing/2014/main" id="{67B185AF-5F63-D841-975A-B675D136B2E2}"/>
                </a:ext>
              </a:extLst>
            </p:cNvPr>
            <p:cNvSpPr/>
            <p:nvPr/>
          </p:nvSpPr>
          <p:spPr>
            <a:xfrm>
              <a:off x="10064626" y="910877"/>
              <a:ext cx="1159387" cy="606592"/>
            </a:xfrm>
            <a:custGeom>
              <a:avLst/>
              <a:gdLst>
                <a:gd name="connsiteX0" fmla="*/ 0 w 1159387"/>
                <a:gd name="connsiteY0" fmla="*/ 178242 h 606592"/>
                <a:gd name="connsiteX1" fmla="*/ 0 w 1159387"/>
                <a:gd name="connsiteY1" fmla="*/ 237024 h 606592"/>
                <a:gd name="connsiteX2" fmla="*/ 9135 w 1159387"/>
                <a:gd name="connsiteY2" fmla="*/ 246098 h 606592"/>
                <a:gd name="connsiteX3" fmla="*/ 30214 w 1159387"/>
                <a:gd name="connsiteY3" fmla="*/ 250009 h 606592"/>
                <a:gd name="connsiteX4" fmla="*/ 32261 w 1159387"/>
                <a:gd name="connsiteY4" fmla="*/ 250607 h 606592"/>
                <a:gd name="connsiteX5" fmla="*/ 85030 w 1159387"/>
                <a:gd name="connsiteY5" fmla="*/ 319338 h 606592"/>
                <a:gd name="connsiteX6" fmla="*/ 85030 w 1159387"/>
                <a:gd name="connsiteY6" fmla="*/ 483817 h 606592"/>
                <a:gd name="connsiteX7" fmla="*/ 120863 w 1159387"/>
                <a:gd name="connsiteY7" fmla="*/ 570989 h 606592"/>
                <a:gd name="connsiteX8" fmla="*/ 205874 w 1159387"/>
                <a:gd name="connsiteY8" fmla="*/ 606364 h 606592"/>
                <a:gd name="connsiteX9" fmla="*/ 207284 w 1159387"/>
                <a:gd name="connsiteY9" fmla="*/ 606364 h 606592"/>
                <a:gd name="connsiteX10" fmla="*/ 235964 w 1159387"/>
                <a:gd name="connsiteY10" fmla="*/ 606364 h 606592"/>
                <a:gd name="connsiteX11" fmla="*/ 247356 w 1159387"/>
                <a:gd name="connsiteY11" fmla="*/ 593268 h 606592"/>
                <a:gd name="connsiteX12" fmla="*/ 247337 w 1159387"/>
                <a:gd name="connsiteY12" fmla="*/ 563750 h 606592"/>
                <a:gd name="connsiteX13" fmla="*/ 247337 w 1159387"/>
                <a:gd name="connsiteY13" fmla="*/ 541928 h 606592"/>
                <a:gd name="connsiteX14" fmla="*/ 236802 w 1159387"/>
                <a:gd name="connsiteY14" fmla="*/ 530565 h 606592"/>
                <a:gd name="connsiteX15" fmla="*/ 197454 w 1159387"/>
                <a:gd name="connsiteY15" fmla="*/ 530527 h 606592"/>
                <a:gd name="connsiteX16" fmla="*/ 159506 w 1159387"/>
                <a:gd name="connsiteY16" fmla="*/ 492285 h 606592"/>
                <a:gd name="connsiteX17" fmla="*/ 159506 w 1159387"/>
                <a:gd name="connsiteY17" fmla="*/ 403084 h 606592"/>
                <a:gd name="connsiteX18" fmla="*/ 159506 w 1159387"/>
                <a:gd name="connsiteY18" fmla="*/ 316772 h 606592"/>
                <a:gd name="connsiteX19" fmla="*/ 100365 w 1159387"/>
                <a:gd name="connsiteY19" fmla="*/ 207274 h 606592"/>
                <a:gd name="connsiteX20" fmla="*/ 99080 w 1159387"/>
                <a:gd name="connsiteY20" fmla="*/ 206423 h 606592"/>
                <a:gd name="connsiteX21" fmla="*/ 100356 w 1159387"/>
                <a:gd name="connsiteY21" fmla="*/ 205547 h 606592"/>
                <a:gd name="connsiteX22" fmla="*/ 159506 w 1159387"/>
                <a:gd name="connsiteY22" fmla="*/ 90665 h 606592"/>
                <a:gd name="connsiteX23" fmla="*/ 159506 w 1159387"/>
                <a:gd name="connsiteY23" fmla="*/ 10992 h 606592"/>
                <a:gd name="connsiteX24" fmla="*/ 148962 w 1159387"/>
                <a:gd name="connsiteY24" fmla="*/ 0 h 606592"/>
                <a:gd name="connsiteX25" fmla="*/ 95565 w 1159387"/>
                <a:gd name="connsiteY25" fmla="*/ 0 h 606592"/>
                <a:gd name="connsiteX26" fmla="*/ 85030 w 1159387"/>
                <a:gd name="connsiteY26" fmla="*/ 10992 h 606592"/>
                <a:gd name="connsiteX27" fmla="*/ 85030 w 1159387"/>
                <a:gd name="connsiteY27" fmla="*/ 90665 h 606592"/>
                <a:gd name="connsiteX28" fmla="*/ 32366 w 1159387"/>
                <a:gd name="connsiteY28" fmla="*/ 162761 h 606592"/>
                <a:gd name="connsiteX29" fmla="*/ 30214 w 1159387"/>
                <a:gd name="connsiteY29" fmla="*/ 163402 h 606592"/>
                <a:gd name="connsiteX30" fmla="*/ 9135 w 1159387"/>
                <a:gd name="connsiteY30" fmla="*/ 167302 h 606592"/>
                <a:gd name="connsiteX31" fmla="*/ 0 w 1159387"/>
                <a:gd name="connsiteY31" fmla="*/ 178242 h 606592"/>
                <a:gd name="connsiteX32" fmla="*/ 933768 w 1159387"/>
                <a:gd name="connsiteY32" fmla="*/ 313343 h 606592"/>
                <a:gd name="connsiteX33" fmla="*/ 933768 w 1159387"/>
                <a:gd name="connsiteY33" fmla="*/ 468558 h 606592"/>
                <a:gd name="connsiteX34" fmla="*/ 930749 w 1159387"/>
                <a:gd name="connsiteY34" fmla="*/ 475902 h 606592"/>
                <a:gd name="connsiteX35" fmla="*/ 923472 w 1159387"/>
                <a:gd name="connsiteY35" fmla="*/ 478940 h 606592"/>
                <a:gd name="connsiteX36" fmla="*/ 869627 w 1159387"/>
                <a:gd name="connsiteY36" fmla="*/ 478902 h 606592"/>
                <a:gd name="connsiteX37" fmla="*/ 859349 w 1159387"/>
                <a:gd name="connsiteY37" fmla="*/ 468530 h 606592"/>
                <a:gd name="connsiteX38" fmla="*/ 859349 w 1159387"/>
                <a:gd name="connsiteY38" fmla="*/ 10375 h 606592"/>
                <a:gd name="connsiteX39" fmla="*/ 869636 w 1159387"/>
                <a:gd name="connsiteY39" fmla="*/ 0 h 606592"/>
                <a:gd name="connsiteX40" fmla="*/ 923472 w 1159387"/>
                <a:gd name="connsiteY40" fmla="*/ 0 h 606592"/>
                <a:gd name="connsiteX41" fmla="*/ 933768 w 1159387"/>
                <a:gd name="connsiteY41" fmla="*/ 10375 h 606592"/>
                <a:gd name="connsiteX42" fmla="*/ 933768 w 1159387"/>
                <a:gd name="connsiteY42" fmla="*/ 193355 h 606592"/>
                <a:gd name="connsiteX43" fmla="*/ 1159388 w 1159387"/>
                <a:gd name="connsiteY43" fmla="*/ 312995 h 606592"/>
                <a:gd name="connsiteX44" fmla="*/ 1159388 w 1159387"/>
                <a:gd name="connsiteY44" fmla="*/ 468520 h 606592"/>
                <a:gd name="connsiteX45" fmla="*/ 1156378 w 1159387"/>
                <a:gd name="connsiteY45" fmla="*/ 475854 h 606592"/>
                <a:gd name="connsiteX46" fmla="*/ 1149101 w 1159387"/>
                <a:gd name="connsiteY46" fmla="*/ 478893 h 606592"/>
                <a:gd name="connsiteX47" fmla="*/ 1095199 w 1159387"/>
                <a:gd name="connsiteY47" fmla="*/ 478893 h 606592"/>
                <a:gd name="connsiteX48" fmla="*/ 1087922 w 1159387"/>
                <a:gd name="connsiteY48" fmla="*/ 475854 h 606592"/>
                <a:gd name="connsiteX49" fmla="*/ 1084912 w 1159387"/>
                <a:gd name="connsiteY49" fmla="*/ 468520 h 606592"/>
                <a:gd name="connsiteX50" fmla="*/ 1084912 w 1159387"/>
                <a:gd name="connsiteY50" fmla="*/ 312995 h 606592"/>
                <a:gd name="connsiteX51" fmla="*/ 966868 w 1159387"/>
                <a:gd name="connsiteY51" fmla="*/ 246504 h 606592"/>
                <a:gd name="connsiteX52" fmla="*/ 933768 w 1159387"/>
                <a:gd name="connsiteY52" fmla="*/ 313343 h 606592"/>
                <a:gd name="connsiteX53" fmla="*/ 596563 w 1159387"/>
                <a:gd name="connsiteY53" fmla="*/ 207040 h 606592"/>
                <a:gd name="connsiteX54" fmla="*/ 549471 w 1159387"/>
                <a:gd name="connsiteY54" fmla="*/ 323084 h 606592"/>
                <a:gd name="connsiteX55" fmla="*/ 596563 w 1159387"/>
                <a:gd name="connsiteY55" fmla="*/ 439145 h 606592"/>
                <a:gd name="connsiteX56" fmla="*/ 797522 w 1159387"/>
                <a:gd name="connsiteY56" fmla="*/ 460995 h 606592"/>
                <a:gd name="connsiteX57" fmla="*/ 799923 w 1159387"/>
                <a:gd name="connsiteY57" fmla="*/ 459357 h 606592"/>
                <a:gd name="connsiteX58" fmla="*/ 805247 w 1159387"/>
                <a:gd name="connsiteY58" fmla="*/ 455385 h 606592"/>
                <a:gd name="connsiteX59" fmla="*/ 806018 w 1159387"/>
                <a:gd name="connsiteY59" fmla="*/ 438745 h 606592"/>
                <a:gd name="connsiteX60" fmla="*/ 790226 w 1159387"/>
                <a:gd name="connsiteY60" fmla="*/ 417067 h 606592"/>
                <a:gd name="connsiteX61" fmla="*/ 776110 w 1159387"/>
                <a:gd name="connsiteY61" fmla="*/ 397747 h 606592"/>
                <a:gd name="connsiteX62" fmla="*/ 760975 w 1159387"/>
                <a:gd name="connsiteY62" fmla="*/ 394585 h 606592"/>
                <a:gd name="connsiteX63" fmla="*/ 757003 w 1159387"/>
                <a:gd name="connsiteY63" fmla="*/ 397067 h 606592"/>
                <a:gd name="connsiteX64" fmla="*/ 619737 w 1159387"/>
                <a:gd name="connsiteY64" fmla="*/ 323084 h 606592"/>
                <a:gd name="connsiteX65" fmla="*/ 756945 w 1159387"/>
                <a:gd name="connsiteY65" fmla="*/ 249203 h 606592"/>
                <a:gd name="connsiteX66" fmla="*/ 760975 w 1159387"/>
                <a:gd name="connsiteY66" fmla="*/ 251591 h 606592"/>
                <a:gd name="connsiteX67" fmla="*/ 776148 w 1159387"/>
                <a:gd name="connsiteY67" fmla="*/ 248416 h 606592"/>
                <a:gd name="connsiteX68" fmla="*/ 790207 w 1159387"/>
                <a:gd name="connsiteY68" fmla="*/ 229138 h 606592"/>
                <a:gd name="connsiteX69" fmla="*/ 804618 w 1159387"/>
                <a:gd name="connsiteY69" fmla="*/ 209395 h 606592"/>
                <a:gd name="connsiteX70" fmla="*/ 799903 w 1159387"/>
                <a:gd name="connsiteY70" fmla="*/ 186809 h 606592"/>
                <a:gd name="connsiteX71" fmla="*/ 797522 w 1159387"/>
                <a:gd name="connsiteY71" fmla="*/ 185195 h 606592"/>
                <a:gd name="connsiteX72" fmla="*/ 596563 w 1159387"/>
                <a:gd name="connsiteY72" fmla="*/ 207040 h 606592"/>
                <a:gd name="connsiteX73" fmla="*/ 293714 w 1159387"/>
                <a:gd name="connsiteY73" fmla="*/ 350313 h 606592"/>
                <a:gd name="connsiteX74" fmla="*/ 469385 w 1159387"/>
                <a:gd name="connsiteY74" fmla="*/ 350313 h 606592"/>
                <a:gd name="connsiteX75" fmla="*/ 507323 w 1159387"/>
                <a:gd name="connsiteY75" fmla="*/ 312290 h 606592"/>
                <a:gd name="connsiteX76" fmla="*/ 472890 w 1159387"/>
                <a:gd name="connsiteY76" fmla="*/ 208836 h 606592"/>
                <a:gd name="connsiteX77" fmla="*/ 368190 w 1159387"/>
                <a:gd name="connsiteY77" fmla="*/ 159530 h 606592"/>
                <a:gd name="connsiteX78" fmla="*/ 219228 w 1159387"/>
                <a:gd name="connsiteY78" fmla="*/ 323103 h 606592"/>
                <a:gd name="connsiteX79" fmla="*/ 375915 w 1159387"/>
                <a:gd name="connsiteY79" fmla="*/ 486674 h 606592"/>
                <a:gd name="connsiteX80" fmla="*/ 502398 w 1159387"/>
                <a:gd name="connsiteY80" fmla="*/ 450623 h 606592"/>
                <a:gd name="connsiteX81" fmla="*/ 505913 w 1159387"/>
                <a:gd name="connsiteY81" fmla="*/ 435907 h 606592"/>
                <a:gd name="connsiteX82" fmla="*/ 504818 w 1159387"/>
                <a:gd name="connsiteY82" fmla="*/ 434088 h 606592"/>
                <a:gd name="connsiteX83" fmla="*/ 478519 w 1159387"/>
                <a:gd name="connsiteY83" fmla="*/ 391689 h 606592"/>
                <a:gd name="connsiteX84" fmla="*/ 464460 w 1159387"/>
                <a:gd name="connsiteY84" fmla="*/ 388476 h 606592"/>
                <a:gd name="connsiteX85" fmla="*/ 377335 w 1159387"/>
                <a:gd name="connsiteY85" fmla="*/ 414990 h 606592"/>
                <a:gd name="connsiteX86" fmla="*/ 293714 w 1159387"/>
                <a:gd name="connsiteY86" fmla="*/ 350313 h 606592"/>
                <a:gd name="connsiteX87" fmla="*/ 430732 w 1159387"/>
                <a:gd name="connsiteY87" fmla="*/ 287912 h 606592"/>
                <a:gd name="connsiteX88" fmla="*/ 368190 w 1159387"/>
                <a:gd name="connsiteY88" fmla="*/ 232071 h 606592"/>
                <a:gd name="connsiteX89" fmla="*/ 296524 w 1159387"/>
                <a:gd name="connsiteY89" fmla="*/ 287912 h 606592"/>
                <a:gd name="connsiteX90" fmla="*/ 430732 w 1159387"/>
                <a:gd name="connsiteY90" fmla="*/ 287912 h 606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</a:cxnLst>
              <a:rect l="l" t="t" r="r" b="b"/>
              <a:pathLst>
                <a:path w="1159387" h="606592">
                  <a:moveTo>
                    <a:pt x="0" y="178242"/>
                  </a:moveTo>
                  <a:lnTo>
                    <a:pt x="0" y="237024"/>
                  </a:lnTo>
                  <a:cubicBezTo>
                    <a:pt x="695" y="241577"/>
                    <a:pt x="4220" y="245266"/>
                    <a:pt x="9135" y="246098"/>
                  </a:cubicBezTo>
                  <a:cubicBezTo>
                    <a:pt x="16869" y="247387"/>
                    <a:pt x="27404" y="249197"/>
                    <a:pt x="30214" y="250009"/>
                  </a:cubicBezTo>
                  <a:cubicBezTo>
                    <a:pt x="30833" y="250193"/>
                    <a:pt x="31518" y="250390"/>
                    <a:pt x="32261" y="250607"/>
                  </a:cubicBezTo>
                  <a:cubicBezTo>
                    <a:pt x="46749" y="254784"/>
                    <a:pt x="83697" y="265433"/>
                    <a:pt x="85030" y="319338"/>
                  </a:cubicBezTo>
                  <a:lnTo>
                    <a:pt x="85030" y="483817"/>
                  </a:lnTo>
                  <a:cubicBezTo>
                    <a:pt x="85030" y="516573"/>
                    <a:pt x="97670" y="547958"/>
                    <a:pt x="120863" y="570989"/>
                  </a:cubicBezTo>
                  <a:cubicBezTo>
                    <a:pt x="143342" y="593696"/>
                    <a:pt x="174261" y="606402"/>
                    <a:pt x="205874" y="606364"/>
                  </a:cubicBezTo>
                  <a:lnTo>
                    <a:pt x="207284" y="606364"/>
                  </a:lnTo>
                  <a:cubicBezTo>
                    <a:pt x="207284" y="606364"/>
                    <a:pt x="207284" y="606879"/>
                    <a:pt x="235964" y="606364"/>
                  </a:cubicBezTo>
                  <a:cubicBezTo>
                    <a:pt x="243232" y="606231"/>
                    <a:pt x="247461" y="601383"/>
                    <a:pt x="247356" y="593268"/>
                  </a:cubicBezTo>
                  <a:cubicBezTo>
                    <a:pt x="247222" y="582028"/>
                    <a:pt x="247527" y="573246"/>
                    <a:pt x="247337" y="563750"/>
                  </a:cubicBezTo>
                  <a:cubicBezTo>
                    <a:pt x="247184" y="555816"/>
                    <a:pt x="247337" y="548520"/>
                    <a:pt x="247337" y="541928"/>
                  </a:cubicBezTo>
                  <a:cubicBezTo>
                    <a:pt x="247337" y="535804"/>
                    <a:pt x="242422" y="530794"/>
                    <a:pt x="236802" y="530565"/>
                  </a:cubicBezTo>
                  <a:cubicBezTo>
                    <a:pt x="226258" y="530527"/>
                    <a:pt x="211504" y="530527"/>
                    <a:pt x="197454" y="530527"/>
                  </a:cubicBezTo>
                  <a:cubicBezTo>
                    <a:pt x="177071" y="530527"/>
                    <a:pt x="159506" y="513401"/>
                    <a:pt x="159506" y="492285"/>
                  </a:cubicBezTo>
                  <a:lnTo>
                    <a:pt x="159506" y="403084"/>
                  </a:lnTo>
                  <a:cubicBezTo>
                    <a:pt x="160202" y="402874"/>
                    <a:pt x="159506" y="317750"/>
                    <a:pt x="159506" y="316772"/>
                  </a:cubicBezTo>
                  <a:cubicBezTo>
                    <a:pt x="157544" y="243958"/>
                    <a:pt x="109233" y="212964"/>
                    <a:pt x="100365" y="207274"/>
                  </a:cubicBezTo>
                  <a:cubicBezTo>
                    <a:pt x="99708" y="206855"/>
                    <a:pt x="99270" y="206569"/>
                    <a:pt x="99080" y="206423"/>
                  </a:cubicBezTo>
                  <a:cubicBezTo>
                    <a:pt x="99270" y="206264"/>
                    <a:pt x="99708" y="205979"/>
                    <a:pt x="100356" y="205547"/>
                  </a:cubicBezTo>
                  <a:cubicBezTo>
                    <a:pt x="109395" y="199604"/>
                    <a:pt x="159506" y="166622"/>
                    <a:pt x="159506" y="90665"/>
                  </a:cubicBezTo>
                  <a:lnTo>
                    <a:pt x="159506" y="10992"/>
                  </a:lnTo>
                  <a:cubicBezTo>
                    <a:pt x="159506" y="4922"/>
                    <a:pt x="155287" y="0"/>
                    <a:pt x="148962" y="0"/>
                  </a:cubicBezTo>
                  <a:lnTo>
                    <a:pt x="95565" y="0"/>
                  </a:lnTo>
                  <a:cubicBezTo>
                    <a:pt x="89945" y="0"/>
                    <a:pt x="85030" y="4922"/>
                    <a:pt x="85030" y="10992"/>
                  </a:cubicBezTo>
                  <a:lnTo>
                    <a:pt x="85030" y="90665"/>
                  </a:lnTo>
                  <a:cubicBezTo>
                    <a:pt x="85030" y="147350"/>
                    <a:pt x="47054" y="158469"/>
                    <a:pt x="32366" y="162761"/>
                  </a:cubicBezTo>
                  <a:cubicBezTo>
                    <a:pt x="31576" y="162997"/>
                    <a:pt x="30861" y="163206"/>
                    <a:pt x="30214" y="163402"/>
                  </a:cubicBezTo>
                  <a:cubicBezTo>
                    <a:pt x="27404" y="164209"/>
                    <a:pt x="16869" y="166026"/>
                    <a:pt x="9135" y="167302"/>
                  </a:cubicBezTo>
                  <a:cubicBezTo>
                    <a:pt x="3515" y="168248"/>
                    <a:pt x="0" y="172858"/>
                    <a:pt x="0" y="178242"/>
                  </a:cubicBezTo>
                  <a:close/>
                  <a:moveTo>
                    <a:pt x="933768" y="313343"/>
                  </a:moveTo>
                  <a:lnTo>
                    <a:pt x="933768" y="468558"/>
                  </a:lnTo>
                  <a:cubicBezTo>
                    <a:pt x="933768" y="471320"/>
                    <a:pt x="932682" y="473949"/>
                    <a:pt x="930749" y="475902"/>
                  </a:cubicBezTo>
                  <a:cubicBezTo>
                    <a:pt x="928825" y="477845"/>
                    <a:pt x="926206" y="478940"/>
                    <a:pt x="923472" y="478940"/>
                  </a:cubicBezTo>
                  <a:cubicBezTo>
                    <a:pt x="909270" y="478921"/>
                    <a:pt x="883819" y="478912"/>
                    <a:pt x="869627" y="478902"/>
                  </a:cubicBezTo>
                  <a:cubicBezTo>
                    <a:pt x="863950" y="478893"/>
                    <a:pt x="859349" y="474254"/>
                    <a:pt x="859349" y="468530"/>
                  </a:cubicBezTo>
                  <a:cubicBezTo>
                    <a:pt x="859349" y="405427"/>
                    <a:pt x="859349" y="73513"/>
                    <a:pt x="859349" y="10375"/>
                  </a:cubicBezTo>
                  <a:cubicBezTo>
                    <a:pt x="859349" y="4648"/>
                    <a:pt x="863959" y="0"/>
                    <a:pt x="869636" y="0"/>
                  </a:cubicBezTo>
                  <a:cubicBezTo>
                    <a:pt x="883838" y="0"/>
                    <a:pt x="909279" y="0"/>
                    <a:pt x="923472" y="0"/>
                  </a:cubicBezTo>
                  <a:cubicBezTo>
                    <a:pt x="929158" y="0"/>
                    <a:pt x="933768" y="4648"/>
                    <a:pt x="933768" y="10375"/>
                  </a:cubicBezTo>
                  <a:cubicBezTo>
                    <a:pt x="933768" y="50513"/>
                    <a:pt x="933768" y="193355"/>
                    <a:pt x="933768" y="193355"/>
                  </a:cubicBezTo>
                  <a:cubicBezTo>
                    <a:pt x="1013169" y="118433"/>
                    <a:pt x="1159388" y="172318"/>
                    <a:pt x="1159388" y="312995"/>
                  </a:cubicBezTo>
                  <a:lnTo>
                    <a:pt x="1159388" y="468520"/>
                  </a:lnTo>
                  <a:cubicBezTo>
                    <a:pt x="1159388" y="471273"/>
                    <a:pt x="1158302" y="473911"/>
                    <a:pt x="1156378" y="475854"/>
                  </a:cubicBezTo>
                  <a:cubicBezTo>
                    <a:pt x="1154445" y="477797"/>
                    <a:pt x="1151835" y="478893"/>
                    <a:pt x="1149101" y="478893"/>
                  </a:cubicBezTo>
                  <a:cubicBezTo>
                    <a:pt x="1134899" y="478893"/>
                    <a:pt x="1109401" y="478893"/>
                    <a:pt x="1095199" y="478893"/>
                  </a:cubicBezTo>
                  <a:cubicBezTo>
                    <a:pt x="1092465" y="478893"/>
                    <a:pt x="1089855" y="477797"/>
                    <a:pt x="1087922" y="475854"/>
                  </a:cubicBezTo>
                  <a:cubicBezTo>
                    <a:pt x="1085998" y="473911"/>
                    <a:pt x="1084912" y="471273"/>
                    <a:pt x="1084912" y="468520"/>
                  </a:cubicBezTo>
                  <a:cubicBezTo>
                    <a:pt x="1084912" y="432211"/>
                    <a:pt x="1084912" y="312995"/>
                    <a:pt x="1084912" y="312995"/>
                  </a:cubicBezTo>
                  <a:cubicBezTo>
                    <a:pt x="1084912" y="239513"/>
                    <a:pt x="1011121" y="217047"/>
                    <a:pt x="966868" y="246504"/>
                  </a:cubicBezTo>
                  <a:cubicBezTo>
                    <a:pt x="947885" y="259141"/>
                    <a:pt x="933768" y="281804"/>
                    <a:pt x="933768" y="313343"/>
                  </a:cubicBezTo>
                  <a:close/>
                  <a:moveTo>
                    <a:pt x="596563" y="207040"/>
                  </a:moveTo>
                  <a:cubicBezTo>
                    <a:pt x="564235" y="238922"/>
                    <a:pt x="549471" y="280953"/>
                    <a:pt x="549471" y="323084"/>
                  </a:cubicBezTo>
                  <a:cubicBezTo>
                    <a:pt x="549471" y="365223"/>
                    <a:pt x="564235" y="407246"/>
                    <a:pt x="596563" y="439145"/>
                  </a:cubicBezTo>
                  <a:cubicBezTo>
                    <a:pt x="650665" y="494085"/>
                    <a:pt x="734285" y="501400"/>
                    <a:pt x="797522" y="460995"/>
                  </a:cubicBezTo>
                  <a:cubicBezTo>
                    <a:pt x="798208" y="460481"/>
                    <a:pt x="799037" y="459938"/>
                    <a:pt x="799923" y="459357"/>
                  </a:cubicBezTo>
                  <a:cubicBezTo>
                    <a:pt x="801761" y="458147"/>
                    <a:pt x="803828" y="456795"/>
                    <a:pt x="805247" y="455385"/>
                  </a:cubicBezTo>
                  <a:cubicBezTo>
                    <a:pt x="808762" y="451909"/>
                    <a:pt x="810762" y="445470"/>
                    <a:pt x="806018" y="438745"/>
                  </a:cubicBezTo>
                  <a:cubicBezTo>
                    <a:pt x="801761" y="432697"/>
                    <a:pt x="796170" y="425153"/>
                    <a:pt x="790226" y="417067"/>
                  </a:cubicBezTo>
                  <a:cubicBezTo>
                    <a:pt x="785121" y="410132"/>
                    <a:pt x="780339" y="403665"/>
                    <a:pt x="776110" y="397747"/>
                  </a:cubicBezTo>
                  <a:cubicBezTo>
                    <a:pt x="772671" y="392947"/>
                    <a:pt x="765890" y="391664"/>
                    <a:pt x="760975" y="394585"/>
                  </a:cubicBezTo>
                  <a:cubicBezTo>
                    <a:pt x="759565" y="395461"/>
                    <a:pt x="758393" y="396172"/>
                    <a:pt x="757003" y="397067"/>
                  </a:cubicBezTo>
                  <a:cubicBezTo>
                    <a:pt x="686032" y="442936"/>
                    <a:pt x="619737" y="382374"/>
                    <a:pt x="619737" y="323084"/>
                  </a:cubicBezTo>
                  <a:cubicBezTo>
                    <a:pt x="619737" y="263795"/>
                    <a:pt x="687384" y="203573"/>
                    <a:pt x="756945" y="249203"/>
                  </a:cubicBezTo>
                  <a:cubicBezTo>
                    <a:pt x="758308" y="250105"/>
                    <a:pt x="759565" y="250708"/>
                    <a:pt x="760975" y="251591"/>
                  </a:cubicBezTo>
                  <a:cubicBezTo>
                    <a:pt x="765890" y="254512"/>
                    <a:pt x="772805" y="253115"/>
                    <a:pt x="776148" y="248416"/>
                  </a:cubicBezTo>
                  <a:cubicBezTo>
                    <a:pt x="780377" y="242497"/>
                    <a:pt x="785102" y="236065"/>
                    <a:pt x="790207" y="229138"/>
                  </a:cubicBezTo>
                  <a:cubicBezTo>
                    <a:pt x="795560" y="221854"/>
                    <a:pt x="800580" y="215072"/>
                    <a:pt x="804618" y="209395"/>
                  </a:cubicBezTo>
                  <a:cubicBezTo>
                    <a:pt x="811362" y="199928"/>
                    <a:pt x="809571" y="193191"/>
                    <a:pt x="799903" y="186809"/>
                  </a:cubicBezTo>
                  <a:cubicBezTo>
                    <a:pt x="799027" y="186231"/>
                    <a:pt x="798199" y="185691"/>
                    <a:pt x="797522" y="185195"/>
                  </a:cubicBezTo>
                  <a:cubicBezTo>
                    <a:pt x="734285" y="144778"/>
                    <a:pt x="650665" y="152087"/>
                    <a:pt x="596563" y="207040"/>
                  </a:cubicBezTo>
                  <a:close/>
                  <a:moveTo>
                    <a:pt x="293714" y="350313"/>
                  </a:moveTo>
                  <a:lnTo>
                    <a:pt x="469385" y="350313"/>
                  </a:lnTo>
                  <a:cubicBezTo>
                    <a:pt x="490463" y="350313"/>
                    <a:pt x="507323" y="333283"/>
                    <a:pt x="507323" y="312290"/>
                  </a:cubicBezTo>
                  <a:cubicBezTo>
                    <a:pt x="507323" y="265561"/>
                    <a:pt x="499588" y="240644"/>
                    <a:pt x="472890" y="208836"/>
                  </a:cubicBezTo>
                  <a:cubicBezTo>
                    <a:pt x="445486" y="176865"/>
                    <a:pt x="401919" y="159530"/>
                    <a:pt x="368190" y="159530"/>
                  </a:cubicBezTo>
                  <a:cubicBezTo>
                    <a:pt x="283875" y="159530"/>
                    <a:pt x="219228" y="231722"/>
                    <a:pt x="219228" y="323103"/>
                  </a:cubicBezTo>
                  <a:cubicBezTo>
                    <a:pt x="219228" y="435697"/>
                    <a:pt x="306354" y="486674"/>
                    <a:pt x="375915" y="486674"/>
                  </a:cubicBezTo>
                  <a:cubicBezTo>
                    <a:pt x="425807" y="486674"/>
                    <a:pt x="464460" y="474616"/>
                    <a:pt x="502398" y="450623"/>
                  </a:cubicBezTo>
                  <a:cubicBezTo>
                    <a:pt x="506618" y="447470"/>
                    <a:pt x="508723" y="441003"/>
                    <a:pt x="505913" y="435907"/>
                  </a:cubicBezTo>
                  <a:lnTo>
                    <a:pt x="504818" y="434088"/>
                  </a:lnTo>
                  <a:cubicBezTo>
                    <a:pt x="497150" y="421362"/>
                    <a:pt x="486558" y="403789"/>
                    <a:pt x="478519" y="391689"/>
                  </a:cubicBezTo>
                  <a:cubicBezTo>
                    <a:pt x="475709" y="386901"/>
                    <a:pt x="469385" y="385492"/>
                    <a:pt x="464460" y="388476"/>
                  </a:cubicBezTo>
                  <a:cubicBezTo>
                    <a:pt x="440571" y="402722"/>
                    <a:pt x="415273" y="415266"/>
                    <a:pt x="377335" y="414990"/>
                  </a:cubicBezTo>
                  <a:cubicBezTo>
                    <a:pt x="342197" y="414742"/>
                    <a:pt x="304954" y="392280"/>
                    <a:pt x="293714" y="350313"/>
                  </a:cubicBezTo>
                  <a:close/>
                  <a:moveTo>
                    <a:pt x="430732" y="287912"/>
                  </a:moveTo>
                  <a:cubicBezTo>
                    <a:pt x="424407" y="240694"/>
                    <a:pt x="392079" y="232071"/>
                    <a:pt x="368190" y="232071"/>
                  </a:cubicBezTo>
                  <a:cubicBezTo>
                    <a:pt x="335872" y="232071"/>
                    <a:pt x="308478" y="256182"/>
                    <a:pt x="296524" y="287912"/>
                  </a:cubicBezTo>
                  <a:lnTo>
                    <a:pt x="430732" y="287912"/>
                  </a:lnTo>
                  <a:close/>
                </a:path>
              </a:pathLst>
            </a:custGeom>
            <a:grpFill/>
            <a:ln w="76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E111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" name="Полилиния 9">
              <a:extLst>
                <a:ext uri="{FF2B5EF4-FFF2-40B4-BE49-F238E27FC236}">
                  <a16:creationId xmlns:a16="http://schemas.microsoft.com/office/drawing/2014/main" id="{B7010926-BCF7-9A42-B453-9B515761F0D1}"/>
                </a:ext>
              </a:extLst>
            </p:cNvPr>
            <p:cNvSpPr/>
            <p:nvPr/>
          </p:nvSpPr>
          <p:spPr>
            <a:xfrm>
              <a:off x="8489504" y="1070894"/>
              <a:ext cx="1492273" cy="326563"/>
            </a:xfrm>
            <a:custGeom>
              <a:avLst/>
              <a:gdLst>
                <a:gd name="connsiteX0" fmla="*/ 180273 w 1492273"/>
                <a:gd name="connsiteY0" fmla="*/ 900 h 326563"/>
                <a:gd name="connsiteX1" fmla="*/ 83526 w 1492273"/>
                <a:gd name="connsiteY1" fmla="*/ 20775 h 326563"/>
                <a:gd name="connsiteX2" fmla="*/ 15954 w 1492273"/>
                <a:gd name="connsiteY2" fmla="*/ 92853 h 326563"/>
                <a:gd name="connsiteX3" fmla="*/ 2323 w 1492273"/>
                <a:gd name="connsiteY3" fmla="*/ 190737 h 326563"/>
                <a:gd name="connsiteX4" fmla="*/ 47618 w 1492273"/>
                <a:gd name="connsiteY4" fmla="*/ 278557 h 326563"/>
                <a:gd name="connsiteX5" fmla="*/ 135243 w 1492273"/>
                <a:gd name="connsiteY5" fmla="*/ 324153 h 326563"/>
                <a:gd name="connsiteX6" fmla="*/ 233098 w 1492273"/>
                <a:gd name="connsiteY6" fmla="*/ 310818 h 326563"/>
                <a:gd name="connsiteX7" fmla="*/ 305341 w 1492273"/>
                <a:gd name="connsiteY7" fmla="*/ 243429 h 326563"/>
                <a:gd name="connsiteX8" fmla="*/ 325507 w 1492273"/>
                <a:gd name="connsiteY8" fmla="*/ 146675 h 326563"/>
                <a:gd name="connsiteX9" fmla="*/ 278778 w 1492273"/>
                <a:gd name="connsiteY9" fmla="*/ 47965 h 326563"/>
                <a:gd name="connsiteX10" fmla="*/ 180273 w 1492273"/>
                <a:gd name="connsiteY10" fmla="*/ 900 h 326563"/>
                <a:gd name="connsiteX11" fmla="*/ 174984 w 1492273"/>
                <a:gd name="connsiteY11" fmla="*/ 249697 h 326563"/>
                <a:gd name="connsiteX12" fmla="*/ 122555 w 1492273"/>
                <a:gd name="connsiteY12" fmla="*/ 240277 h 326563"/>
                <a:gd name="connsiteX13" fmla="*/ 85427 w 1492273"/>
                <a:gd name="connsiteY13" fmla="*/ 202047 h 326563"/>
                <a:gd name="connsiteX14" fmla="*/ 77507 w 1492273"/>
                <a:gd name="connsiteY14" fmla="*/ 149329 h 326563"/>
                <a:gd name="connsiteX15" fmla="*/ 101766 w 1492273"/>
                <a:gd name="connsiteY15" fmla="*/ 101883 h 326563"/>
                <a:gd name="connsiteX16" fmla="*/ 149113 w 1492273"/>
                <a:gd name="connsiteY16" fmla="*/ 77461 h 326563"/>
                <a:gd name="connsiteX17" fmla="*/ 201825 w 1492273"/>
                <a:gd name="connsiteY17" fmla="*/ 85220 h 326563"/>
                <a:gd name="connsiteX18" fmla="*/ 240132 w 1492273"/>
                <a:gd name="connsiteY18" fmla="*/ 122247 h 326563"/>
                <a:gd name="connsiteX19" fmla="*/ 249714 w 1492273"/>
                <a:gd name="connsiteY19" fmla="*/ 174684 h 326563"/>
                <a:gd name="connsiteX20" fmla="*/ 225058 w 1492273"/>
                <a:gd name="connsiteY20" fmla="*/ 224868 h 326563"/>
                <a:gd name="connsiteX21" fmla="*/ 174984 w 1492273"/>
                <a:gd name="connsiteY21" fmla="*/ 249697 h 326563"/>
                <a:gd name="connsiteX22" fmla="*/ 412780 w 1492273"/>
                <a:gd name="connsiteY22" fmla="*/ 7358 h 326563"/>
                <a:gd name="connsiteX23" fmla="*/ 396435 w 1492273"/>
                <a:gd name="connsiteY23" fmla="*/ 11091 h 326563"/>
                <a:gd name="connsiteX24" fmla="*/ 383276 w 1492273"/>
                <a:gd name="connsiteY24" fmla="*/ 21498 h 326563"/>
                <a:gd name="connsiteX25" fmla="*/ 375859 w 1492273"/>
                <a:gd name="connsiteY25" fmla="*/ 36548 h 326563"/>
                <a:gd name="connsiteX26" fmla="*/ 375620 w 1492273"/>
                <a:gd name="connsiteY26" fmla="*/ 53325 h 326563"/>
                <a:gd name="connsiteX27" fmla="*/ 414209 w 1492273"/>
                <a:gd name="connsiteY27" fmla="*/ 83537 h 326563"/>
                <a:gd name="connsiteX28" fmla="*/ 520143 w 1492273"/>
                <a:gd name="connsiteY28" fmla="*/ 83537 h 326563"/>
                <a:gd name="connsiteX29" fmla="*/ 355289 w 1492273"/>
                <a:gd name="connsiteY29" fmla="*/ 301846 h 326563"/>
                <a:gd name="connsiteX30" fmla="*/ 353136 w 1492273"/>
                <a:gd name="connsiteY30" fmla="*/ 307389 h 326563"/>
                <a:gd name="connsiteX31" fmla="*/ 354212 w 1492273"/>
                <a:gd name="connsiteY31" fmla="*/ 313237 h 326563"/>
                <a:gd name="connsiteX32" fmla="*/ 358204 w 1492273"/>
                <a:gd name="connsiteY32" fmla="*/ 317647 h 326563"/>
                <a:gd name="connsiteX33" fmla="*/ 363921 w 1492273"/>
                <a:gd name="connsiteY33" fmla="*/ 319295 h 326563"/>
                <a:gd name="connsiteX34" fmla="*/ 622504 w 1492273"/>
                <a:gd name="connsiteY34" fmla="*/ 319295 h 326563"/>
                <a:gd name="connsiteX35" fmla="*/ 661099 w 1492273"/>
                <a:gd name="connsiteY35" fmla="*/ 289082 h 326563"/>
                <a:gd name="connsiteX36" fmla="*/ 660861 w 1492273"/>
                <a:gd name="connsiteY36" fmla="*/ 272299 h 326563"/>
                <a:gd name="connsiteX37" fmla="*/ 653451 w 1492273"/>
                <a:gd name="connsiteY37" fmla="*/ 257250 h 326563"/>
                <a:gd name="connsiteX38" fmla="*/ 640297 w 1492273"/>
                <a:gd name="connsiteY38" fmla="*/ 246849 h 326563"/>
                <a:gd name="connsiteX39" fmla="*/ 623952 w 1492273"/>
                <a:gd name="connsiteY39" fmla="*/ 243105 h 326563"/>
                <a:gd name="connsiteX40" fmla="*/ 494883 w 1492273"/>
                <a:gd name="connsiteY40" fmla="*/ 243105 h 326563"/>
                <a:gd name="connsiteX41" fmla="*/ 659613 w 1492273"/>
                <a:gd name="connsiteY41" fmla="*/ 24972 h 326563"/>
                <a:gd name="connsiteX42" fmla="*/ 661785 w 1492273"/>
                <a:gd name="connsiteY42" fmla="*/ 19371 h 326563"/>
                <a:gd name="connsiteX43" fmla="*/ 660690 w 1492273"/>
                <a:gd name="connsiteY43" fmla="*/ 13473 h 326563"/>
                <a:gd name="connsiteX44" fmla="*/ 656661 w 1492273"/>
                <a:gd name="connsiteY44" fmla="*/ 9021 h 326563"/>
                <a:gd name="connsiteX45" fmla="*/ 650888 w 1492273"/>
                <a:gd name="connsiteY45" fmla="*/ 7358 h 326563"/>
                <a:gd name="connsiteX46" fmla="*/ 412780 w 1492273"/>
                <a:gd name="connsiteY46" fmla="*/ 7358 h 326563"/>
                <a:gd name="connsiteX47" fmla="*/ 1446105 w 1492273"/>
                <a:gd name="connsiteY47" fmla="*/ 8240 h 326563"/>
                <a:gd name="connsiteX48" fmla="*/ 1424484 w 1492273"/>
                <a:gd name="connsiteY48" fmla="*/ 22127 h 326563"/>
                <a:gd name="connsiteX49" fmla="*/ 1416378 w 1492273"/>
                <a:gd name="connsiteY49" fmla="*/ 46473 h 326563"/>
                <a:gd name="connsiteX50" fmla="*/ 1416378 w 1492273"/>
                <a:gd name="connsiteY50" fmla="*/ 173313 h 326563"/>
                <a:gd name="connsiteX51" fmla="*/ 1210980 w 1492273"/>
                <a:gd name="connsiteY51" fmla="*/ 9758 h 326563"/>
                <a:gd name="connsiteX52" fmla="*/ 1205389 w 1492273"/>
                <a:gd name="connsiteY52" fmla="*/ 7453 h 326563"/>
                <a:gd name="connsiteX53" fmla="*/ 1199426 w 1492273"/>
                <a:gd name="connsiteY53" fmla="*/ 8482 h 326563"/>
                <a:gd name="connsiteX54" fmla="*/ 1194921 w 1492273"/>
                <a:gd name="connsiteY54" fmla="*/ 12520 h 326563"/>
                <a:gd name="connsiteX55" fmla="*/ 1193263 w 1492273"/>
                <a:gd name="connsiteY55" fmla="*/ 18343 h 326563"/>
                <a:gd name="connsiteX56" fmla="*/ 1193263 w 1492273"/>
                <a:gd name="connsiteY56" fmla="*/ 280243 h 326563"/>
                <a:gd name="connsiteX57" fmla="*/ 1201388 w 1492273"/>
                <a:gd name="connsiteY57" fmla="*/ 304589 h 326563"/>
                <a:gd name="connsiteX58" fmla="*/ 1222962 w 1492273"/>
                <a:gd name="connsiteY58" fmla="*/ 318486 h 326563"/>
                <a:gd name="connsiteX59" fmla="*/ 1239803 w 1492273"/>
                <a:gd name="connsiteY59" fmla="*/ 318362 h 326563"/>
                <a:gd name="connsiteX60" fmla="*/ 1254966 w 1492273"/>
                <a:gd name="connsiteY60" fmla="*/ 310961 h 326563"/>
                <a:gd name="connsiteX61" fmla="*/ 1265444 w 1492273"/>
                <a:gd name="connsiteY61" fmla="*/ 297721 h 326563"/>
                <a:gd name="connsiteX62" fmla="*/ 1269159 w 1492273"/>
                <a:gd name="connsiteY62" fmla="*/ 281272 h 326563"/>
                <a:gd name="connsiteX63" fmla="*/ 1269159 w 1492273"/>
                <a:gd name="connsiteY63" fmla="*/ 153323 h 326563"/>
                <a:gd name="connsiteX64" fmla="*/ 1474538 w 1492273"/>
                <a:gd name="connsiteY64" fmla="*/ 316885 h 326563"/>
                <a:gd name="connsiteX65" fmla="*/ 1480148 w 1492273"/>
                <a:gd name="connsiteY65" fmla="*/ 319190 h 326563"/>
                <a:gd name="connsiteX66" fmla="*/ 1486120 w 1492273"/>
                <a:gd name="connsiteY66" fmla="*/ 318162 h 326563"/>
                <a:gd name="connsiteX67" fmla="*/ 1490625 w 1492273"/>
                <a:gd name="connsiteY67" fmla="*/ 314123 h 326563"/>
                <a:gd name="connsiteX68" fmla="*/ 1492273 w 1492273"/>
                <a:gd name="connsiteY68" fmla="*/ 308303 h 326563"/>
                <a:gd name="connsiteX69" fmla="*/ 1492273 w 1492273"/>
                <a:gd name="connsiteY69" fmla="*/ 45444 h 326563"/>
                <a:gd name="connsiteX70" fmla="*/ 1488559 w 1492273"/>
                <a:gd name="connsiteY70" fmla="*/ 28985 h 326563"/>
                <a:gd name="connsiteX71" fmla="*/ 1478081 w 1492273"/>
                <a:gd name="connsiteY71" fmla="*/ 15759 h 326563"/>
                <a:gd name="connsiteX72" fmla="*/ 1462908 w 1492273"/>
                <a:gd name="connsiteY72" fmla="*/ 8354 h 326563"/>
                <a:gd name="connsiteX73" fmla="*/ 1446105 w 1492273"/>
                <a:gd name="connsiteY73" fmla="*/ 8240 h 326563"/>
                <a:gd name="connsiteX74" fmla="*/ 911265 w 1492273"/>
                <a:gd name="connsiteY74" fmla="*/ 76254 h 326563"/>
                <a:gd name="connsiteX75" fmla="*/ 1063066 w 1492273"/>
                <a:gd name="connsiteY75" fmla="*/ 163286 h 326563"/>
                <a:gd name="connsiteX76" fmla="*/ 911265 w 1492273"/>
                <a:gd name="connsiteY76" fmla="*/ 250325 h 326563"/>
                <a:gd name="connsiteX77" fmla="*/ 759483 w 1492273"/>
                <a:gd name="connsiteY77" fmla="*/ 163286 h 326563"/>
                <a:gd name="connsiteX78" fmla="*/ 911265 w 1492273"/>
                <a:gd name="connsiteY78" fmla="*/ 76254 h 326563"/>
                <a:gd name="connsiteX79" fmla="*/ 911265 w 1492273"/>
                <a:gd name="connsiteY79" fmla="*/ 67 h 326563"/>
                <a:gd name="connsiteX80" fmla="*/ 683578 w 1492273"/>
                <a:gd name="connsiteY80" fmla="*/ 163286 h 326563"/>
                <a:gd name="connsiteX81" fmla="*/ 911265 w 1492273"/>
                <a:gd name="connsiteY81" fmla="*/ 326506 h 326563"/>
                <a:gd name="connsiteX82" fmla="*/ 1138961 w 1492273"/>
                <a:gd name="connsiteY82" fmla="*/ 163286 h 326563"/>
                <a:gd name="connsiteX83" fmla="*/ 911265 w 1492273"/>
                <a:gd name="connsiteY83" fmla="*/ 67 h 3265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</a:cxnLst>
              <a:rect l="l" t="t" r="r" b="b"/>
              <a:pathLst>
                <a:path w="1492273" h="326563">
                  <a:moveTo>
                    <a:pt x="180273" y="900"/>
                  </a:moveTo>
                  <a:cubicBezTo>
                    <a:pt x="146739" y="-2638"/>
                    <a:pt x="112948" y="4310"/>
                    <a:pt x="83526" y="20775"/>
                  </a:cubicBezTo>
                  <a:cubicBezTo>
                    <a:pt x="54104" y="37240"/>
                    <a:pt x="30499" y="62424"/>
                    <a:pt x="15954" y="92853"/>
                  </a:cubicBezTo>
                  <a:cubicBezTo>
                    <a:pt x="1417" y="123295"/>
                    <a:pt x="-3344" y="157489"/>
                    <a:pt x="2323" y="190737"/>
                  </a:cubicBezTo>
                  <a:cubicBezTo>
                    <a:pt x="7990" y="223998"/>
                    <a:pt x="23812" y="254669"/>
                    <a:pt x="47618" y="278557"/>
                  </a:cubicBezTo>
                  <a:cubicBezTo>
                    <a:pt x="71412" y="302455"/>
                    <a:pt x="102030" y="318381"/>
                    <a:pt x="135243" y="324153"/>
                  </a:cubicBezTo>
                  <a:cubicBezTo>
                    <a:pt x="168455" y="329925"/>
                    <a:pt x="202644" y="325277"/>
                    <a:pt x="233098" y="310818"/>
                  </a:cubicBezTo>
                  <a:cubicBezTo>
                    <a:pt x="263559" y="296359"/>
                    <a:pt x="288801" y="272814"/>
                    <a:pt x="305341" y="243429"/>
                  </a:cubicBezTo>
                  <a:cubicBezTo>
                    <a:pt x="321894" y="214035"/>
                    <a:pt x="328933" y="180240"/>
                    <a:pt x="325507" y="146675"/>
                  </a:cubicBezTo>
                  <a:cubicBezTo>
                    <a:pt x="321736" y="109375"/>
                    <a:pt x="305234" y="74514"/>
                    <a:pt x="278778" y="47965"/>
                  </a:cubicBezTo>
                  <a:cubicBezTo>
                    <a:pt x="252327" y="21410"/>
                    <a:pt x="217534" y="4786"/>
                    <a:pt x="180273" y="900"/>
                  </a:cubicBezTo>
                  <a:close/>
                  <a:moveTo>
                    <a:pt x="174984" y="249697"/>
                  </a:moveTo>
                  <a:cubicBezTo>
                    <a:pt x="156946" y="252116"/>
                    <a:pt x="138617" y="248820"/>
                    <a:pt x="122555" y="240277"/>
                  </a:cubicBezTo>
                  <a:cubicBezTo>
                    <a:pt x="106488" y="231725"/>
                    <a:pt x="93505" y="218366"/>
                    <a:pt x="85427" y="202047"/>
                  </a:cubicBezTo>
                  <a:cubicBezTo>
                    <a:pt x="77349" y="185733"/>
                    <a:pt x="74579" y="167300"/>
                    <a:pt x="77507" y="149329"/>
                  </a:cubicBezTo>
                  <a:cubicBezTo>
                    <a:pt x="80440" y="131372"/>
                    <a:pt x="88922" y="114773"/>
                    <a:pt x="101766" y="101883"/>
                  </a:cubicBezTo>
                  <a:cubicBezTo>
                    <a:pt x="114610" y="88986"/>
                    <a:pt x="131176" y="80452"/>
                    <a:pt x="149113" y="77461"/>
                  </a:cubicBezTo>
                  <a:cubicBezTo>
                    <a:pt x="167057" y="74470"/>
                    <a:pt x="185493" y="77181"/>
                    <a:pt x="201825" y="85220"/>
                  </a:cubicBezTo>
                  <a:cubicBezTo>
                    <a:pt x="218145" y="93247"/>
                    <a:pt x="231543" y="106194"/>
                    <a:pt x="240132" y="122247"/>
                  </a:cubicBezTo>
                  <a:cubicBezTo>
                    <a:pt x="248725" y="138293"/>
                    <a:pt x="252068" y="156625"/>
                    <a:pt x="249714" y="174684"/>
                  </a:cubicBezTo>
                  <a:cubicBezTo>
                    <a:pt x="247233" y="193670"/>
                    <a:pt x="238569" y="211305"/>
                    <a:pt x="225058" y="224868"/>
                  </a:cubicBezTo>
                  <a:cubicBezTo>
                    <a:pt x="211546" y="238425"/>
                    <a:pt x="193948" y="247154"/>
                    <a:pt x="174984" y="249697"/>
                  </a:cubicBezTo>
                  <a:close/>
                  <a:moveTo>
                    <a:pt x="412780" y="7358"/>
                  </a:moveTo>
                  <a:cubicBezTo>
                    <a:pt x="407126" y="7370"/>
                    <a:pt x="401534" y="8646"/>
                    <a:pt x="396435" y="11091"/>
                  </a:cubicBezTo>
                  <a:cubicBezTo>
                    <a:pt x="391328" y="13536"/>
                    <a:pt x="386833" y="17092"/>
                    <a:pt x="383276" y="21498"/>
                  </a:cubicBezTo>
                  <a:cubicBezTo>
                    <a:pt x="379712" y="25899"/>
                    <a:pt x="377174" y="31042"/>
                    <a:pt x="375859" y="36548"/>
                  </a:cubicBezTo>
                  <a:cubicBezTo>
                    <a:pt x="374537" y="42053"/>
                    <a:pt x="374448" y="47787"/>
                    <a:pt x="375620" y="53325"/>
                  </a:cubicBezTo>
                  <a:cubicBezTo>
                    <a:pt x="379202" y="71282"/>
                    <a:pt x="395956" y="83537"/>
                    <a:pt x="414209" y="83537"/>
                  </a:cubicBezTo>
                  <a:lnTo>
                    <a:pt x="520143" y="83537"/>
                  </a:lnTo>
                  <a:lnTo>
                    <a:pt x="355289" y="301846"/>
                  </a:lnTo>
                  <a:cubicBezTo>
                    <a:pt x="354067" y="303455"/>
                    <a:pt x="353324" y="305379"/>
                    <a:pt x="353136" y="307389"/>
                  </a:cubicBezTo>
                  <a:cubicBezTo>
                    <a:pt x="352940" y="309399"/>
                    <a:pt x="353319" y="311428"/>
                    <a:pt x="354212" y="313237"/>
                  </a:cubicBezTo>
                  <a:cubicBezTo>
                    <a:pt x="355113" y="315047"/>
                    <a:pt x="356491" y="316581"/>
                    <a:pt x="358204" y="317647"/>
                  </a:cubicBezTo>
                  <a:cubicBezTo>
                    <a:pt x="359923" y="318714"/>
                    <a:pt x="361900" y="319286"/>
                    <a:pt x="363921" y="319295"/>
                  </a:cubicBezTo>
                  <a:lnTo>
                    <a:pt x="622504" y="319295"/>
                  </a:lnTo>
                  <a:cubicBezTo>
                    <a:pt x="640744" y="319295"/>
                    <a:pt x="657518" y="307037"/>
                    <a:pt x="661099" y="289082"/>
                  </a:cubicBezTo>
                  <a:cubicBezTo>
                    <a:pt x="662271" y="283539"/>
                    <a:pt x="662185" y="277805"/>
                    <a:pt x="660861" y="272299"/>
                  </a:cubicBezTo>
                  <a:cubicBezTo>
                    <a:pt x="659537" y="266794"/>
                    <a:pt x="657004" y="261650"/>
                    <a:pt x="653451" y="257250"/>
                  </a:cubicBezTo>
                  <a:cubicBezTo>
                    <a:pt x="649898" y="252849"/>
                    <a:pt x="645402" y="249297"/>
                    <a:pt x="640297" y="246849"/>
                  </a:cubicBezTo>
                  <a:cubicBezTo>
                    <a:pt x="635191" y="244391"/>
                    <a:pt x="629610" y="243115"/>
                    <a:pt x="623952" y="243105"/>
                  </a:cubicBezTo>
                  <a:lnTo>
                    <a:pt x="494883" y="243105"/>
                  </a:lnTo>
                  <a:lnTo>
                    <a:pt x="659613" y="24972"/>
                  </a:lnTo>
                  <a:cubicBezTo>
                    <a:pt x="660842" y="23340"/>
                    <a:pt x="661595" y="21403"/>
                    <a:pt x="661785" y="19371"/>
                  </a:cubicBezTo>
                  <a:cubicBezTo>
                    <a:pt x="661976" y="17340"/>
                    <a:pt x="661604" y="15295"/>
                    <a:pt x="660690" y="13473"/>
                  </a:cubicBezTo>
                  <a:cubicBezTo>
                    <a:pt x="659785" y="11637"/>
                    <a:pt x="658385" y="10101"/>
                    <a:pt x="656661" y="9021"/>
                  </a:cubicBezTo>
                  <a:cubicBezTo>
                    <a:pt x="654937" y="7942"/>
                    <a:pt x="652927" y="7363"/>
                    <a:pt x="650888" y="7358"/>
                  </a:cubicBezTo>
                  <a:lnTo>
                    <a:pt x="412780" y="7358"/>
                  </a:lnTo>
                  <a:close/>
                  <a:moveTo>
                    <a:pt x="1446105" y="8240"/>
                  </a:moveTo>
                  <a:cubicBezTo>
                    <a:pt x="1437514" y="10272"/>
                    <a:pt x="1429894" y="15174"/>
                    <a:pt x="1424484" y="22127"/>
                  </a:cubicBezTo>
                  <a:cubicBezTo>
                    <a:pt x="1419112" y="29080"/>
                    <a:pt x="1416254" y="37666"/>
                    <a:pt x="1416378" y="46473"/>
                  </a:cubicBezTo>
                  <a:lnTo>
                    <a:pt x="1416378" y="173313"/>
                  </a:lnTo>
                  <a:lnTo>
                    <a:pt x="1210980" y="9758"/>
                  </a:lnTo>
                  <a:cubicBezTo>
                    <a:pt x="1209361" y="8475"/>
                    <a:pt x="1207427" y="7675"/>
                    <a:pt x="1205389" y="7453"/>
                  </a:cubicBezTo>
                  <a:cubicBezTo>
                    <a:pt x="1203341" y="7230"/>
                    <a:pt x="1201274" y="7580"/>
                    <a:pt x="1199426" y="8482"/>
                  </a:cubicBezTo>
                  <a:cubicBezTo>
                    <a:pt x="1197569" y="9377"/>
                    <a:pt x="1196006" y="10773"/>
                    <a:pt x="1194921" y="12520"/>
                  </a:cubicBezTo>
                  <a:cubicBezTo>
                    <a:pt x="1193835" y="14273"/>
                    <a:pt x="1193254" y="16285"/>
                    <a:pt x="1193263" y="18343"/>
                  </a:cubicBezTo>
                  <a:lnTo>
                    <a:pt x="1193263" y="280243"/>
                  </a:lnTo>
                  <a:cubicBezTo>
                    <a:pt x="1193120" y="289054"/>
                    <a:pt x="1195987" y="297645"/>
                    <a:pt x="1201388" y="304589"/>
                  </a:cubicBezTo>
                  <a:cubicBezTo>
                    <a:pt x="1206789" y="311542"/>
                    <a:pt x="1214409" y="316447"/>
                    <a:pt x="1222962" y="318486"/>
                  </a:cubicBezTo>
                  <a:cubicBezTo>
                    <a:pt x="1228525" y="319714"/>
                    <a:pt x="1234288" y="319667"/>
                    <a:pt x="1239803" y="318362"/>
                  </a:cubicBezTo>
                  <a:cubicBezTo>
                    <a:pt x="1245346" y="317066"/>
                    <a:pt x="1250518" y="314533"/>
                    <a:pt x="1254966" y="310961"/>
                  </a:cubicBezTo>
                  <a:cubicBezTo>
                    <a:pt x="1259415" y="307389"/>
                    <a:pt x="1263006" y="302874"/>
                    <a:pt x="1265444" y="297721"/>
                  </a:cubicBezTo>
                  <a:cubicBezTo>
                    <a:pt x="1267882" y="292587"/>
                    <a:pt x="1269159" y="286958"/>
                    <a:pt x="1269159" y="281272"/>
                  </a:cubicBezTo>
                  <a:lnTo>
                    <a:pt x="1269159" y="153323"/>
                  </a:lnTo>
                  <a:lnTo>
                    <a:pt x="1474538" y="316885"/>
                  </a:lnTo>
                  <a:cubicBezTo>
                    <a:pt x="1476195" y="318171"/>
                    <a:pt x="1478138" y="318962"/>
                    <a:pt x="1480148" y="319190"/>
                  </a:cubicBezTo>
                  <a:cubicBezTo>
                    <a:pt x="1482224" y="319419"/>
                    <a:pt x="1484291" y="319057"/>
                    <a:pt x="1486120" y="318162"/>
                  </a:cubicBezTo>
                  <a:cubicBezTo>
                    <a:pt x="1487949" y="317266"/>
                    <a:pt x="1489530" y="315866"/>
                    <a:pt x="1490625" y="314123"/>
                  </a:cubicBezTo>
                  <a:cubicBezTo>
                    <a:pt x="1491721" y="312380"/>
                    <a:pt x="1492273" y="310361"/>
                    <a:pt x="1492273" y="308303"/>
                  </a:cubicBezTo>
                  <a:lnTo>
                    <a:pt x="1492273" y="45444"/>
                  </a:lnTo>
                  <a:cubicBezTo>
                    <a:pt x="1492273" y="39748"/>
                    <a:pt x="1490997" y="34123"/>
                    <a:pt x="1488559" y="28985"/>
                  </a:cubicBezTo>
                  <a:cubicBezTo>
                    <a:pt x="1486120" y="23848"/>
                    <a:pt x="1482529" y="19327"/>
                    <a:pt x="1478081" y="15759"/>
                  </a:cubicBezTo>
                  <a:cubicBezTo>
                    <a:pt x="1473633" y="12190"/>
                    <a:pt x="1468461" y="9656"/>
                    <a:pt x="1462908" y="8354"/>
                  </a:cubicBezTo>
                  <a:cubicBezTo>
                    <a:pt x="1457364" y="7059"/>
                    <a:pt x="1451649" y="7015"/>
                    <a:pt x="1446105" y="8240"/>
                  </a:cubicBezTo>
                  <a:close/>
                  <a:moveTo>
                    <a:pt x="911265" y="76254"/>
                  </a:moveTo>
                  <a:cubicBezTo>
                    <a:pt x="998152" y="76254"/>
                    <a:pt x="1063066" y="122196"/>
                    <a:pt x="1063066" y="163286"/>
                  </a:cubicBezTo>
                  <a:cubicBezTo>
                    <a:pt x="1063066" y="204383"/>
                    <a:pt x="998152" y="250325"/>
                    <a:pt x="911265" y="250325"/>
                  </a:cubicBezTo>
                  <a:cubicBezTo>
                    <a:pt x="824397" y="250325"/>
                    <a:pt x="759483" y="204383"/>
                    <a:pt x="759483" y="163286"/>
                  </a:cubicBezTo>
                  <a:cubicBezTo>
                    <a:pt x="759483" y="122196"/>
                    <a:pt x="824397" y="76254"/>
                    <a:pt x="911265" y="76254"/>
                  </a:cubicBezTo>
                  <a:close/>
                  <a:moveTo>
                    <a:pt x="911265" y="67"/>
                  </a:moveTo>
                  <a:cubicBezTo>
                    <a:pt x="785515" y="67"/>
                    <a:pt x="683578" y="73142"/>
                    <a:pt x="683578" y="163286"/>
                  </a:cubicBezTo>
                  <a:cubicBezTo>
                    <a:pt x="683578" y="253421"/>
                    <a:pt x="785515" y="326506"/>
                    <a:pt x="911265" y="326506"/>
                  </a:cubicBezTo>
                  <a:cubicBezTo>
                    <a:pt x="1037024" y="326506"/>
                    <a:pt x="1138961" y="253421"/>
                    <a:pt x="1138961" y="163286"/>
                  </a:cubicBezTo>
                  <a:cubicBezTo>
                    <a:pt x="1138961" y="73142"/>
                    <a:pt x="1037024" y="67"/>
                    <a:pt x="911265" y="67"/>
                  </a:cubicBezTo>
                  <a:close/>
                </a:path>
              </a:pathLst>
            </a:custGeom>
            <a:grpFill/>
            <a:ln w="76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E111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DC9CACDD-0285-C435-3DC3-89A0645DB0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5249F5-0093-48B0-B996-C4E44A87EAF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96A3AE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96A3AE">
                  <a:lumMod val="60000"/>
                  <a:lumOff val="4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3C28AAF-A7A7-B415-C71C-EBB353729089}"/>
              </a:ext>
            </a:extLst>
          </p:cNvPr>
          <p:cNvSpPr txBox="1"/>
          <p:nvPr/>
        </p:nvSpPr>
        <p:spPr>
          <a:xfrm>
            <a:off x="4276725" y="1520824"/>
            <a:ext cx="6386439" cy="36798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4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/B </a:t>
            </a:r>
            <a:r>
              <a:rPr kumimoji="0" lang="ru-RU" sz="4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тест </a:t>
            </a:r>
            <a:r>
              <a:rPr kumimoji="0" lang="ru-RU" sz="4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рандомизированный контролируемый эксперимент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F2E11CF6-55A4-EB47-B762-16C37CD5843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2370" y="1254780"/>
            <a:ext cx="4774910" cy="47749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414680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76459F-26E7-FA13-90A1-D4D3EF8A5B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ро </a:t>
            </a:r>
            <a:r>
              <a:rPr lang="en-US" dirty="0"/>
              <a:t>A/B </a:t>
            </a:r>
            <a:r>
              <a:rPr lang="ru-RU" dirty="0"/>
              <a:t>тесты</a:t>
            </a:r>
            <a:endParaRPr lang="en-RU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7387AB-2967-9CDD-D97D-44ED927D48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5249F5-0093-48B0-B996-C4E44A87EAFB}" type="slidenum">
              <a:rPr lang="ru-RU" smtClean="0"/>
              <a:pPr/>
              <a:t>6</a:t>
            </a:fld>
            <a:endParaRPr lang="ru-RU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895F187-C231-5056-BE61-8EDFA6A7612F}"/>
              </a:ext>
            </a:extLst>
          </p:cNvPr>
          <p:cNvSpPr txBox="1"/>
          <p:nvPr/>
        </p:nvSpPr>
        <p:spPr>
          <a:xfrm>
            <a:off x="639764" y="1270009"/>
            <a:ext cx="10434636" cy="35394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800" b="1" dirty="0">
                <a:solidFill>
                  <a:schemeClr val="accent2"/>
                </a:solidFill>
              </a:rPr>
              <a:t>Рандомизированный</a:t>
            </a:r>
            <a:endParaRPr lang="ru-RU" sz="2800" dirty="0">
              <a:solidFill>
                <a:schemeClr val="accent2"/>
              </a:solidFill>
            </a:endParaRPr>
          </a:p>
          <a:p>
            <a:r>
              <a:rPr lang="ru-RU" sz="2000" dirty="0">
                <a:solidFill>
                  <a:srgbClr val="FFFFFF"/>
                </a:solidFill>
                <a:effectLst/>
              </a:rPr>
              <a:t>Каждый участник попадает в группу (вариант) А или В случайным образом, то есть вероятность попасть в любую из групп для каждого посетителя одинаковая</a:t>
            </a:r>
            <a:br>
              <a:rPr lang="en-US" sz="2000" dirty="0">
                <a:solidFill>
                  <a:srgbClr val="FFFFFF"/>
                </a:solidFill>
                <a:effectLst/>
              </a:rPr>
            </a:br>
            <a:endParaRPr lang="ru-RU" sz="2000" dirty="0">
              <a:solidFill>
                <a:srgbClr val="FFFFFF"/>
              </a:solidFill>
              <a:effectLst/>
            </a:endParaRPr>
          </a:p>
          <a:p>
            <a:r>
              <a:rPr lang="ru-RU" sz="2800" b="1" dirty="0">
                <a:solidFill>
                  <a:schemeClr val="accent2"/>
                </a:solidFill>
                <a:effectLst/>
              </a:rPr>
              <a:t>Контролируемый</a:t>
            </a:r>
            <a:endParaRPr lang="ru-RU" sz="2800" dirty="0">
              <a:solidFill>
                <a:schemeClr val="accent2"/>
              </a:solidFill>
            </a:endParaRPr>
          </a:p>
          <a:p>
            <a:r>
              <a:rPr lang="ru-RU" sz="2000" dirty="0">
                <a:solidFill>
                  <a:srgbClr val="FFFFFF"/>
                </a:solidFill>
              </a:rPr>
              <a:t>М</a:t>
            </a:r>
            <a:r>
              <a:rPr lang="ru-RU" sz="2000" dirty="0">
                <a:solidFill>
                  <a:srgbClr val="FFFFFF"/>
                </a:solidFill>
                <a:effectLst/>
              </a:rPr>
              <a:t>ы полностью определяем то, что увидят участники из группы А и группы В во время тестирования.</a:t>
            </a:r>
          </a:p>
          <a:p>
            <a:endParaRPr lang="ru-RU" sz="2000" dirty="0">
              <a:solidFill>
                <a:srgbClr val="FFFFFF"/>
              </a:solidFill>
            </a:endParaRPr>
          </a:p>
          <a:p>
            <a:r>
              <a:rPr lang="ru-RU" sz="2800" b="1" dirty="0">
                <a:solidFill>
                  <a:schemeClr val="accent2"/>
                </a:solidFill>
                <a:effectLst/>
              </a:rPr>
              <a:t>Случайная выборка</a:t>
            </a:r>
            <a:endParaRPr lang="ru-RU" sz="2800" dirty="0">
              <a:solidFill>
                <a:schemeClr val="accent2"/>
              </a:solidFill>
            </a:endParaRPr>
          </a:p>
          <a:p>
            <a:r>
              <a:rPr lang="ru-RU" sz="2000" dirty="0">
                <a:solidFill>
                  <a:srgbClr val="FFFFFF"/>
                </a:solidFill>
              </a:rPr>
              <a:t>Вероятность попасть в тот или иной вариант не зависит от свойств пользователя </a:t>
            </a:r>
            <a:endParaRPr lang="ru-RU" sz="2000" dirty="0">
              <a:solidFill>
                <a:srgbClr val="FFFFFF"/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306767665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22A44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6CBB5054-0258-409E-7AF3-E8F85448795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F520FD2D-3137-2816-5E21-2DE7FABFE9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5249F5-0093-48B0-B996-C4E44A87EAFB}" type="slidenum">
              <a:rPr lang="ru-RU" smtClean="0"/>
              <a:pPr/>
              <a:t>7</a:t>
            </a:fld>
            <a:endParaRPr lang="ru-RU"/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9B3AEBAD-F08A-CD32-967E-25564608EB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9764" y="411163"/>
            <a:ext cx="10910888" cy="684465"/>
          </a:xfrm>
        </p:spPr>
        <p:txBody>
          <a:bodyPr/>
          <a:lstStyle/>
          <a:p>
            <a:r>
              <a:rPr lang="ru-RU" sz="4000" spc="0" dirty="0">
                <a:solidFill>
                  <a:srgbClr val="FFFFFF"/>
                </a:solidFill>
                <a:latin typeface="Arial"/>
                <a:ea typeface="+mn-ea"/>
                <a:cs typeface="+mn-cs"/>
              </a:rPr>
              <a:t>Сплитование</a:t>
            </a:r>
            <a:endParaRPr lang="ru-RU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B645A713-AB5A-C951-7129-75D41A7131E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09008" y="2201545"/>
            <a:ext cx="7772400" cy="1780945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39D8F0B3-94F8-2304-2615-955828A0F36E}"/>
              </a:ext>
            </a:extLst>
          </p:cNvPr>
          <p:cNvSpPr txBox="1"/>
          <p:nvPr/>
        </p:nvSpPr>
        <p:spPr>
          <a:xfrm>
            <a:off x="4664123" y="1141782"/>
            <a:ext cx="271931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800" dirty="0">
                <a:solidFill>
                  <a:srgbClr val="F3F7FA"/>
                </a:solidFill>
              </a:rPr>
              <a:t>Слой </a:t>
            </a:r>
            <a:r>
              <a:rPr lang="en-US" sz="1800" dirty="0">
                <a:solidFill>
                  <a:srgbClr val="F3F7FA"/>
                </a:solidFill>
              </a:rPr>
              <a:t>A/B </a:t>
            </a:r>
            <a:r>
              <a:rPr lang="ru-RU" sz="1800" dirty="0">
                <a:solidFill>
                  <a:srgbClr val="F3F7FA"/>
                </a:solidFill>
              </a:rPr>
              <a:t>эксперимента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15D069AC-059C-79FD-2630-3A42EB82329A}"/>
              </a:ext>
            </a:extLst>
          </p:cNvPr>
          <p:cNvSpPr txBox="1"/>
          <p:nvPr/>
        </p:nvSpPr>
        <p:spPr>
          <a:xfrm>
            <a:off x="2949623" y="1862990"/>
            <a:ext cx="307415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dirty="0">
                <a:solidFill>
                  <a:schemeClr val="bg1"/>
                </a:solidFill>
              </a:rPr>
              <a:t>Контрольная группа - 10%</a:t>
            </a:r>
            <a:endParaRPr lang="en-RU" sz="1600" dirty="0">
              <a:solidFill>
                <a:schemeClr val="bg1"/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E257F6D3-91CB-419C-C887-51DD14FEABE8}"/>
              </a:ext>
            </a:extLst>
          </p:cNvPr>
          <p:cNvSpPr txBox="1"/>
          <p:nvPr/>
        </p:nvSpPr>
        <p:spPr>
          <a:xfrm>
            <a:off x="6527671" y="1832213"/>
            <a:ext cx="294984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dirty="0">
                <a:solidFill>
                  <a:schemeClr val="bg1"/>
                </a:solidFill>
              </a:rPr>
              <a:t>Тестовая группа - 90%</a:t>
            </a:r>
            <a:endParaRPr lang="en-RU" dirty="0">
              <a:solidFill>
                <a:schemeClr val="bg1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CA37A762-A2C0-821D-FDBD-2AC7BFD4E56B}"/>
              </a:ext>
            </a:extLst>
          </p:cNvPr>
          <p:cNvSpPr txBox="1"/>
          <p:nvPr/>
        </p:nvSpPr>
        <p:spPr>
          <a:xfrm>
            <a:off x="5008505" y="4167156"/>
            <a:ext cx="271931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800" dirty="0">
                <a:solidFill>
                  <a:srgbClr val="F3F7FA"/>
                </a:solidFill>
              </a:rPr>
              <a:t>Пользователь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D269FEF0-78AA-AB1E-70C6-F15B9BE6D0FD}"/>
              </a:ext>
            </a:extLst>
          </p:cNvPr>
          <p:cNvSpPr txBox="1"/>
          <p:nvPr/>
        </p:nvSpPr>
        <p:spPr>
          <a:xfrm>
            <a:off x="6869794" y="5337447"/>
            <a:ext cx="424197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b="0" i="0" u="none" strike="noStrike" dirty="0">
                <a:solidFill>
                  <a:schemeClr val="bg1"/>
                </a:solidFill>
                <a:effectLst/>
              </a:rPr>
              <a:t>A/</a:t>
            </a:r>
            <a:r>
              <a:rPr lang="en-GB" b="0" i="0" u="none" strike="noStrike" dirty="0" err="1">
                <a:solidFill>
                  <a:schemeClr val="bg1"/>
                </a:solidFill>
                <a:effectLst/>
              </a:rPr>
              <a:t>BGroup</a:t>
            </a:r>
            <a:r>
              <a:rPr lang="en-GB" b="0" i="0" u="none" strike="noStrike" dirty="0">
                <a:solidFill>
                  <a:schemeClr val="bg1"/>
                </a:solidFill>
                <a:effectLst/>
              </a:rPr>
              <a:t> = hash(</a:t>
            </a:r>
            <a:r>
              <a:rPr lang="en-GB" b="0" i="0" u="none" strike="noStrike" dirty="0" err="1">
                <a:solidFill>
                  <a:schemeClr val="bg1"/>
                </a:solidFill>
                <a:effectLst/>
              </a:rPr>
              <a:t>userID</a:t>
            </a:r>
            <a:r>
              <a:rPr lang="en-GB" b="0" i="0" u="none" strike="noStrike" dirty="0">
                <a:solidFill>
                  <a:schemeClr val="bg1"/>
                </a:solidFill>
                <a:effectLst/>
              </a:rPr>
              <a:t> + salt) %100</a:t>
            </a:r>
            <a:endParaRPr lang="en-RU" dirty="0">
              <a:solidFill>
                <a:schemeClr val="bg1"/>
              </a:solidFill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699BB47D-A03A-C095-6829-2A5E0E56CF5F}"/>
              </a:ext>
            </a:extLst>
          </p:cNvPr>
          <p:cNvSpPr txBox="1"/>
          <p:nvPr/>
        </p:nvSpPr>
        <p:spPr>
          <a:xfrm>
            <a:off x="2541449" y="5337447"/>
            <a:ext cx="246705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u</a:t>
            </a:r>
            <a:r>
              <a:rPr lang="en-GB" dirty="0" err="1">
                <a:solidFill>
                  <a:schemeClr val="bg1"/>
                </a:solidFill>
              </a:rPr>
              <a:t>ser_id</a:t>
            </a:r>
            <a:r>
              <a:rPr lang="en-GB" dirty="0">
                <a:solidFill>
                  <a:schemeClr val="bg1"/>
                </a:solidFill>
              </a:rPr>
              <a:t> = 103432459</a:t>
            </a:r>
            <a:endParaRPr lang="en-RU" dirty="0">
              <a:solidFill>
                <a:schemeClr val="bg1"/>
              </a:solidFill>
            </a:endParaRPr>
          </a:p>
        </p:txBody>
      </p:sp>
      <p:sp>
        <p:nvSpPr>
          <p:cNvPr id="38" name="Прямоугольник: скругленные углы 19">
            <a:extLst>
              <a:ext uri="{FF2B5EF4-FFF2-40B4-BE49-F238E27FC236}">
                <a16:creationId xmlns:a16="http://schemas.microsoft.com/office/drawing/2014/main" id="{C342C6C3-B8A3-BD84-67EA-05F74EF9B68D}"/>
              </a:ext>
            </a:extLst>
          </p:cNvPr>
          <p:cNvSpPr/>
          <p:nvPr/>
        </p:nvSpPr>
        <p:spPr>
          <a:xfrm>
            <a:off x="7727821" y="4536488"/>
            <a:ext cx="1874981" cy="684466"/>
          </a:xfrm>
          <a:prstGeom prst="roundRect">
            <a:avLst>
              <a:gd name="adj" fmla="val 14757"/>
            </a:avLst>
          </a:prstGeom>
          <a:solidFill>
            <a:srgbClr val="005A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0" rIns="0" bIns="0" rtlCol="0" anchor="ctr"/>
          <a:lstStyle/>
          <a:p>
            <a:pPr algn="ctr"/>
            <a:r>
              <a:rPr lang="en-US" dirty="0">
                <a:solidFill>
                  <a:srgbClr val="FFFFFF"/>
                </a:solidFill>
              </a:rPr>
              <a:t>A/B-test-</a:t>
            </a:r>
            <a:r>
              <a:rPr lang="en-US" dirty="0" err="1">
                <a:solidFill>
                  <a:srgbClr val="FFFFFF"/>
                </a:solidFill>
              </a:rPr>
              <a:t>api</a:t>
            </a:r>
            <a:endParaRPr lang="ru-RU" sz="1600" dirty="0">
              <a:solidFill>
                <a:srgbClr val="FFFFFF"/>
              </a:solidFill>
            </a:endParaRPr>
          </a:p>
        </p:txBody>
      </p: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528363BA-D24E-2B70-7773-EBEF73590FFD}"/>
              </a:ext>
            </a:extLst>
          </p:cNvPr>
          <p:cNvCxnSpPr>
            <a:cxnSpLocks/>
            <a:stCxn id="37" idx="3"/>
            <a:endCxn id="35" idx="1"/>
          </p:cNvCxnSpPr>
          <p:nvPr/>
        </p:nvCxnSpPr>
        <p:spPr>
          <a:xfrm>
            <a:off x="5008505" y="5522113"/>
            <a:ext cx="1861289" cy="0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Elbow Connector 45">
            <a:extLst>
              <a:ext uri="{FF2B5EF4-FFF2-40B4-BE49-F238E27FC236}">
                <a16:creationId xmlns:a16="http://schemas.microsoft.com/office/drawing/2014/main" id="{86F6DEEA-78B2-9021-25EB-9A57C94B9D24}"/>
              </a:ext>
            </a:extLst>
          </p:cNvPr>
          <p:cNvCxnSpPr>
            <a:cxnSpLocks/>
            <a:stCxn id="38" idx="0"/>
          </p:cNvCxnSpPr>
          <p:nvPr/>
        </p:nvCxnSpPr>
        <p:spPr>
          <a:xfrm rot="16200000" flipV="1">
            <a:off x="7609933" y="3481108"/>
            <a:ext cx="1107488" cy="1003271"/>
          </a:xfrm>
          <a:prstGeom prst="bentConnector3">
            <a:avLst>
              <a:gd name="adj1" fmla="val 50000"/>
            </a:avLst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534056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22A4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8">
            <a:extLst>
              <a:ext uri="{FF2B5EF4-FFF2-40B4-BE49-F238E27FC236}">
                <a16:creationId xmlns:a16="http://schemas.microsoft.com/office/drawing/2014/main" id="{A9F9E04E-0C29-E683-39DC-FD23EA87C650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-230" t="5270" r="28708" b="23711"/>
          <a:stretch/>
        </p:blipFill>
        <p:spPr>
          <a:xfrm>
            <a:off x="3078779" y="1653542"/>
            <a:ext cx="2108200" cy="4533900"/>
          </a:xfrm>
          <a:custGeom>
            <a:avLst/>
            <a:gdLst>
              <a:gd name="connsiteX0" fmla="*/ 262471 w 2108200"/>
              <a:gd name="connsiteY0" fmla="*/ 0 h 4533900"/>
              <a:gd name="connsiteX1" fmla="*/ 1845729 w 2108200"/>
              <a:gd name="connsiteY1" fmla="*/ 0 h 4533900"/>
              <a:gd name="connsiteX2" fmla="*/ 2108200 w 2108200"/>
              <a:gd name="connsiteY2" fmla="*/ 262471 h 4533900"/>
              <a:gd name="connsiteX3" fmla="*/ 2108200 w 2108200"/>
              <a:gd name="connsiteY3" fmla="*/ 4271429 h 4533900"/>
              <a:gd name="connsiteX4" fmla="*/ 1845729 w 2108200"/>
              <a:gd name="connsiteY4" fmla="*/ 4533900 h 4533900"/>
              <a:gd name="connsiteX5" fmla="*/ 262471 w 2108200"/>
              <a:gd name="connsiteY5" fmla="*/ 4533900 h 4533900"/>
              <a:gd name="connsiteX6" fmla="*/ 0 w 2108200"/>
              <a:gd name="connsiteY6" fmla="*/ 4271429 h 4533900"/>
              <a:gd name="connsiteX7" fmla="*/ 0 w 2108200"/>
              <a:gd name="connsiteY7" fmla="*/ 262471 h 4533900"/>
              <a:gd name="connsiteX8" fmla="*/ 262471 w 2108200"/>
              <a:gd name="connsiteY8" fmla="*/ 0 h 4533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08200" h="4533900">
                <a:moveTo>
                  <a:pt x="262471" y="0"/>
                </a:moveTo>
                <a:lnTo>
                  <a:pt x="1845729" y="0"/>
                </a:lnTo>
                <a:cubicBezTo>
                  <a:pt x="1990688" y="0"/>
                  <a:pt x="2108200" y="117512"/>
                  <a:pt x="2108200" y="262471"/>
                </a:cubicBezTo>
                <a:lnTo>
                  <a:pt x="2108200" y="4271429"/>
                </a:lnTo>
                <a:cubicBezTo>
                  <a:pt x="2108200" y="4416388"/>
                  <a:pt x="1990688" y="4533900"/>
                  <a:pt x="1845729" y="4533900"/>
                </a:cubicBezTo>
                <a:lnTo>
                  <a:pt x="262471" y="4533900"/>
                </a:lnTo>
                <a:cubicBezTo>
                  <a:pt x="117512" y="4533900"/>
                  <a:pt x="0" y="4416388"/>
                  <a:pt x="0" y="4271429"/>
                </a:cubicBezTo>
                <a:lnTo>
                  <a:pt x="0" y="262471"/>
                </a:lnTo>
                <a:cubicBezTo>
                  <a:pt x="0" y="117512"/>
                  <a:pt x="117512" y="0"/>
                  <a:pt x="262471" y="0"/>
                </a:cubicBezTo>
                <a:close/>
              </a:path>
            </a:pathLst>
          </a:custGeom>
        </p:spPr>
      </p:pic>
      <p:grpSp>
        <p:nvGrpSpPr>
          <p:cNvPr id="10" name="Группа 9">
            <a:extLst>
              <a:ext uri="{FF2B5EF4-FFF2-40B4-BE49-F238E27FC236}">
                <a16:creationId xmlns:a16="http://schemas.microsoft.com/office/drawing/2014/main" id="{68F16BDD-1C04-9E2E-68BC-F32531E234D7}"/>
              </a:ext>
            </a:extLst>
          </p:cNvPr>
          <p:cNvGrpSpPr/>
          <p:nvPr/>
        </p:nvGrpSpPr>
        <p:grpSpPr>
          <a:xfrm>
            <a:off x="2975230" y="1562716"/>
            <a:ext cx="2353305" cy="4715552"/>
            <a:chOff x="8522479" y="1628583"/>
            <a:chExt cx="2260989" cy="4530570"/>
          </a:xfrm>
        </p:grpSpPr>
        <p:sp>
          <p:nvSpPr>
            <p:cNvPr id="11" name="Прямоугольник: скругленные углы 10">
              <a:extLst>
                <a:ext uri="{FF2B5EF4-FFF2-40B4-BE49-F238E27FC236}">
                  <a16:creationId xmlns:a16="http://schemas.microsoft.com/office/drawing/2014/main" id="{85AC4883-806B-A5F9-ED23-709067A1633D}"/>
                </a:ext>
              </a:extLst>
            </p:cNvPr>
            <p:cNvSpPr/>
            <p:nvPr/>
          </p:nvSpPr>
          <p:spPr>
            <a:xfrm>
              <a:off x="8522479" y="2338243"/>
              <a:ext cx="77007" cy="633557"/>
            </a:xfrm>
            <a:prstGeom prst="round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Прямоугольник: скругленные углы 11">
              <a:extLst>
                <a:ext uri="{FF2B5EF4-FFF2-40B4-BE49-F238E27FC236}">
                  <a16:creationId xmlns:a16="http://schemas.microsoft.com/office/drawing/2014/main" id="{C0FFBB55-9935-1974-47A2-1CCFF2E1A6D0}"/>
                </a:ext>
              </a:extLst>
            </p:cNvPr>
            <p:cNvSpPr/>
            <p:nvPr/>
          </p:nvSpPr>
          <p:spPr>
            <a:xfrm>
              <a:off x="10706461" y="2338243"/>
              <a:ext cx="77007" cy="633557"/>
            </a:xfrm>
            <a:prstGeom prst="round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Полилиния: фигура 12">
              <a:extLst>
                <a:ext uri="{FF2B5EF4-FFF2-40B4-BE49-F238E27FC236}">
                  <a16:creationId xmlns:a16="http://schemas.microsoft.com/office/drawing/2014/main" id="{184E1018-3EA8-D7C1-B049-6358CA84DF53}"/>
                </a:ext>
              </a:extLst>
            </p:cNvPr>
            <p:cNvSpPr/>
            <p:nvPr/>
          </p:nvSpPr>
          <p:spPr>
            <a:xfrm>
              <a:off x="8540880" y="1628583"/>
              <a:ext cx="2219960" cy="4530570"/>
            </a:xfrm>
            <a:custGeom>
              <a:avLst/>
              <a:gdLst>
                <a:gd name="connsiteX0" fmla="*/ 345681 w 2219960"/>
                <a:gd name="connsiteY0" fmla="*/ 104650 h 4530570"/>
                <a:gd name="connsiteX1" fmla="*/ 111364 w 2219960"/>
                <a:gd name="connsiteY1" fmla="*/ 338967 h 4530570"/>
                <a:gd name="connsiteX2" fmla="*/ 111364 w 2219960"/>
                <a:gd name="connsiteY2" fmla="*/ 4198493 h 4530570"/>
                <a:gd name="connsiteX3" fmla="*/ 345681 w 2219960"/>
                <a:gd name="connsiteY3" fmla="*/ 4432810 h 4530570"/>
                <a:gd name="connsiteX4" fmla="*/ 1873787 w 2219960"/>
                <a:gd name="connsiteY4" fmla="*/ 4432810 h 4530570"/>
                <a:gd name="connsiteX5" fmla="*/ 2108104 w 2219960"/>
                <a:gd name="connsiteY5" fmla="*/ 4198493 h 4530570"/>
                <a:gd name="connsiteX6" fmla="*/ 2108104 w 2219960"/>
                <a:gd name="connsiteY6" fmla="*/ 338967 h 4530570"/>
                <a:gd name="connsiteX7" fmla="*/ 1873787 w 2219960"/>
                <a:gd name="connsiteY7" fmla="*/ 104650 h 4530570"/>
                <a:gd name="connsiteX8" fmla="*/ 339587 w 2219960"/>
                <a:gd name="connsiteY8" fmla="*/ 0 h 4530570"/>
                <a:gd name="connsiteX9" fmla="*/ 1880373 w 2219960"/>
                <a:gd name="connsiteY9" fmla="*/ 0 h 4530570"/>
                <a:gd name="connsiteX10" fmla="*/ 2219960 w 2219960"/>
                <a:gd name="connsiteY10" fmla="*/ 339587 h 4530570"/>
                <a:gd name="connsiteX11" fmla="*/ 2219960 w 2219960"/>
                <a:gd name="connsiteY11" fmla="*/ 4190983 h 4530570"/>
                <a:gd name="connsiteX12" fmla="*/ 1880373 w 2219960"/>
                <a:gd name="connsiteY12" fmla="*/ 4530570 h 4530570"/>
                <a:gd name="connsiteX13" fmla="*/ 339587 w 2219960"/>
                <a:gd name="connsiteY13" fmla="*/ 4530570 h 4530570"/>
                <a:gd name="connsiteX14" fmla="*/ 0 w 2219960"/>
                <a:gd name="connsiteY14" fmla="*/ 4190983 h 4530570"/>
                <a:gd name="connsiteX15" fmla="*/ 0 w 2219960"/>
                <a:gd name="connsiteY15" fmla="*/ 339587 h 4530570"/>
                <a:gd name="connsiteX16" fmla="*/ 339587 w 2219960"/>
                <a:gd name="connsiteY16" fmla="*/ 0 h 4530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219960" h="4530570">
                  <a:moveTo>
                    <a:pt x="345681" y="104650"/>
                  </a:moveTo>
                  <a:cubicBezTo>
                    <a:pt x="216271" y="104650"/>
                    <a:pt x="111364" y="209557"/>
                    <a:pt x="111364" y="338967"/>
                  </a:cubicBezTo>
                  <a:lnTo>
                    <a:pt x="111364" y="4198493"/>
                  </a:lnTo>
                  <a:cubicBezTo>
                    <a:pt x="111364" y="4327903"/>
                    <a:pt x="216271" y="4432810"/>
                    <a:pt x="345681" y="4432810"/>
                  </a:cubicBezTo>
                  <a:lnTo>
                    <a:pt x="1873787" y="4432810"/>
                  </a:lnTo>
                  <a:cubicBezTo>
                    <a:pt x="2003197" y="4432810"/>
                    <a:pt x="2108104" y="4327903"/>
                    <a:pt x="2108104" y="4198493"/>
                  </a:cubicBezTo>
                  <a:lnTo>
                    <a:pt x="2108104" y="338967"/>
                  </a:lnTo>
                  <a:cubicBezTo>
                    <a:pt x="2108104" y="209557"/>
                    <a:pt x="2003197" y="104650"/>
                    <a:pt x="1873787" y="104650"/>
                  </a:cubicBezTo>
                  <a:close/>
                  <a:moveTo>
                    <a:pt x="339587" y="0"/>
                  </a:moveTo>
                  <a:lnTo>
                    <a:pt x="1880373" y="0"/>
                  </a:lnTo>
                  <a:cubicBezTo>
                    <a:pt x="2067922" y="0"/>
                    <a:pt x="2219960" y="152038"/>
                    <a:pt x="2219960" y="339587"/>
                  </a:cubicBezTo>
                  <a:lnTo>
                    <a:pt x="2219960" y="4190983"/>
                  </a:lnTo>
                  <a:cubicBezTo>
                    <a:pt x="2219960" y="4378532"/>
                    <a:pt x="2067922" y="4530570"/>
                    <a:pt x="1880373" y="4530570"/>
                  </a:cubicBezTo>
                  <a:lnTo>
                    <a:pt x="339587" y="4530570"/>
                  </a:lnTo>
                  <a:cubicBezTo>
                    <a:pt x="152038" y="4530570"/>
                    <a:pt x="0" y="4378532"/>
                    <a:pt x="0" y="4190983"/>
                  </a:cubicBezTo>
                  <a:lnTo>
                    <a:pt x="0" y="339587"/>
                  </a:lnTo>
                  <a:cubicBezTo>
                    <a:pt x="0" y="152038"/>
                    <a:pt x="152038" y="0"/>
                    <a:pt x="339587" y="0"/>
                  </a:cubicBezTo>
                  <a:close/>
                </a:path>
              </a:pathLst>
            </a:custGeom>
            <a:solidFill>
              <a:srgbClr val="083A5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cxnSp>
        <p:nvCxnSpPr>
          <p:cNvPr id="30" name="Соединитель: уступ 29">
            <a:extLst>
              <a:ext uri="{FF2B5EF4-FFF2-40B4-BE49-F238E27FC236}">
                <a16:creationId xmlns:a16="http://schemas.microsoft.com/office/drawing/2014/main" id="{6E3AFDF1-D9CC-A031-1361-55135335D193}"/>
              </a:ext>
            </a:extLst>
          </p:cNvPr>
          <p:cNvCxnSpPr>
            <a:cxnSpLocks/>
          </p:cNvCxnSpPr>
          <p:nvPr/>
        </p:nvCxnSpPr>
        <p:spPr>
          <a:xfrm flipV="1">
            <a:off x="3730290" y="2366056"/>
            <a:ext cx="2358532" cy="216117"/>
          </a:xfrm>
          <a:prstGeom prst="bentConnector3">
            <a:avLst/>
          </a:prstGeom>
          <a:ln w="12700">
            <a:solidFill>
              <a:schemeClr val="tx2">
                <a:lumMod val="50000"/>
                <a:lumOff val="50000"/>
              </a:schemeClr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Соединитель: уступ 30">
            <a:extLst>
              <a:ext uri="{FF2B5EF4-FFF2-40B4-BE49-F238E27FC236}">
                <a16:creationId xmlns:a16="http://schemas.microsoft.com/office/drawing/2014/main" id="{EEF01116-CBA8-BBB7-9FFE-F7ECB0BCB8B1}"/>
              </a:ext>
            </a:extLst>
          </p:cNvPr>
          <p:cNvCxnSpPr>
            <a:cxnSpLocks/>
          </p:cNvCxnSpPr>
          <p:nvPr/>
        </p:nvCxnSpPr>
        <p:spPr>
          <a:xfrm>
            <a:off x="5182089" y="5024848"/>
            <a:ext cx="901817" cy="859470"/>
          </a:xfrm>
          <a:prstGeom prst="bentConnector3">
            <a:avLst>
              <a:gd name="adj1" fmla="val 50000"/>
            </a:avLst>
          </a:prstGeom>
          <a:ln w="12700">
            <a:solidFill>
              <a:schemeClr val="tx2">
                <a:lumMod val="50000"/>
                <a:lumOff val="50000"/>
              </a:schemeClr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Соединитель: уступ 33">
            <a:extLst>
              <a:ext uri="{FF2B5EF4-FFF2-40B4-BE49-F238E27FC236}">
                <a16:creationId xmlns:a16="http://schemas.microsoft.com/office/drawing/2014/main" id="{88D0D035-BCFC-DF82-4677-69DA32720E1B}"/>
              </a:ext>
            </a:extLst>
          </p:cNvPr>
          <p:cNvCxnSpPr>
            <a:cxnSpLocks/>
            <a:endCxn id="21" idx="1"/>
          </p:cNvCxnSpPr>
          <p:nvPr/>
        </p:nvCxnSpPr>
        <p:spPr>
          <a:xfrm>
            <a:off x="5158679" y="3429000"/>
            <a:ext cx="937321" cy="797923"/>
          </a:xfrm>
          <a:prstGeom prst="bentConnector3">
            <a:avLst>
              <a:gd name="adj1" fmla="val 50000"/>
            </a:avLst>
          </a:prstGeom>
          <a:ln w="12700">
            <a:solidFill>
              <a:schemeClr val="tx2">
                <a:lumMod val="50000"/>
                <a:lumOff val="50000"/>
              </a:schemeClr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F59F595A-E3AB-982B-B3C1-AF74368E0A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5249F5-0093-48B0-B996-C4E44A87EAF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5A6C7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A6C7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8632B60-EE62-B84A-32FD-B035455F3B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000" spc="0" dirty="0">
                <a:solidFill>
                  <a:srgbClr val="FFFFFF"/>
                </a:solidFill>
                <a:latin typeface="Arial"/>
                <a:ea typeface="+mn-ea"/>
                <a:cs typeface="+mn-cs"/>
              </a:rPr>
              <a:t>A/B </a:t>
            </a:r>
            <a:r>
              <a:rPr lang="ru-RU" sz="4000" spc="0" dirty="0">
                <a:solidFill>
                  <a:srgbClr val="FFFFFF"/>
                </a:solidFill>
                <a:latin typeface="Arial"/>
                <a:ea typeface="+mn-ea"/>
                <a:cs typeface="+mn-cs"/>
              </a:rPr>
              <a:t>платформа в </a:t>
            </a:r>
            <a:r>
              <a:rPr lang="en-US" sz="4000" spc="0" dirty="0">
                <a:solidFill>
                  <a:srgbClr val="FFFFFF"/>
                </a:solidFill>
                <a:latin typeface="Arial"/>
                <a:ea typeface="+mn-ea"/>
                <a:cs typeface="+mn-cs"/>
              </a:rPr>
              <a:t>Ozon</a:t>
            </a:r>
            <a:endParaRPr lang="ru-RU" dirty="0"/>
          </a:p>
        </p:txBody>
      </p:sp>
      <p:sp>
        <p:nvSpPr>
          <p:cNvPr id="26" name="Рисунок 61">
            <a:extLst>
              <a:ext uri="{FF2B5EF4-FFF2-40B4-BE49-F238E27FC236}">
                <a16:creationId xmlns:a16="http://schemas.microsoft.com/office/drawing/2014/main" id="{FB903E29-E157-2E72-9F64-3247FB50D079}"/>
              </a:ext>
            </a:extLst>
          </p:cNvPr>
          <p:cNvSpPr/>
          <p:nvPr/>
        </p:nvSpPr>
        <p:spPr>
          <a:xfrm>
            <a:off x="9197587" y="1686426"/>
            <a:ext cx="171450" cy="171450"/>
          </a:xfrm>
          <a:custGeom>
            <a:avLst/>
            <a:gdLst>
              <a:gd name="connsiteX0" fmla="*/ 85725 w 171450"/>
              <a:gd name="connsiteY0" fmla="*/ 171450 h 171450"/>
              <a:gd name="connsiteX1" fmla="*/ 171450 w 171450"/>
              <a:gd name="connsiteY1" fmla="*/ 85725 h 171450"/>
              <a:gd name="connsiteX2" fmla="*/ 85725 w 171450"/>
              <a:gd name="connsiteY2" fmla="*/ 0 h 171450"/>
              <a:gd name="connsiteX3" fmla="*/ 0 w 171450"/>
              <a:gd name="connsiteY3" fmla="*/ 85725 h 171450"/>
              <a:gd name="connsiteX4" fmla="*/ 85725 w 171450"/>
              <a:gd name="connsiteY4" fmla="*/ 171450 h 171450"/>
              <a:gd name="connsiteX5" fmla="*/ 76200 w 171450"/>
              <a:gd name="connsiteY5" fmla="*/ 47625 h 171450"/>
              <a:gd name="connsiteX6" fmla="*/ 85725 w 171450"/>
              <a:gd name="connsiteY6" fmla="*/ 38100 h 171450"/>
              <a:gd name="connsiteX7" fmla="*/ 95250 w 171450"/>
              <a:gd name="connsiteY7" fmla="*/ 47625 h 171450"/>
              <a:gd name="connsiteX8" fmla="*/ 95250 w 171450"/>
              <a:gd name="connsiteY8" fmla="*/ 85725 h 171450"/>
              <a:gd name="connsiteX9" fmla="*/ 85725 w 171450"/>
              <a:gd name="connsiteY9" fmla="*/ 95250 h 171450"/>
              <a:gd name="connsiteX10" fmla="*/ 76200 w 171450"/>
              <a:gd name="connsiteY10" fmla="*/ 85725 h 171450"/>
              <a:gd name="connsiteX11" fmla="*/ 76200 w 171450"/>
              <a:gd name="connsiteY11" fmla="*/ 47625 h 171450"/>
              <a:gd name="connsiteX12" fmla="*/ 95250 w 171450"/>
              <a:gd name="connsiteY12" fmla="*/ 123825 h 171450"/>
              <a:gd name="connsiteX13" fmla="*/ 85725 w 171450"/>
              <a:gd name="connsiteY13" fmla="*/ 133350 h 171450"/>
              <a:gd name="connsiteX14" fmla="*/ 76200 w 171450"/>
              <a:gd name="connsiteY14" fmla="*/ 123825 h 171450"/>
              <a:gd name="connsiteX15" fmla="*/ 85725 w 171450"/>
              <a:gd name="connsiteY15" fmla="*/ 114300 h 171450"/>
              <a:gd name="connsiteX16" fmla="*/ 95250 w 171450"/>
              <a:gd name="connsiteY16" fmla="*/ 123825 h 171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71450" h="171450">
                <a:moveTo>
                  <a:pt x="85725" y="171450"/>
                </a:moveTo>
                <a:cubicBezTo>
                  <a:pt x="138915" y="171450"/>
                  <a:pt x="171450" y="138915"/>
                  <a:pt x="171450" y="85725"/>
                </a:cubicBezTo>
                <a:cubicBezTo>
                  <a:pt x="171450" y="32535"/>
                  <a:pt x="138915" y="0"/>
                  <a:pt x="85725" y="0"/>
                </a:cubicBezTo>
                <a:cubicBezTo>
                  <a:pt x="32535" y="0"/>
                  <a:pt x="0" y="32535"/>
                  <a:pt x="0" y="85725"/>
                </a:cubicBezTo>
                <a:cubicBezTo>
                  <a:pt x="0" y="138915"/>
                  <a:pt x="32535" y="171450"/>
                  <a:pt x="85725" y="171450"/>
                </a:cubicBezTo>
                <a:close/>
                <a:moveTo>
                  <a:pt x="76200" y="47625"/>
                </a:moveTo>
                <a:cubicBezTo>
                  <a:pt x="76200" y="42365"/>
                  <a:pt x="80464" y="38100"/>
                  <a:pt x="85725" y="38100"/>
                </a:cubicBezTo>
                <a:cubicBezTo>
                  <a:pt x="90986" y="38100"/>
                  <a:pt x="95250" y="42365"/>
                  <a:pt x="95250" y="47625"/>
                </a:cubicBezTo>
                <a:lnTo>
                  <a:pt x="95250" y="85725"/>
                </a:lnTo>
                <a:cubicBezTo>
                  <a:pt x="95250" y="90986"/>
                  <a:pt x="90986" y="95250"/>
                  <a:pt x="85725" y="95250"/>
                </a:cubicBezTo>
                <a:cubicBezTo>
                  <a:pt x="80464" y="95250"/>
                  <a:pt x="76200" y="90986"/>
                  <a:pt x="76200" y="85725"/>
                </a:cubicBezTo>
                <a:lnTo>
                  <a:pt x="76200" y="47625"/>
                </a:lnTo>
                <a:close/>
                <a:moveTo>
                  <a:pt x="95250" y="123825"/>
                </a:moveTo>
                <a:cubicBezTo>
                  <a:pt x="95250" y="129086"/>
                  <a:pt x="90986" y="133350"/>
                  <a:pt x="85725" y="133350"/>
                </a:cubicBezTo>
                <a:cubicBezTo>
                  <a:pt x="80464" y="133350"/>
                  <a:pt x="76200" y="129086"/>
                  <a:pt x="76200" y="123825"/>
                </a:cubicBezTo>
                <a:cubicBezTo>
                  <a:pt x="76200" y="118564"/>
                  <a:pt x="80464" y="114300"/>
                  <a:pt x="85725" y="114300"/>
                </a:cubicBezTo>
                <a:cubicBezTo>
                  <a:pt x="90986" y="114300"/>
                  <a:pt x="95250" y="118564"/>
                  <a:pt x="95250" y="123825"/>
                </a:cubicBezTo>
                <a:close/>
              </a:path>
            </a:pathLst>
          </a:custGeom>
          <a:solidFill>
            <a:srgbClr val="3ADE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E111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" name="Рисунок 61">
            <a:extLst>
              <a:ext uri="{FF2B5EF4-FFF2-40B4-BE49-F238E27FC236}">
                <a16:creationId xmlns:a16="http://schemas.microsoft.com/office/drawing/2014/main" id="{BAABBB70-1765-F199-4EF4-30E834848A73}"/>
              </a:ext>
            </a:extLst>
          </p:cNvPr>
          <p:cNvSpPr/>
          <p:nvPr/>
        </p:nvSpPr>
        <p:spPr>
          <a:xfrm>
            <a:off x="9197587" y="3593774"/>
            <a:ext cx="171450" cy="171450"/>
          </a:xfrm>
          <a:custGeom>
            <a:avLst/>
            <a:gdLst>
              <a:gd name="connsiteX0" fmla="*/ 85725 w 171450"/>
              <a:gd name="connsiteY0" fmla="*/ 171450 h 171450"/>
              <a:gd name="connsiteX1" fmla="*/ 171450 w 171450"/>
              <a:gd name="connsiteY1" fmla="*/ 85725 h 171450"/>
              <a:gd name="connsiteX2" fmla="*/ 85725 w 171450"/>
              <a:gd name="connsiteY2" fmla="*/ 0 h 171450"/>
              <a:gd name="connsiteX3" fmla="*/ 0 w 171450"/>
              <a:gd name="connsiteY3" fmla="*/ 85725 h 171450"/>
              <a:gd name="connsiteX4" fmla="*/ 85725 w 171450"/>
              <a:gd name="connsiteY4" fmla="*/ 171450 h 171450"/>
              <a:gd name="connsiteX5" fmla="*/ 76200 w 171450"/>
              <a:gd name="connsiteY5" fmla="*/ 47625 h 171450"/>
              <a:gd name="connsiteX6" fmla="*/ 85725 w 171450"/>
              <a:gd name="connsiteY6" fmla="*/ 38100 h 171450"/>
              <a:gd name="connsiteX7" fmla="*/ 95250 w 171450"/>
              <a:gd name="connsiteY7" fmla="*/ 47625 h 171450"/>
              <a:gd name="connsiteX8" fmla="*/ 95250 w 171450"/>
              <a:gd name="connsiteY8" fmla="*/ 85725 h 171450"/>
              <a:gd name="connsiteX9" fmla="*/ 85725 w 171450"/>
              <a:gd name="connsiteY9" fmla="*/ 95250 h 171450"/>
              <a:gd name="connsiteX10" fmla="*/ 76200 w 171450"/>
              <a:gd name="connsiteY10" fmla="*/ 85725 h 171450"/>
              <a:gd name="connsiteX11" fmla="*/ 76200 w 171450"/>
              <a:gd name="connsiteY11" fmla="*/ 47625 h 171450"/>
              <a:gd name="connsiteX12" fmla="*/ 95250 w 171450"/>
              <a:gd name="connsiteY12" fmla="*/ 123825 h 171450"/>
              <a:gd name="connsiteX13" fmla="*/ 85725 w 171450"/>
              <a:gd name="connsiteY13" fmla="*/ 133350 h 171450"/>
              <a:gd name="connsiteX14" fmla="*/ 76200 w 171450"/>
              <a:gd name="connsiteY14" fmla="*/ 123825 h 171450"/>
              <a:gd name="connsiteX15" fmla="*/ 85725 w 171450"/>
              <a:gd name="connsiteY15" fmla="*/ 114300 h 171450"/>
              <a:gd name="connsiteX16" fmla="*/ 95250 w 171450"/>
              <a:gd name="connsiteY16" fmla="*/ 123825 h 171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71450" h="171450">
                <a:moveTo>
                  <a:pt x="85725" y="171450"/>
                </a:moveTo>
                <a:cubicBezTo>
                  <a:pt x="138915" y="171450"/>
                  <a:pt x="171450" y="138915"/>
                  <a:pt x="171450" y="85725"/>
                </a:cubicBezTo>
                <a:cubicBezTo>
                  <a:pt x="171450" y="32535"/>
                  <a:pt x="138915" y="0"/>
                  <a:pt x="85725" y="0"/>
                </a:cubicBezTo>
                <a:cubicBezTo>
                  <a:pt x="32535" y="0"/>
                  <a:pt x="0" y="32535"/>
                  <a:pt x="0" y="85725"/>
                </a:cubicBezTo>
                <a:cubicBezTo>
                  <a:pt x="0" y="138915"/>
                  <a:pt x="32535" y="171450"/>
                  <a:pt x="85725" y="171450"/>
                </a:cubicBezTo>
                <a:close/>
                <a:moveTo>
                  <a:pt x="76200" y="47625"/>
                </a:moveTo>
                <a:cubicBezTo>
                  <a:pt x="76200" y="42365"/>
                  <a:pt x="80464" y="38100"/>
                  <a:pt x="85725" y="38100"/>
                </a:cubicBezTo>
                <a:cubicBezTo>
                  <a:pt x="90986" y="38100"/>
                  <a:pt x="95250" y="42365"/>
                  <a:pt x="95250" y="47625"/>
                </a:cubicBezTo>
                <a:lnTo>
                  <a:pt x="95250" y="85725"/>
                </a:lnTo>
                <a:cubicBezTo>
                  <a:pt x="95250" y="90986"/>
                  <a:pt x="90986" y="95250"/>
                  <a:pt x="85725" y="95250"/>
                </a:cubicBezTo>
                <a:cubicBezTo>
                  <a:pt x="80464" y="95250"/>
                  <a:pt x="76200" y="90986"/>
                  <a:pt x="76200" y="85725"/>
                </a:cubicBezTo>
                <a:lnTo>
                  <a:pt x="76200" y="47625"/>
                </a:lnTo>
                <a:close/>
                <a:moveTo>
                  <a:pt x="95250" y="123825"/>
                </a:moveTo>
                <a:cubicBezTo>
                  <a:pt x="95250" y="129086"/>
                  <a:pt x="90986" y="133350"/>
                  <a:pt x="85725" y="133350"/>
                </a:cubicBezTo>
                <a:cubicBezTo>
                  <a:pt x="80464" y="133350"/>
                  <a:pt x="76200" y="129086"/>
                  <a:pt x="76200" y="123825"/>
                </a:cubicBezTo>
                <a:cubicBezTo>
                  <a:pt x="76200" y="118564"/>
                  <a:pt x="80464" y="114300"/>
                  <a:pt x="85725" y="114300"/>
                </a:cubicBezTo>
                <a:cubicBezTo>
                  <a:pt x="90986" y="114300"/>
                  <a:pt x="95250" y="118564"/>
                  <a:pt x="95250" y="123825"/>
                </a:cubicBezTo>
                <a:close/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E111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" name="Рисунок 61">
            <a:extLst>
              <a:ext uri="{FF2B5EF4-FFF2-40B4-BE49-F238E27FC236}">
                <a16:creationId xmlns:a16="http://schemas.microsoft.com/office/drawing/2014/main" id="{B052D298-ED4F-18CF-6F2F-FE746454125F}"/>
              </a:ext>
            </a:extLst>
          </p:cNvPr>
          <p:cNvSpPr/>
          <p:nvPr/>
        </p:nvSpPr>
        <p:spPr>
          <a:xfrm>
            <a:off x="9197587" y="5386097"/>
            <a:ext cx="171450" cy="171450"/>
          </a:xfrm>
          <a:custGeom>
            <a:avLst/>
            <a:gdLst>
              <a:gd name="connsiteX0" fmla="*/ 85725 w 171450"/>
              <a:gd name="connsiteY0" fmla="*/ 171450 h 171450"/>
              <a:gd name="connsiteX1" fmla="*/ 171450 w 171450"/>
              <a:gd name="connsiteY1" fmla="*/ 85725 h 171450"/>
              <a:gd name="connsiteX2" fmla="*/ 85725 w 171450"/>
              <a:gd name="connsiteY2" fmla="*/ 0 h 171450"/>
              <a:gd name="connsiteX3" fmla="*/ 0 w 171450"/>
              <a:gd name="connsiteY3" fmla="*/ 85725 h 171450"/>
              <a:gd name="connsiteX4" fmla="*/ 85725 w 171450"/>
              <a:gd name="connsiteY4" fmla="*/ 171450 h 171450"/>
              <a:gd name="connsiteX5" fmla="*/ 76200 w 171450"/>
              <a:gd name="connsiteY5" fmla="*/ 47625 h 171450"/>
              <a:gd name="connsiteX6" fmla="*/ 85725 w 171450"/>
              <a:gd name="connsiteY6" fmla="*/ 38100 h 171450"/>
              <a:gd name="connsiteX7" fmla="*/ 95250 w 171450"/>
              <a:gd name="connsiteY7" fmla="*/ 47625 h 171450"/>
              <a:gd name="connsiteX8" fmla="*/ 95250 w 171450"/>
              <a:gd name="connsiteY8" fmla="*/ 85725 h 171450"/>
              <a:gd name="connsiteX9" fmla="*/ 85725 w 171450"/>
              <a:gd name="connsiteY9" fmla="*/ 95250 h 171450"/>
              <a:gd name="connsiteX10" fmla="*/ 76200 w 171450"/>
              <a:gd name="connsiteY10" fmla="*/ 85725 h 171450"/>
              <a:gd name="connsiteX11" fmla="*/ 76200 w 171450"/>
              <a:gd name="connsiteY11" fmla="*/ 47625 h 171450"/>
              <a:gd name="connsiteX12" fmla="*/ 95250 w 171450"/>
              <a:gd name="connsiteY12" fmla="*/ 123825 h 171450"/>
              <a:gd name="connsiteX13" fmla="*/ 85725 w 171450"/>
              <a:gd name="connsiteY13" fmla="*/ 133350 h 171450"/>
              <a:gd name="connsiteX14" fmla="*/ 76200 w 171450"/>
              <a:gd name="connsiteY14" fmla="*/ 123825 h 171450"/>
              <a:gd name="connsiteX15" fmla="*/ 85725 w 171450"/>
              <a:gd name="connsiteY15" fmla="*/ 114300 h 171450"/>
              <a:gd name="connsiteX16" fmla="*/ 95250 w 171450"/>
              <a:gd name="connsiteY16" fmla="*/ 123825 h 171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71450" h="171450">
                <a:moveTo>
                  <a:pt x="85725" y="171450"/>
                </a:moveTo>
                <a:cubicBezTo>
                  <a:pt x="138915" y="171450"/>
                  <a:pt x="171450" y="138915"/>
                  <a:pt x="171450" y="85725"/>
                </a:cubicBezTo>
                <a:cubicBezTo>
                  <a:pt x="171450" y="32535"/>
                  <a:pt x="138915" y="0"/>
                  <a:pt x="85725" y="0"/>
                </a:cubicBezTo>
                <a:cubicBezTo>
                  <a:pt x="32535" y="0"/>
                  <a:pt x="0" y="32535"/>
                  <a:pt x="0" y="85725"/>
                </a:cubicBezTo>
                <a:cubicBezTo>
                  <a:pt x="0" y="138915"/>
                  <a:pt x="32535" y="171450"/>
                  <a:pt x="85725" y="171450"/>
                </a:cubicBezTo>
                <a:close/>
                <a:moveTo>
                  <a:pt x="76200" y="47625"/>
                </a:moveTo>
                <a:cubicBezTo>
                  <a:pt x="76200" y="42365"/>
                  <a:pt x="80464" y="38100"/>
                  <a:pt x="85725" y="38100"/>
                </a:cubicBezTo>
                <a:cubicBezTo>
                  <a:pt x="90986" y="38100"/>
                  <a:pt x="95250" y="42365"/>
                  <a:pt x="95250" y="47625"/>
                </a:cubicBezTo>
                <a:lnTo>
                  <a:pt x="95250" y="85725"/>
                </a:lnTo>
                <a:cubicBezTo>
                  <a:pt x="95250" y="90986"/>
                  <a:pt x="90986" y="95250"/>
                  <a:pt x="85725" y="95250"/>
                </a:cubicBezTo>
                <a:cubicBezTo>
                  <a:pt x="80464" y="95250"/>
                  <a:pt x="76200" y="90986"/>
                  <a:pt x="76200" y="85725"/>
                </a:cubicBezTo>
                <a:lnTo>
                  <a:pt x="76200" y="47625"/>
                </a:lnTo>
                <a:close/>
                <a:moveTo>
                  <a:pt x="95250" y="123825"/>
                </a:moveTo>
                <a:cubicBezTo>
                  <a:pt x="95250" y="129086"/>
                  <a:pt x="90986" y="133350"/>
                  <a:pt x="85725" y="133350"/>
                </a:cubicBezTo>
                <a:cubicBezTo>
                  <a:pt x="80464" y="133350"/>
                  <a:pt x="76200" y="129086"/>
                  <a:pt x="76200" y="123825"/>
                </a:cubicBezTo>
                <a:cubicBezTo>
                  <a:pt x="76200" y="118564"/>
                  <a:pt x="80464" y="114300"/>
                  <a:pt x="85725" y="114300"/>
                </a:cubicBezTo>
                <a:cubicBezTo>
                  <a:pt x="90986" y="114300"/>
                  <a:pt x="95250" y="118564"/>
                  <a:pt x="95250" y="123825"/>
                </a:cubicBezTo>
                <a:close/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E111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Прямоугольник: скругленные углы 19">
            <a:extLst>
              <a:ext uri="{FF2B5EF4-FFF2-40B4-BE49-F238E27FC236}">
                <a16:creationId xmlns:a16="http://schemas.microsoft.com/office/drawing/2014/main" id="{24B4B38E-B25C-3DB7-6012-8CEB94D91E76}"/>
              </a:ext>
            </a:extLst>
          </p:cNvPr>
          <p:cNvSpPr/>
          <p:nvPr/>
        </p:nvSpPr>
        <p:spPr>
          <a:xfrm>
            <a:off x="6096000" y="1568133"/>
            <a:ext cx="3407229" cy="1595846"/>
          </a:xfrm>
          <a:prstGeom prst="roundRect">
            <a:avLst>
              <a:gd name="adj" fmla="val 14757"/>
            </a:avLst>
          </a:prstGeom>
          <a:solidFill>
            <a:srgbClr val="005A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0" rIns="0" bIns="0" rtlCol="0" anchor="ctr"/>
          <a:lstStyle/>
          <a:p>
            <a:r>
              <a:rPr lang="en-GB" sz="1400" b="1" dirty="0">
                <a:solidFill>
                  <a:srgbClr val="FFFFFF"/>
                </a:solidFill>
              </a:rPr>
              <a:t>A/B </a:t>
            </a:r>
            <a:r>
              <a:rPr lang="ru-RU" sz="1400" b="1" dirty="0">
                <a:solidFill>
                  <a:srgbClr val="FFFFFF"/>
                </a:solidFill>
              </a:rPr>
              <a:t>тестирование </a:t>
            </a:r>
            <a:r>
              <a:rPr lang="ru-RU" sz="1400" dirty="0">
                <a:solidFill>
                  <a:srgbClr val="FFFFFF"/>
                </a:solidFill>
              </a:rPr>
              <a:t>даёт более надёжные выводы</a:t>
            </a:r>
          </a:p>
        </p:txBody>
      </p:sp>
      <p:sp>
        <p:nvSpPr>
          <p:cNvPr id="21" name="Прямоугольник: скругленные углы 20">
            <a:extLst>
              <a:ext uri="{FF2B5EF4-FFF2-40B4-BE49-F238E27FC236}">
                <a16:creationId xmlns:a16="http://schemas.microsoft.com/office/drawing/2014/main" id="{07611054-DD22-4B7E-039D-52A2963E699E}"/>
              </a:ext>
            </a:extLst>
          </p:cNvPr>
          <p:cNvSpPr/>
          <p:nvPr/>
        </p:nvSpPr>
        <p:spPr>
          <a:xfrm>
            <a:off x="6096000" y="3429000"/>
            <a:ext cx="3407229" cy="1595846"/>
          </a:xfrm>
          <a:prstGeom prst="roundRect">
            <a:avLst>
              <a:gd name="adj" fmla="val 17145"/>
            </a:avLst>
          </a:prstGeom>
          <a:solidFill>
            <a:srgbClr val="005A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b="0" i="0" u="none" strike="noStrike" dirty="0">
                <a:solidFill>
                  <a:srgbClr val="FFFFFF"/>
                </a:solidFill>
                <a:effectLst/>
              </a:rPr>
              <a:t>A/B </a:t>
            </a:r>
            <a:r>
              <a:rPr lang="ru-RU" sz="1400" b="0" i="0" u="none" strike="noStrike" dirty="0">
                <a:solidFill>
                  <a:srgbClr val="FFFFFF"/>
                </a:solidFill>
                <a:effectLst/>
              </a:rPr>
              <a:t>тест позволяет нам измерить </a:t>
            </a:r>
            <a:r>
              <a:rPr lang="ru-RU" sz="1400" b="1" i="0" u="none" strike="noStrike" dirty="0">
                <a:solidFill>
                  <a:srgbClr val="FFFFFF"/>
                </a:solidFill>
                <a:effectLst/>
              </a:rPr>
              <a:t>точный изолированный эффект </a:t>
            </a:r>
            <a:r>
              <a:rPr lang="ru-RU" sz="1400" b="0" i="0" u="none" strike="noStrike" dirty="0">
                <a:solidFill>
                  <a:srgbClr val="FFFFFF"/>
                </a:solidFill>
                <a:effectLst/>
              </a:rPr>
              <a:t>любого изменения в продукте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2" name="Прямоугольник: скругленные углы 21">
            <a:extLst>
              <a:ext uri="{FF2B5EF4-FFF2-40B4-BE49-F238E27FC236}">
                <a16:creationId xmlns:a16="http://schemas.microsoft.com/office/drawing/2014/main" id="{45B1E98B-A159-164B-C272-8CE55D0AA9E4}"/>
              </a:ext>
            </a:extLst>
          </p:cNvPr>
          <p:cNvSpPr/>
          <p:nvPr/>
        </p:nvSpPr>
        <p:spPr>
          <a:xfrm>
            <a:off x="6096000" y="5289868"/>
            <a:ext cx="3407229" cy="994776"/>
          </a:xfrm>
          <a:prstGeom prst="roundRect">
            <a:avLst>
              <a:gd name="adj" fmla="val 18199"/>
            </a:avLst>
          </a:prstGeom>
          <a:solidFill>
            <a:srgbClr val="005A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0" rIns="0" bIns="0" rtlCol="0" anchor="ctr"/>
          <a:lstStyle/>
          <a:p>
            <a:r>
              <a:rPr lang="ru-RU" sz="1400" dirty="0">
                <a:solidFill>
                  <a:srgbClr val="FFFFFF"/>
                </a:solidFill>
              </a:rPr>
              <a:t>Бесплатный </a:t>
            </a:r>
            <a:r>
              <a:rPr lang="ru-RU" sz="1400">
                <a:solidFill>
                  <a:srgbClr val="FFFFFF"/>
                </a:solidFill>
              </a:rPr>
              <a:t>выключатель фич</a:t>
            </a:r>
            <a:endParaRPr lang="ru-RU" sz="14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268970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7B19D60-E91E-D491-F665-09495ACE60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5249F5-0093-48B0-B996-C4E44A87EAFB}" type="slidenum">
              <a:rPr lang="ru-RU" smtClean="0"/>
              <a:pPr/>
              <a:t>9</a:t>
            </a:fld>
            <a:endParaRPr lang="ru-RU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458E0F0-B848-9917-D6DB-EDE17AED77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Как </a:t>
            </a:r>
            <a:r>
              <a:rPr lang="en-US" dirty="0"/>
              <a:t>A/B </a:t>
            </a:r>
            <a:r>
              <a:rPr lang="ru-RU" dirty="0"/>
              <a:t>меняет </a:t>
            </a:r>
            <a:r>
              <a:rPr lang="en-US" dirty="0"/>
              <a:t>Ozon</a:t>
            </a:r>
            <a:endParaRPr lang="en-RU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9B565D3-85D2-157E-7D29-3768C952298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46164" y="851810"/>
            <a:ext cx="10320336" cy="55785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73928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zon_official_v1">
  <a:themeElements>
    <a:clrScheme name="Colors_Ozon Tech">
      <a:dk1>
        <a:srgbClr val="0E1114"/>
      </a:dk1>
      <a:lt1>
        <a:srgbClr val="FFFFFF"/>
      </a:lt1>
      <a:dk2>
        <a:srgbClr val="022B44"/>
      </a:dk2>
      <a:lt2>
        <a:srgbClr val="FFFFFF"/>
      </a:lt2>
      <a:accent1>
        <a:srgbClr val="005AFF"/>
      </a:accent1>
      <a:accent2>
        <a:srgbClr val="3ADE68"/>
      </a:accent2>
      <a:accent3>
        <a:srgbClr val="124C6D"/>
      </a:accent3>
      <a:accent4>
        <a:srgbClr val="5895FF"/>
      </a:accent4>
      <a:accent5>
        <a:srgbClr val="CBDEFF"/>
      </a:accent5>
      <a:accent6>
        <a:srgbClr val="96A3AE"/>
      </a:accent6>
      <a:hlink>
        <a:srgbClr val="005BFF"/>
      </a:hlink>
      <a:folHlink>
        <a:srgbClr val="3D5165"/>
      </a:folHlink>
    </a:clrScheme>
    <a:fontScheme name="Ozon_Tech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spcAft>
            <a:spcPts val="600"/>
          </a:spcAft>
          <a:defRPr sz="2400" dirty="0" err="1" smtClean="0"/>
        </a:defPPr>
      </a:lstStyle>
    </a:txDef>
  </a:objectDefaults>
  <a:extraClrSchemeLst/>
  <a:custClrLst>
    <a:custClr name="ozPositive">
      <a:srgbClr val="10C44C"/>
    </a:custClr>
    <a:custClr name="ozPositive_1">
      <a:srgbClr val="B7EDC9"/>
    </a:custClr>
    <a:custClr name="ozWarning">
      <a:srgbClr val="FFA800"/>
    </a:custClr>
    <a:custClr name="ozWarning_1">
      <a:srgbClr val="FFE5B2"/>
    </a:custClr>
    <a:custClr name="ozNegative">
      <a:srgbClr val="F53C14"/>
    </a:custClr>
    <a:custClr name="ozNegative_1">
      <a:srgbClr val="FCC4B8"/>
    </a:custClr>
    <a:custClr name="ozTertiary">
      <a:srgbClr val="090089"/>
    </a:custClr>
  </a:custClrLst>
  <a:extLst>
    <a:ext uri="{05A4C25C-085E-4340-85A3-A5531E510DB2}">
      <thm15:themeFamily xmlns:thm15="http://schemas.microsoft.com/office/thememl/2012/main" name="Ozon_official_v1" id="{3F26DB61-5175-45AF-B953-8423E7FAAB55}" vid="{CD7E0679-66B5-42D5-9E99-9321BBCAC150}"/>
    </a:ext>
  </a:extLst>
</a:theme>
</file>

<file path=ppt/theme/theme2.xml><?xml version="1.0" encoding="utf-8"?>
<a:theme xmlns:a="http://schemas.openxmlformats.org/drawingml/2006/main" name="1_Ozon_official_v1">
  <a:themeElements>
    <a:clrScheme name="Colors_Ozon Tech">
      <a:dk1>
        <a:srgbClr val="0E1114"/>
      </a:dk1>
      <a:lt1>
        <a:srgbClr val="FFFFFF"/>
      </a:lt1>
      <a:dk2>
        <a:srgbClr val="022B44"/>
      </a:dk2>
      <a:lt2>
        <a:srgbClr val="FFFFFF"/>
      </a:lt2>
      <a:accent1>
        <a:srgbClr val="005AFF"/>
      </a:accent1>
      <a:accent2>
        <a:srgbClr val="3ADE68"/>
      </a:accent2>
      <a:accent3>
        <a:srgbClr val="124C6D"/>
      </a:accent3>
      <a:accent4>
        <a:srgbClr val="5895FF"/>
      </a:accent4>
      <a:accent5>
        <a:srgbClr val="CBDEFF"/>
      </a:accent5>
      <a:accent6>
        <a:srgbClr val="96A3AE"/>
      </a:accent6>
      <a:hlink>
        <a:srgbClr val="005BFF"/>
      </a:hlink>
      <a:folHlink>
        <a:srgbClr val="3D5165"/>
      </a:folHlink>
    </a:clrScheme>
    <a:fontScheme name="Ozon_Tech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spcAft>
            <a:spcPts val="600"/>
          </a:spcAft>
          <a:defRPr sz="2400" dirty="0" err="1" smtClean="0"/>
        </a:defPPr>
      </a:lstStyle>
    </a:txDef>
  </a:objectDefaults>
  <a:extraClrSchemeLst/>
  <a:custClrLst>
    <a:custClr name="ozPositive">
      <a:srgbClr val="10C44C"/>
    </a:custClr>
    <a:custClr name="ozPositive_1">
      <a:srgbClr val="B7EDC9"/>
    </a:custClr>
    <a:custClr name="ozWarning">
      <a:srgbClr val="FFA800"/>
    </a:custClr>
    <a:custClr name="ozWarning_1">
      <a:srgbClr val="FFE5B2"/>
    </a:custClr>
    <a:custClr name="ozNegative">
      <a:srgbClr val="F53C14"/>
    </a:custClr>
    <a:custClr name="ozNegative_1">
      <a:srgbClr val="FCC4B8"/>
    </a:custClr>
    <a:custClr name="ozTertiary">
      <a:srgbClr val="090089"/>
    </a:custClr>
  </a:custClrLst>
  <a:extLst>
    <a:ext uri="{05A4C25C-085E-4340-85A3-A5531E510DB2}">
      <thm15:themeFamily xmlns:thm15="http://schemas.microsoft.com/office/thememl/2012/main" name="Ozon_official_v1" id="{3F26DB61-5175-45AF-B953-8423E7FAAB55}" vid="{CD7E0679-66B5-42D5-9E99-9321BBCAC150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239</TotalTime>
  <Words>3511</Words>
  <Application>Microsoft Macintosh PowerPoint</Application>
  <PresentationFormat>Widescreen</PresentationFormat>
  <Paragraphs>381</Paragraphs>
  <Slides>30</Slides>
  <Notes>3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0</vt:i4>
      </vt:variant>
    </vt:vector>
  </HeadingPairs>
  <TitlesOfParts>
    <vt:vector size="40" baseType="lpstr">
      <vt:lpstr>-apple-system</vt:lpstr>
      <vt:lpstr>Arial</vt:lpstr>
      <vt:lpstr>Calibri</vt:lpstr>
      <vt:lpstr>Helvetica</vt:lpstr>
      <vt:lpstr>IBM Plex Sans</vt:lpstr>
      <vt:lpstr>jetbrains_monoregular</vt:lpstr>
      <vt:lpstr>Menlo</vt:lpstr>
      <vt:lpstr>Ozon_official_v1</vt:lpstr>
      <vt:lpstr>1_Ozon_official_v1</vt:lpstr>
      <vt:lpstr>Слайд think-cell</vt:lpstr>
      <vt:lpstr>Бинарный протокол в A/B платформе</vt:lpstr>
      <vt:lpstr>PowerPoint Presentation</vt:lpstr>
      <vt:lpstr>PowerPoint Presentation</vt:lpstr>
      <vt:lpstr>Зачем нужны A/B тесты</vt:lpstr>
      <vt:lpstr>PowerPoint Presentation</vt:lpstr>
      <vt:lpstr>Про A/B тесты</vt:lpstr>
      <vt:lpstr>Сплитование</vt:lpstr>
      <vt:lpstr>A/B платформа в Ozon</vt:lpstr>
      <vt:lpstr>Как A/B меняет Ozon</vt:lpstr>
      <vt:lpstr>Как A/B меняет Ozon</vt:lpstr>
      <vt:lpstr>Как завести свой первый A/B</vt:lpstr>
      <vt:lpstr>PowerPoint Presentation</vt:lpstr>
      <vt:lpstr>Устройство A/B платформы</vt:lpstr>
      <vt:lpstr>Устройство A/B платформы</vt:lpstr>
      <vt:lpstr>Проблемы выбранного решения</vt:lpstr>
      <vt:lpstr>Интеграция с memcached</vt:lpstr>
      <vt:lpstr>Проблемы выбранного решения</vt:lpstr>
      <vt:lpstr>PowerPoint Presentation</vt:lpstr>
      <vt:lpstr>Для кого делали бинарный протокол</vt:lpstr>
      <vt:lpstr>Как сервис получает конфиги</vt:lpstr>
      <vt:lpstr>Как сервис получает конфиги</vt:lpstr>
      <vt:lpstr>Бинарный протокол для клиентов 2-го уровня</vt:lpstr>
      <vt:lpstr>Бинарный ключ</vt:lpstr>
      <vt:lpstr>Структура бинарного протокола</vt:lpstr>
      <vt:lpstr>Декодинг бинарного ключа</vt:lpstr>
      <vt:lpstr>Какие проблемы остались</vt:lpstr>
      <vt:lpstr>PowerPoint Presentation</vt:lpstr>
      <vt:lpstr>Какие шаги мы предприняли</vt:lpstr>
      <vt:lpstr>PowerPoint Presentation</vt:lpstr>
      <vt:lpstr>Задавайте свои вопросы здесь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Бинарный протокол в AB платформе</dc:title>
  <dc:creator>Rzhevskaya Marina Mikhaylovna</dc:creator>
  <cp:lastModifiedBy>Rzhevskaya Marina Mikhaylovna</cp:lastModifiedBy>
  <cp:revision>59</cp:revision>
  <dcterms:created xsi:type="dcterms:W3CDTF">2025-02-10T16:30:55Z</dcterms:created>
  <dcterms:modified xsi:type="dcterms:W3CDTF">2025-02-27T11:18:57Z</dcterms:modified>
</cp:coreProperties>
</file>